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309"/>
  </p:notesMasterIdLst>
  <p:sldIdLst>
    <p:sldId id="2147477256" r:id="rId6"/>
    <p:sldId id="2147477257" r:id="rId7"/>
    <p:sldId id="2147477258" r:id="rId8"/>
    <p:sldId id="2147477259" r:id="rId9"/>
    <p:sldId id="2147477260" r:id="rId10"/>
    <p:sldId id="2147477261" r:id="rId11"/>
    <p:sldId id="2147477262" r:id="rId12"/>
    <p:sldId id="2147477263" r:id="rId13"/>
    <p:sldId id="2147477264" r:id="rId14"/>
    <p:sldId id="2147477265" r:id="rId15"/>
    <p:sldId id="2147477266" r:id="rId16"/>
    <p:sldId id="2147477267" r:id="rId17"/>
    <p:sldId id="2147477268" r:id="rId18"/>
    <p:sldId id="2147477269" r:id="rId19"/>
    <p:sldId id="2147477270" r:id="rId20"/>
    <p:sldId id="2147477271" r:id="rId21"/>
    <p:sldId id="2147477272" r:id="rId22"/>
    <p:sldId id="2147477273" r:id="rId23"/>
    <p:sldId id="2147477274" r:id="rId24"/>
    <p:sldId id="2147477275" r:id="rId25"/>
    <p:sldId id="2147477276" r:id="rId26"/>
    <p:sldId id="2147477277" r:id="rId27"/>
    <p:sldId id="2147477278" r:id="rId28"/>
    <p:sldId id="2147477279" r:id="rId29"/>
    <p:sldId id="2147477280" r:id="rId30"/>
    <p:sldId id="2147477281" r:id="rId31"/>
    <p:sldId id="2147477282" r:id="rId32"/>
    <p:sldId id="2147477283" r:id="rId33"/>
    <p:sldId id="2147477284" r:id="rId34"/>
    <p:sldId id="2147477285" r:id="rId35"/>
    <p:sldId id="2147477286" r:id="rId36"/>
    <p:sldId id="2147477287" r:id="rId37"/>
    <p:sldId id="2147477288" r:id="rId38"/>
    <p:sldId id="2147477289" r:id="rId39"/>
    <p:sldId id="2147477290" r:id="rId40"/>
    <p:sldId id="2147477291" r:id="rId41"/>
    <p:sldId id="2147477292" r:id="rId42"/>
    <p:sldId id="2147477293" r:id="rId43"/>
    <p:sldId id="2147477294" r:id="rId44"/>
    <p:sldId id="2147477295" r:id="rId45"/>
    <p:sldId id="2147477296" r:id="rId46"/>
    <p:sldId id="2147477297" r:id="rId47"/>
    <p:sldId id="2147477298" r:id="rId48"/>
    <p:sldId id="2147477299" r:id="rId49"/>
    <p:sldId id="2147477300" r:id="rId50"/>
    <p:sldId id="2147477301" r:id="rId51"/>
    <p:sldId id="2147477302" r:id="rId52"/>
    <p:sldId id="2147477303" r:id="rId53"/>
    <p:sldId id="2147477304" r:id="rId54"/>
    <p:sldId id="2147477305" r:id="rId55"/>
    <p:sldId id="2147477306" r:id="rId56"/>
    <p:sldId id="2147477307" r:id="rId57"/>
    <p:sldId id="2147477308" r:id="rId58"/>
    <p:sldId id="2147477309" r:id="rId59"/>
    <p:sldId id="2147477310" r:id="rId60"/>
    <p:sldId id="2147477311" r:id="rId61"/>
    <p:sldId id="2147477312" r:id="rId62"/>
    <p:sldId id="2147477313" r:id="rId63"/>
    <p:sldId id="2147477314" r:id="rId64"/>
    <p:sldId id="2147477315" r:id="rId65"/>
    <p:sldId id="2147477316" r:id="rId66"/>
    <p:sldId id="2147477317" r:id="rId67"/>
    <p:sldId id="2147477318" r:id="rId68"/>
    <p:sldId id="2147477319" r:id="rId69"/>
    <p:sldId id="2147477320" r:id="rId70"/>
    <p:sldId id="2147477321" r:id="rId71"/>
    <p:sldId id="2147477322" r:id="rId72"/>
    <p:sldId id="2147477323" r:id="rId73"/>
    <p:sldId id="2147477324" r:id="rId74"/>
    <p:sldId id="2147477325" r:id="rId75"/>
    <p:sldId id="2147477326" r:id="rId76"/>
    <p:sldId id="2147477327" r:id="rId77"/>
    <p:sldId id="2147477328" r:id="rId78"/>
    <p:sldId id="2147477329" r:id="rId79"/>
    <p:sldId id="2147477330" r:id="rId80"/>
    <p:sldId id="2147477331" r:id="rId81"/>
    <p:sldId id="2147477332" r:id="rId82"/>
    <p:sldId id="2147477333" r:id="rId83"/>
    <p:sldId id="2147477334" r:id="rId84"/>
    <p:sldId id="2147477335" r:id="rId85"/>
    <p:sldId id="2147477336" r:id="rId86"/>
    <p:sldId id="2147477337" r:id="rId87"/>
    <p:sldId id="2147477338" r:id="rId88"/>
    <p:sldId id="2147477339" r:id="rId89"/>
    <p:sldId id="2147477340" r:id="rId90"/>
    <p:sldId id="2147477341" r:id="rId91"/>
    <p:sldId id="2147477342" r:id="rId92"/>
    <p:sldId id="2147477343" r:id="rId93"/>
    <p:sldId id="2147477344" r:id="rId94"/>
    <p:sldId id="2147477345" r:id="rId95"/>
    <p:sldId id="2147477346" r:id="rId96"/>
    <p:sldId id="2147477347" r:id="rId97"/>
    <p:sldId id="2147477348" r:id="rId98"/>
    <p:sldId id="2147477349" r:id="rId99"/>
    <p:sldId id="2147477350" r:id="rId100"/>
    <p:sldId id="2147477351" r:id="rId101"/>
    <p:sldId id="2147477352" r:id="rId102"/>
    <p:sldId id="2147477353" r:id="rId103"/>
    <p:sldId id="2147477354" r:id="rId104"/>
    <p:sldId id="2147477355" r:id="rId105"/>
    <p:sldId id="2147477356" r:id="rId106"/>
    <p:sldId id="2147477357" r:id="rId107"/>
    <p:sldId id="2147477358" r:id="rId108"/>
    <p:sldId id="2147477359" r:id="rId109"/>
    <p:sldId id="2147477360" r:id="rId110"/>
    <p:sldId id="2147477361" r:id="rId111"/>
    <p:sldId id="2147477362" r:id="rId112"/>
    <p:sldId id="2147477363" r:id="rId113"/>
    <p:sldId id="2147477364" r:id="rId114"/>
    <p:sldId id="2147477365" r:id="rId115"/>
    <p:sldId id="2147477366" r:id="rId116"/>
    <p:sldId id="2147477367" r:id="rId117"/>
    <p:sldId id="2147477368" r:id="rId118"/>
    <p:sldId id="2147477369" r:id="rId119"/>
    <p:sldId id="2147477370" r:id="rId120"/>
    <p:sldId id="2147477371" r:id="rId121"/>
    <p:sldId id="2147477372" r:id="rId122"/>
    <p:sldId id="2147477373" r:id="rId123"/>
    <p:sldId id="2147477374" r:id="rId124"/>
    <p:sldId id="2147477375" r:id="rId125"/>
    <p:sldId id="2147477376" r:id="rId126"/>
    <p:sldId id="2147477377" r:id="rId127"/>
    <p:sldId id="2147477378" r:id="rId128"/>
    <p:sldId id="2147477379" r:id="rId129"/>
    <p:sldId id="2147477380" r:id="rId130"/>
    <p:sldId id="2147477381" r:id="rId131"/>
    <p:sldId id="2147477382" r:id="rId132"/>
    <p:sldId id="2147477383" r:id="rId133"/>
    <p:sldId id="2147477384" r:id="rId134"/>
    <p:sldId id="2147477385" r:id="rId135"/>
    <p:sldId id="2147477386" r:id="rId136"/>
    <p:sldId id="2147477387" r:id="rId137"/>
    <p:sldId id="2147477388" r:id="rId138"/>
    <p:sldId id="2147477389" r:id="rId139"/>
    <p:sldId id="2147477390" r:id="rId140"/>
    <p:sldId id="2147477391" r:id="rId141"/>
    <p:sldId id="2147477392" r:id="rId142"/>
    <p:sldId id="2147477393" r:id="rId143"/>
    <p:sldId id="2147477394" r:id="rId144"/>
    <p:sldId id="2147477395" r:id="rId145"/>
    <p:sldId id="2147477396" r:id="rId146"/>
    <p:sldId id="2147477397" r:id="rId147"/>
    <p:sldId id="2147477398" r:id="rId148"/>
    <p:sldId id="2147477399" r:id="rId149"/>
    <p:sldId id="2147477400" r:id="rId150"/>
    <p:sldId id="2147477401" r:id="rId151"/>
    <p:sldId id="2147477402" r:id="rId152"/>
    <p:sldId id="2147477403" r:id="rId153"/>
    <p:sldId id="2147477404" r:id="rId154"/>
    <p:sldId id="2147477405" r:id="rId155"/>
    <p:sldId id="2147477406" r:id="rId156"/>
    <p:sldId id="2147477407" r:id="rId157"/>
    <p:sldId id="2147477408" r:id="rId158"/>
    <p:sldId id="2147477409" r:id="rId159"/>
    <p:sldId id="2147477410" r:id="rId160"/>
    <p:sldId id="2147477411" r:id="rId161"/>
    <p:sldId id="2147477412" r:id="rId162"/>
    <p:sldId id="2147477413" r:id="rId163"/>
    <p:sldId id="2147477414" r:id="rId164"/>
    <p:sldId id="2147477415" r:id="rId165"/>
    <p:sldId id="2147477416" r:id="rId166"/>
    <p:sldId id="2147477417" r:id="rId167"/>
    <p:sldId id="2147477418" r:id="rId168"/>
    <p:sldId id="2147477419" r:id="rId169"/>
    <p:sldId id="2147477420" r:id="rId170"/>
    <p:sldId id="2147477421" r:id="rId171"/>
    <p:sldId id="2147477422" r:id="rId172"/>
    <p:sldId id="2147477423" r:id="rId173"/>
    <p:sldId id="2147477424" r:id="rId174"/>
    <p:sldId id="2147477425" r:id="rId175"/>
    <p:sldId id="2147477426" r:id="rId176"/>
    <p:sldId id="2147477427" r:id="rId177"/>
    <p:sldId id="2147477428" r:id="rId178"/>
    <p:sldId id="2147477429" r:id="rId179"/>
    <p:sldId id="2147477430" r:id="rId180"/>
    <p:sldId id="2147477431" r:id="rId181"/>
    <p:sldId id="2147477432" r:id="rId182"/>
    <p:sldId id="2147477433" r:id="rId183"/>
    <p:sldId id="2147477434" r:id="rId184"/>
    <p:sldId id="2147477435" r:id="rId185"/>
    <p:sldId id="2147477436" r:id="rId186"/>
    <p:sldId id="2147477437" r:id="rId187"/>
    <p:sldId id="2147477438" r:id="rId188"/>
    <p:sldId id="2147477439" r:id="rId189"/>
    <p:sldId id="2147477440" r:id="rId190"/>
    <p:sldId id="2147477441" r:id="rId191"/>
    <p:sldId id="2147477442" r:id="rId192"/>
    <p:sldId id="2147477443" r:id="rId193"/>
    <p:sldId id="2147477444" r:id="rId194"/>
    <p:sldId id="2147477445" r:id="rId195"/>
    <p:sldId id="2147477446" r:id="rId196"/>
    <p:sldId id="2147477447" r:id="rId197"/>
    <p:sldId id="2147477448" r:id="rId198"/>
    <p:sldId id="2147477449" r:id="rId199"/>
    <p:sldId id="2147477450" r:id="rId200"/>
    <p:sldId id="2147477451" r:id="rId201"/>
    <p:sldId id="2147477452" r:id="rId202"/>
    <p:sldId id="2147477453" r:id="rId203"/>
    <p:sldId id="2147477454" r:id="rId204"/>
    <p:sldId id="2147477455" r:id="rId205"/>
    <p:sldId id="2147477456" r:id="rId206"/>
    <p:sldId id="2147477457" r:id="rId207"/>
    <p:sldId id="2147477458" r:id="rId208"/>
    <p:sldId id="2147477459" r:id="rId209"/>
    <p:sldId id="2147477460" r:id="rId210"/>
    <p:sldId id="2147477461" r:id="rId211"/>
    <p:sldId id="2147477462" r:id="rId212"/>
    <p:sldId id="2147477463" r:id="rId213"/>
    <p:sldId id="2147477464" r:id="rId214"/>
    <p:sldId id="2147477465" r:id="rId215"/>
    <p:sldId id="2147477466" r:id="rId216"/>
    <p:sldId id="2147477467" r:id="rId217"/>
    <p:sldId id="2147477468" r:id="rId218"/>
    <p:sldId id="2147477469" r:id="rId219"/>
    <p:sldId id="2147477470" r:id="rId220"/>
    <p:sldId id="2147477471" r:id="rId221"/>
    <p:sldId id="2147477472" r:id="rId222"/>
    <p:sldId id="2147477473" r:id="rId223"/>
    <p:sldId id="2147477474" r:id="rId224"/>
    <p:sldId id="2147477475" r:id="rId225"/>
    <p:sldId id="2147477476" r:id="rId226"/>
    <p:sldId id="2147477477" r:id="rId227"/>
    <p:sldId id="2147477478" r:id="rId228"/>
    <p:sldId id="2147477479" r:id="rId229"/>
    <p:sldId id="2147477480" r:id="rId230"/>
    <p:sldId id="2147477481" r:id="rId231"/>
    <p:sldId id="2147477482" r:id="rId232"/>
    <p:sldId id="2147477483" r:id="rId233"/>
    <p:sldId id="2147477484" r:id="rId234"/>
    <p:sldId id="2147477485" r:id="rId235"/>
    <p:sldId id="2147477486" r:id="rId236"/>
    <p:sldId id="2147477487" r:id="rId237"/>
    <p:sldId id="2147477488" r:id="rId238"/>
    <p:sldId id="2147477489" r:id="rId239"/>
    <p:sldId id="2147477490" r:id="rId240"/>
    <p:sldId id="2147477491" r:id="rId241"/>
    <p:sldId id="2147477492" r:id="rId242"/>
    <p:sldId id="2147477493" r:id="rId243"/>
    <p:sldId id="2147477494" r:id="rId244"/>
    <p:sldId id="2147477495" r:id="rId245"/>
    <p:sldId id="2147477496" r:id="rId246"/>
    <p:sldId id="2147477497" r:id="rId247"/>
    <p:sldId id="2147477498" r:id="rId248"/>
    <p:sldId id="2147477499" r:id="rId249"/>
    <p:sldId id="2147477500" r:id="rId250"/>
    <p:sldId id="2147477501" r:id="rId251"/>
    <p:sldId id="2147477502" r:id="rId252"/>
    <p:sldId id="2147477503" r:id="rId253"/>
    <p:sldId id="2147477504" r:id="rId254"/>
    <p:sldId id="2147477505" r:id="rId255"/>
    <p:sldId id="2147477506" r:id="rId256"/>
    <p:sldId id="2147477507" r:id="rId257"/>
    <p:sldId id="2147477508" r:id="rId258"/>
    <p:sldId id="2147477509" r:id="rId259"/>
    <p:sldId id="2147477510" r:id="rId260"/>
    <p:sldId id="2147477511" r:id="rId261"/>
    <p:sldId id="2147477512" r:id="rId262"/>
    <p:sldId id="2147477513" r:id="rId263"/>
    <p:sldId id="2147477514" r:id="rId264"/>
    <p:sldId id="2147477515" r:id="rId265"/>
    <p:sldId id="2147477516" r:id="rId266"/>
    <p:sldId id="2147477517" r:id="rId267"/>
    <p:sldId id="2147477518" r:id="rId268"/>
    <p:sldId id="2147477519" r:id="rId269"/>
    <p:sldId id="2147477520" r:id="rId270"/>
    <p:sldId id="2147477521" r:id="rId271"/>
    <p:sldId id="2147477522" r:id="rId272"/>
    <p:sldId id="2147477523" r:id="rId273"/>
    <p:sldId id="2147477524" r:id="rId274"/>
    <p:sldId id="2147477525" r:id="rId275"/>
    <p:sldId id="2147477526" r:id="rId276"/>
    <p:sldId id="2147477527" r:id="rId277"/>
    <p:sldId id="2147477528" r:id="rId278"/>
    <p:sldId id="2147477529" r:id="rId279"/>
    <p:sldId id="2147477530" r:id="rId280"/>
    <p:sldId id="2147477531" r:id="rId281"/>
    <p:sldId id="2147477532" r:id="rId282"/>
    <p:sldId id="2147477533" r:id="rId283"/>
    <p:sldId id="2147477534" r:id="rId284"/>
    <p:sldId id="2147477535" r:id="rId285"/>
    <p:sldId id="2147477536" r:id="rId286"/>
    <p:sldId id="2147477537" r:id="rId287"/>
    <p:sldId id="2147477538" r:id="rId288"/>
    <p:sldId id="2147477539" r:id="rId289"/>
    <p:sldId id="2147477540" r:id="rId290"/>
    <p:sldId id="2147477541" r:id="rId291"/>
    <p:sldId id="2147477542" r:id="rId292"/>
    <p:sldId id="2147477543" r:id="rId293"/>
    <p:sldId id="2147477544" r:id="rId294"/>
    <p:sldId id="2147477545" r:id="rId295"/>
    <p:sldId id="2147477546" r:id="rId296"/>
    <p:sldId id="2147477547" r:id="rId297"/>
    <p:sldId id="2147477548" r:id="rId298"/>
    <p:sldId id="2147477549" r:id="rId299"/>
    <p:sldId id="2147477550" r:id="rId300"/>
    <p:sldId id="2147477551" r:id="rId301"/>
    <p:sldId id="2147477552" r:id="rId302"/>
    <p:sldId id="2147477553" r:id="rId303"/>
    <p:sldId id="2147477554" r:id="rId304"/>
    <p:sldId id="2147477555" r:id="rId305"/>
    <p:sldId id="2147477556" r:id="rId306"/>
    <p:sldId id="2147477557" r:id="rId307"/>
    <p:sldId id="2147477558" r:id="rId3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E794D60D-FECF-49CD-93DB-8CE573B7AE6C}">
          <p14:sldIdLst>
            <p14:sldId id="2147477256"/>
            <p14:sldId id="2147477257"/>
            <p14:sldId id="2147477258"/>
            <p14:sldId id="2147477259"/>
          </p14:sldIdLst>
        </p14:section>
        <p14:section name="Brand Sourcing Analysis" id="{DD48F9C2-34FF-46EF-83CA-1EFF4FB7BA57}">
          <p14:sldIdLst>
            <p14:sldId id="2147477260"/>
            <p14:sldId id="2147477261"/>
            <p14:sldId id="2147477262"/>
            <p14:sldId id="2147477263"/>
            <p14:sldId id="2147477264"/>
            <p14:sldId id="2147477265"/>
            <p14:sldId id="2147477266"/>
            <p14:sldId id="2147477267"/>
            <p14:sldId id="2147477268"/>
            <p14:sldId id="2147477269"/>
            <p14:sldId id="2147477270"/>
            <p14:sldId id="2147477271"/>
            <p14:sldId id="2147477272"/>
            <p14:sldId id="2147477273"/>
            <p14:sldId id="2147477274"/>
            <p14:sldId id="2147477275"/>
            <p14:sldId id="2147477276"/>
            <p14:sldId id="2147477277"/>
            <p14:sldId id="2147477278"/>
            <p14:sldId id="2147477279"/>
            <p14:sldId id="2147477280"/>
            <p14:sldId id="2147477281"/>
            <p14:sldId id="2147477282"/>
            <p14:sldId id="2147477283"/>
            <p14:sldId id="2147477284"/>
            <p14:sldId id="2147477285"/>
            <p14:sldId id="2147477286"/>
            <p14:sldId id="2147477287"/>
            <p14:sldId id="2147477288"/>
            <p14:sldId id="2147477289"/>
            <p14:sldId id="2147477290"/>
            <p14:sldId id="2147477291"/>
            <p14:sldId id="2147477292"/>
            <p14:sldId id="2147477293"/>
            <p14:sldId id="2147477294"/>
            <p14:sldId id="2147477295"/>
            <p14:sldId id="2147477296"/>
            <p14:sldId id="2147477297"/>
            <p14:sldId id="2147477298"/>
            <p14:sldId id="2147477299"/>
            <p14:sldId id="2147477300"/>
            <p14:sldId id="2147477301"/>
            <p14:sldId id="2147477302"/>
            <p14:sldId id="2147477303"/>
            <p14:sldId id="2147477304"/>
            <p14:sldId id="2147477305"/>
            <p14:sldId id="2147477306"/>
            <p14:sldId id="2147477307"/>
            <p14:sldId id="2147477308"/>
          </p14:sldIdLst>
        </p14:section>
        <p14:section name="0" id="{F3D00E01-A367-42E2-BFDF-0678BD486EB0}">
          <p14:sldIdLst/>
        </p14:section>
        <p14:section name="PE, Revenue Responses, Sourcing by product" id="{80C5B4C3-CB2A-4942-99D2-126E89B5FCF6}">
          <p14:sldIdLst>
            <p14:sldId id="2147477309"/>
            <p14:sldId id="2147477310"/>
            <p14:sldId id="2147477311"/>
            <p14:sldId id="2147477312"/>
            <p14:sldId id="2147477313"/>
            <p14:sldId id="2147477314"/>
            <p14:sldId id="2147477315"/>
            <p14:sldId id="2147477316"/>
            <p14:sldId id="2147477317"/>
            <p14:sldId id="2147477318"/>
            <p14:sldId id="2147477319"/>
            <p14:sldId id="2147477320"/>
            <p14:sldId id="2147477321"/>
            <p14:sldId id="2147477322"/>
            <p14:sldId id="2147477323"/>
            <p14:sldId id="2147477324"/>
            <p14:sldId id="2147477325"/>
            <p14:sldId id="2147477326"/>
            <p14:sldId id="2147477327"/>
            <p14:sldId id="2147477328"/>
            <p14:sldId id="2147477329"/>
            <p14:sldId id="2147477330"/>
            <p14:sldId id="2147477331"/>
            <p14:sldId id="2147477332"/>
            <p14:sldId id="2147477333"/>
            <p14:sldId id="2147477334"/>
            <p14:sldId id="2147477335"/>
            <p14:sldId id="2147477336"/>
            <p14:sldId id="2147477337"/>
            <p14:sldId id="2147477338"/>
            <p14:sldId id="2147477339"/>
            <p14:sldId id="2147477340"/>
            <p14:sldId id="2147477341"/>
            <p14:sldId id="2147477342"/>
            <p14:sldId id="2147477343"/>
            <p14:sldId id="2147477344"/>
            <p14:sldId id="2147477345"/>
            <p14:sldId id="2147477346"/>
            <p14:sldId id="2147477347"/>
            <p14:sldId id="2147477348"/>
            <p14:sldId id="2147477349"/>
            <p14:sldId id="2147477350"/>
            <p14:sldId id="2147477351"/>
            <p14:sldId id="2147477352"/>
            <p14:sldId id="2147477353"/>
            <p14:sldId id="2147477354"/>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28" d="100"/>
          <a:sy n="28" d="100"/>
        </p:scale>
        <p:origin x="319" y="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99" Type="http://schemas.openxmlformats.org/officeDocument/2006/relationships/slide" Target="slides/slide294.xml"/><Relationship Id="rId21" Type="http://schemas.openxmlformats.org/officeDocument/2006/relationships/slide" Target="slides/slide16.xml"/><Relationship Id="rId63" Type="http://schemas.openxmlformats.org/officeDocument/2006/relationships/slide" Target="slides/slide58.xml"/><Relationship Id="rId159" Type="http://schemas.openxmlformats.org/officeDocument/2006/relationships/slide" Target="slides/slide154.xml"/><Relationship Id="rId170" Type="http://schemas.openxmlformats.org/officeDocument/2006/relationships/slide" Target="slides/slide165.xml"/><Relationship Id="rId226" Type="http://schemas.openxmlformats.org/officeDocument/2006/relationships/slide" Target="slides/slide221.xml"/><Relationship Id="rId268" Type="http://schemas.openxmlformats.org/officeDocument/2006/relationships/slide" Target="slides/slide263.xml"/><Relationship Id="rId32" Type="http://schemas.openxmlformats.org/officeDocument/2006/relationships/slide" Target="slides/slide27.xml"/><Relationship Id="rId74" Type="http://schemas.openxmlformats.org/officeDocument/2006/relationships/slide" Target="slides/slide69.xml"/><Relationship Id="rId128" Type="http://schemas.openxmlformats.org/officeDocument/2006/relationships/slide" Target="slides/slide123.xml"/><Relationship Id="rId5" Type="http://schemas.openxmlformats.org/officeDocument/2006/relationships/slideMaster" Target="slideMasters/slideMaster2.xml"/><Relationship Id="rId181" Type="http://schemas.openxmlformats.org/officeDocument/2006/relationships/slide" Target="slides/slide176.xml"/><Relationship Id="rId237" Type="http://schemas.openxmlformats.org/officeDocument/2006/relationships/slide" Target="slides/slide232.xml"/><Relationship Id="rId279" Type="http://schemas.openxmlformats.org/officeDocument/2006/relationships/slide" Target="slides/slide274.xml"/><Relationship Id="rId43" Type="http://schemas.openxmlformats.org/officeDocument/2006/relationships/slide" Target="slides/slide38.xml"/><Relationship Id="rId139" Type="http://schemas.openxmlformats.org/officeDocument/2006/relationships/slide" Target="slides/slide134.xml"/><Relationship Id="rId290" Type="http://schemas.openxmlformats.org/officeDocument/2006/relationships/slide" Target="slides/slide285.xml"/><Relationship Id="rId304" Type="http://schemas.openxmlformats.org/officeDocument/2006/relationships/slide" Target="slides/slide299.xml"/><Relationship Id="rId85" Type="http://schemas.openxmlformats.org/officeDocument/2006/relationships/slide" Target="slides/slide80.xml"/><Relationship Id="rId150" Type="http://schemas.openxmlformats.org/officeDocument/2006/relationships/slide" Target="slides/slide145.xml"/><Relationship Id="rId192" Type="http://schemas.openxmlformats.org/officeDocument/2006/relationships/slide" Target="slides/slide187.xml"/><Relationship Id="rId206" Type="http://schemas.openxmlformats.org/officeDocument/2006/relationships/slide" Target="slides/slide201.xml"/><Relationship Id="rId248" Type="http://schemas.openxmlformats.org/officeDocument/2006/relationships/slide" Target="slides/slide243.xml"/><Relationship Id="rId12" Type="http://schemas.openxmlformats.org/officeDocument/2006/relationships/slide" Target="slides/slide7.xml"/><Relationship Id="rId108" Type="http://schemas.openxmlformats.org/officeDocument/2006/relationships/slide" Target="slides/slide103.xml"/><Relationship Id="rId54" Type="http://schemas.openxmlformats.org/officeDocument/2006/relationships/slide" Target="slides/slide49.xml"/><Relationship Id="rId96" Type="http://schemas.openxmlformats.org/officeDocument/2006/relationships/slide" Target="slides/slide91.xml"/><Relationship Id="rId161" Type="http://schemas.openxmlformats.org/officeDocument/2006/relationships/slide" Target="slides/slide156.xml"/><Relationship Id="rId217" Type="http://schemas.openxmlformats.org/officeDocument/2006/relationships/slide" Target="slides/slide212.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270" Type="http://schemas.openxmlformats.org/officeDocument/2006/relationships/slide" Target="slides/slide265.xml"/><Relationship Id="rId65" Type="http://schemas.openxmlformats.org/officeDocument/2006/relationships/slide" Target="slides/slide60.xml"/><Relationship Id="rId130" Type="http://schemas.openxmlformats.org/officeDocument/2006/relationships/slide" Target="slides/slide125.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249" Type="http://schemas.openxmlformats.org/officeDocument/2006/relationships/slide" Target="slides/slide244.xml"/><Relationship Id="rId13" Type="http://schemas.openxmlformats.org/officeDocument/2006/relationships/slide" Target="slides/slide8.xml"/><Relationship Id="rId109" Type="http://schemas.openxmlformats.org/officeDocument/2006/relationships/slide" Target="slides/slide104.xml"/><Relationship Id="rId260" Type="http://schemas.openxmlformats.org/officeDocument/2006/relationships/slide" Target="slides/slide255.xml"/><Relationship Id="rId281" Type="http://schemas.openxmlformats.org/officeDocument/2006/relationships/slide" Target="slides/slide276.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39" Type="http://schemas.openxmlformats.org/officeDocument/2006/relationships/slide" Target="slides/slide234.xml"/><Relationship Id="rId250" Type="http://schemas.openxmlformats.org/officeDocument/2006/relationships/slide" Target="slides/slide245.xml"/><Relationship Id="rId271" Type="http://schemas.openxmlformats.org/officeDocument/2006/relationships/slide" Target="slides/slide266.xml"/><Relationship Id="rId292" Type="http://schemas.openxmlformats.org/officeDocument/2006/relationships/slide" Target="slides/slide287.xml"/><Relationship Id="rId306" Type="http://schemas.openxmlformats.org/officeDocument/2006/relationships/slide" Target="slides/slide301.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240" Type="http://schemas.openxmlformats.org/officeDocument/2006/relationships/slide" Target="slides/slide235.xml"/><Relationship Id="rId261" Type="http://schemas.openxmlformats.org/officeDocument/2006/relationships/slide" Target="slides/slide256.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282" Type="http://schemas.openxmlformats.org/officeDocument/2006/relationships/slide" Target="slides/slide277.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1" Type="http://schemas.openxmlformats.org/officeDocument/2006/relationships/slide" Target="slides/slide246.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72" Type="http://schemas.openxmlformats.org/officeDocument/2006/relationships/slide" Target="slides/slide267.xml"/><Relationship Id="rId293" Type="http://schemas.openxmlformats.org/officeDocument/2006/relationships/slide" Target="slides/slide288.xml"/><Relationship Id="rId307" Type="http://schemas.openxmlformats.org/officeDocument/2006/relationships/slide" Target="slides/slide30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220" Type="http://schemas.openxmlformats.org/officeDocument/2006/relationships/slide" Target="slides/slide215.xml"/><Relationship Id="rId241" Type="http://schemas.openxmlformats.org/officeDocument/2006/relationships/slide" Target="slides/slide23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262" Type="http://schemas.openxmlformats.org/officeDocument/2006/relationships/slide" Target="slides/slide257.xml"/><Relationship Id="rId283" Type="http://schemas.openxmlformats.org/officeDocument/2006/relationships/slide" Target="slides/slide278.xml"/><Relationship Id="rId78" Type="http://schemas.openxmlformats.org/officeDocument/2006/relationships/slide" Target="slides/slide73.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64" Type="http://schemas.openxmlformats.org/officeDocument/2006/relationships/slide" Target="slides/slide159.xml"/><Relationship Id="rId185" Type="http://schemas.openxmlformats.org/officeDocument/2006/relationships/slide" Target="slides/slide180.xml"/><Relationship Id="rId9" Type="http://schemas.openxmlformats.org/officeDocument/2006/relationships/slide" Target="slides/slide4.xml"/><Relationship Id="rId210" Type="http://schemas.openxmlformats.org/officeDocument/2006/relationships/slide" Target="slides/slide205.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273" Type="http://schemas.openxmlformats.org/officeDocument/2006/relationships/slide" Target="slides/slide268.xml"/><Relationship Id="rId294" Type="http://schemas.openxmlformats.org/officeDocument/2006/relationships/slide" Target="slides/slide289.xml"/><Relationship Id="rId308" Type="http://schemas.openxmlformats.org/officeDocument/2006/relationships/slide" Target="slides/slide303.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slide" Target="slides/slide258.xml"/><Relationship Id="rId284" Type="http://schemas.openxmlformats.org/officeDocument/2006/relationships/slide" Target="slides/slide279.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4" Type="http://schemas.openxmlformats.org/officeDocument/2006/relationships/slide" Target="slides/slide269.xml"/><Relationship Id="rId295" Type="http://schemas.openxmlformats.org/officeDocument/2006/relationships/slide" Target="slides/slide290.xml"/><Relationship Id="rId309" Type="http://schemas.openxmlformats.org/officeDocument/2006/relationships/notesMaster" Target="notesMasters/notesMaster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slide" Target="slides/slide259.xml"/><Relationship Id="rId285" Type="http://schemas.openxmlformats.org/officeDocument/2006/relationships/slide" Target="slides/slide28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310" Type="http://schemas.openxmlformats.org/officeDocument/2006/relationships/presProps" Target="presProps.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275" Type="http://schemas.openxmlformats.org/officeDocument/2006/relationships/slide" Target="slides/slide270.xml"/><Relationship Id="rId296" Type="http://schemas.openxmlformats.org/officeDocument/2006/relationships/slide" Target="slides/slide291.xml"/><Relationship Id="rId300" Type="http://schemas.openxmlformats.org/officeDocument/2006/relationships/slide" Target="slides/slide295.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 Id="rId18" Type="http://schemas.openxmlformats.org/officeDocument/2006/relationships/slide" Target="slides/slide13.xml"/><Relationship Id="rId39" Type="http://schemas.openxmlformats.org/officeDocument/2006/relationships/slide" Target="slides/slide34.xml"/><Relationship Id="rId265" Type="http://schemas.openxmlformats.org/officeDocument/2006/relationships/slide" Target="slides/slide260.xml"/><Relationship Id="rId286" Type="http://schemas.openxmlformats.org/officeDocument/2006/relationships/slide" Target="slides/slide281.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311" Type="http://schemas.openxmlformats.org/officeDocument/2006/relationships/viewProps" Target="viewProps.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slide" Target="slides/slide229.xml"/><Relationship Id="rId2" Type="http://schemas.openxmlformats.org/officeDocument/2006/relationships/customXml" Target="../customXml/item2.xml"/><Relationship Id="rId29" Type="http://schemas.openxmlformats.org/officeDocument/2006/relationships/slide" Target="slides/slide24.xml"/><Relationship Id="rId255" Type="http://schemas.openxmlformats.org/officeDocument/2006/relationships/slide" Target="slides/slide250.xml"/><Relationship Id="rId276" Type="http://schemas.openxmlformats.org/officeDocument/2006/relationships/slide" Target="slides/slide271.xml"/><Relationship Id="rId297" Type="http://schemas.openxmlformats.org/officeDocument/2006/relationships/slide" Target="slides/slide292.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301" Type="http://schemas.openxmlformats.org/officeDocument/2006/relationships/slide" Target="slides/slide296.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245" Type="http://schemas.openxmlformats.org/officeDocument/2006/relationships/slide" Target="slides/slide240.xml"/><Relationship Id="rId266" Type="http://schemas.openxmlformats.org/officeDocument/2006/relationships/slide" Target="slides/slide261.xml"/><Relationship Id="rId287" Type="http://schemas.openxmlformats.org/officeDocument/2006/relationships/slide" Target="slides/slide282.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312" Type="http://schemas.openxmlformats.org/officeDocument/2006/relationships/theme" Target="theme/theme1.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customXml" Target="../customXml/item3.xml"/><Relationship Id="rId214" Type="http://schemas.openxmlformats.org/officeDocument/2006/relationships/slide" Target="slides/slide209.xml"/><Relationship Id="rId235" Type="http://schemas.openxmlformats.org/officeDocument/2006/relationships/slide" Target="slides/slide230.xml"/><Relationship Id="rId256" Type="http://schemas.openxmlformats.org/officeDocument/2006/relationships/slide" Target="slides/slide251.xml"/><Relationship Id="rId277" Type="http://schemas.openxmlformats.org/officeDocument/2006/relationships/slide" Target="slides/slide272.xml"/><Relationship Id="rId298" Type="http://schemas.openxmlformats.org/officeDocument/2006/relationships/slide" Target="slides/slide293.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302" Type="http://schemas.openxmlformats.org/officeDocument/2006/relationships/slide" Target="slides/slide297.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 Id="rId190" Type="http://schemas.openxmlformats.org/officeDocument/2006/relationships/slide" Target="slides/slide185.xml"/><Relationship Id="rId204" Type="http://schemas.openxmlformats.org/officeDocument/2006/relationships/slide" Target="slides/slide199.xml"/><Relationship Id="rId225" Type="http://schemas.openxmlformats.org/officeDocument/2006/relationships/slide" Target="slides/slide220.xml"/><Relationship Id="rId246" Type="http://schemas.openxmlformats.org/officeDocument/2006/relationships/slide" Target="slides/slide241.xml"/><Relationship Id="rId267" Type="http://schemas.openxmlformats.org/officeDocument/2006/relationships/slide" Target="slides/slide262.xml"/><Relationship Id="rId288" Type="http://schemas.openxmlformats.org/officeDocument/2006/relationships/slide" Target="slides/slide283.xml"/><Relationship Id="rId106" Type="http://schemas.openxmlformats.org/officeDocument/2006/relationships/slide" Target="slides/slide101.xml"/><Relationship Id="rId127" Type="http://schemas.openxmlformats.org/officeDocument/2006/relationships/slide" Target="slides/slide122.xml"/><Relationship Id="rId313"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94" Type="http://schemas.openxmlformats.org/officeDocument/2006/relationships/slide" Target="slides/slide89.xml"/><Relationship Id="rId148" Type="http://schemas.openxmlformats.org/officeDocument/2006/relationships/slide" Target="slides/slide143.xml"/><Relationship Id="rId169" Type="http://schemas.openxmlformats.org/officeDocument/2006/relationships/slide" Target="slides/slide164.xml"/><Relationship Id="rId4" Type="http://schemas.openxmlformats.org/officeDocument/2006/relationships/slideMaster" Target="slideMasters/slideMaster1.xml"/><Relationship Id="rId180" Type="http://schemas.openxmlformats.org/officeDocument/2006/relationships/slide" Target="slides/slide17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278" Type="http://schemas.openxmlformats.org/officeDocument/2006/relationships/slide" Target="slides/slide273.xml"/><Relationship Id="rId303" Type="http://schemas.openxmlformats.org/officeDocument/2006/relationships/slide" Target="slides/slide298.xml"/><Relationship Id="rId42" Type="http://schemas.openxmlformats.org/officeDocument/2006/relationships/slide" Target="slides/slide37.xml"/><Relationship Id="rId84" Type="http://schemas.openxmlformats.org/officeDocument/2006/relationships/slide" Target="slides/slide79.xml"/><Relationship Id="rId138" Type="http://schemas.openxmlformats.org/officeDocument/2006/relationships/slide" Target="slides/slide133.xml"/><Relationship Id="rId191" Type="http://schemas.openxmlformats.org/officeDocument/2006/relationships/slide" Target="slides/slide186.xml"/><Relationship Id="rId205" Type="http://schemas.openxmlformats.org/officeDocument/2006/relationships/slide" Target="slides/slide200.xml"/><Relationship Id="rId247" Type="http://schemas.openxmlformats.org/officeDocument/2006/relationships/slide" Target="slides/slide242.xml"/><Relationship Id="rId107" Type="http://schemas.openxmlformats.org/officeDocument/2006/relationships/slide" Target="slides/slide102.xml"/><Relationship Id="rId289" Type="http://schemas.openxmlformats.org/officeDocument/2006/relationships/slide" Target="slides/slide284.xml"/><Relationship Id="rId11" Type="http://schemas.openxmlformats.org/officeDocument/2006/relationships/slide" Target="slides/slide6.xml"/><Relationship Id="rId53" Type="http://schemas.openxmlformats.org/officeDocument/2006/relationships/slide" Target="slides/slide48.xml"/><Relationship Id="rId149" Type="http://schemas.openxmlformats.org/officeDocument/2006/relationships/slide" Target="slides/slide144.xml"/><Relationship Id="rId314" Type="http://schemas.microsoft.com/office/2015/10/relationships/revisionInfo" Target="revisionInfo.xml"/><Relationship Id="rId95" Type="http://schemas.openxmlformats.org/officeDocument/2006/relationships/slide" Target="slides/slide90.xml"/><Relationship Id="rId160" Type="http://schemas.openxmlformats.org/officeDocument/2006/relationships/slide" Target="slides/slide155.xml"/><Relationship Id="rId216" Type="http://schemas.openxmlformats.org/officeDocument/2006/relationships/slide" Target="slides/slide211.xml"/><Relationship Id="rId258" Type="http://schemas.openxmlformats.org/officeDocument/2006/relationships/slide" Target="slides/slide253.xml"/><Relationship Id="rId22" Type="http://schemas.openxmlformats.org/officeDocument/2006/relationships/slide" Target="slides/slide17.xml"/><Relationship Id="rId64" Type="http://schemas.openxmlformats.org/officeDocument/2006/relationships/slide" Target="slides/slide59.xml"/><Relationship Id="rId118" Type="http://schemas.openxmlformats.org/officeDocument/2006/relationships/slide" Target="slides/slide113.xml"/><Relationship Id="rId171" Type="http://schemas.openxmlformats.org/officeDocument/2006/relationships/slide" Target="slides/slide166.xml"/><Relationship Id="rId227" Type="http://schemas.openxmlformats.org/officeDocument/2006/relationships/slide" Target="slides/slide222.xml"/><Relationship Id="rId269" Type="http://schemas.openxmlformats.org/officeDocument/2006/relationships/slide" Target="slides/slide264.xml"/><Relationship Id="rId33" Type="http://schemas.openxmlformats.org/officeDocument/2006/relationships/slide" Target="slides/slide28.xml"/><Relationship Id="rId129" Type="http://schemas.openxmlformats.org/officeDocument/2006/relationships/slide" Target="slides/slide124.xml"/><Relationship Id="rId280" Type="http://schemas.openxmlformats.org/officeDocument/2006/relationships/slide" Target="slides/slide275.xml"/><Relationship Id="rId75" Type="http://schemas.openxmlformats.org/officeDocument/2006/relationships/slide" Target="slides/slide70.xml"/><Relationship Id="rId140" Type="http://schemas.openxmlformats.org/officeDocument/2006/relationships/slide" Target="slides/slide135.xml"/><Relationship Id="rId182" Type="http://schemas.openxmlformats.org/officeDocument/2006/relationships/slide" Target="slides/slide177.xml"/><Relationship Id="rId6" Type="http://schemas.openxmlformats.org/officeDocument/2006/relationships/slide" Target="slides/slide1.xml"/><Relationship Id="rId238" Type="http://schemas.openxmlformats.org/officeDocument/2006/relationships/slide" Target="slides/slide233.xml"/><Relationship Id="rId291" Type="http://schemas.openxmlformats.org/officeDocument/2006/relationships/slide" Target="slides/slide286.xml"/><Relationship Id="rId305" Type="http://schemas.openxmlformats.org/officeDocument/2006/relationships/slide" Target="slides/slide300.xml"/><Relationship Id="rId44" Type="http://schemas.openxmlformats.org/officeDocument/2006/relationships/slide" Target="slides/slide39.xml"/><Relationship Id="rId86" Type="http://schemas.openxmlformats.org/officeDocument/2006/relationships/slide" Target="slides/slide81.xml"/><Relationship Id="rId151" Type="http://schemas.openxmlformats.org/officeDocument/2006/relationships/slide" Target="slides/slide14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rPr lang="en-US"/>
                      <a:t>Roederer</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036-4583-9C33-33EAA424F793}"/>
                </c:ext>
              </c:extLst>
            </c:dLbl>
            <c:dLbl>
              <c:idx val="20"/>
              <c:tx>
                <c:rich>
                  <a:bodyPr/>
                  <a:lstStyle/>
                  <a:p>
                    <a:r>
                      <a:rPr lang="en-US"/>
                      <a:t>Taittinger</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036-4583-9C33-33EAA424F793}"/>
                </c:ext>
              </c:extLst>
            </c:dLbl>
            <c:dLbl>
              <c:idx val="21"/>
              <c:tx>
                <c:rich>
                  <a:bodyPr/>
                  <a:lstStyle/>
                  <a:p>
                    <a:r>
                      <a:rPr lang="en-US"/>
                      <a:t>Nicolas Feuillatt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036-4583-9C33-33EAA424F793}"/>
                </c:ext>
              </c:extLst>
            </c:dLbl>
            <c:dLbl>
              <c:idx val="22"/>
              <c:tx>
                <c:rich>
                  <a:bodyPr/>
                  <a:lstStyle/>
                  <a:p>
                    <a:r>
                      <a:rPr lang="en-US"/>
                      <a:t>De Saint-Gall</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8036-4583-9C33-33EAA424F793}"/>
                </c:ext>
              </c:extLst>
            </c:dLbl>
            <c:dLbl>
              <c:idx val="23"/>
              <c:tx>
                <c:rich>
                  <a:bodyPr/>
                  <a:lstStyle/>
                  <a:p>
                    <a:r>
                      <a:rPr lang="en-US"/>
                      <a:t>De Venog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036-4583-9C33-33EAA424F793}"/>
                </c:ext>
              </c:extLst>
            </c:dLbl>
            <c:dLbl>
              <c:idx val="24"/>
              <c:tx>
                <c:rich>
                  <a:bodyPr/>
                  <a:lstStyle/>
                  <a:p>
                    <a:r>
                      <a:rPr lang="en-US"/>
                      <a:t>Vessel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8036-4583-9C33-33EAA424F793}"/>
                </c:ext>
              </c:extLst>
            </c:dLbl>
            <c:dLbl>
              <c:idx val="25"/>
              <c:tx>
                <c:rich>
                  <a:bodyPr/>
                  <a:lstStyle/>
                  <a:p>
                    <a:r>
                      <a:rPr lang="en-US"/>
                      <a:t>Demoisel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036-4583-9C33-33EAA424F793}"/>
                </c:ext>
              </c:extLst>
            </c:dLbl>
            <c:dLbl>
              <c:idx val="26"/>
              <c:tx>
                <c:rich>
                  <a:bodyPr/>
                  <a:lstStyle/>
                  <a:p>
                    <a:r>
                      <a:rPr lang="en-US"/>
                      <a:t>Heidsieck &amp; C° Monopo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8036-4583-9C33-33EAA424F793}"/>
                </c:ext>
              </c:extLst>
            </c:dLbl>
            <c:dLbl>
              <c:idx val="27"/>
              <c:tx>
                <c:rich>
                  <a:bodyPr/>
                  <a:lstStyle/>
                  <a:p>
                    <a:r>
                      <a:rPr lang="en-US"/>
                      <a:t>Pommery</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036-4583-9C33-33EAA424F793}"/>
                </c:ext>
              </c:extLst>
            </c:dLbl>
            <c:dLbl>
              <c:idx val="28"/>
              <c:tx>
                <c:rich>
                  <a:bodyPr/>
                  <a:lstStyle/>
                  <a:p>
                    <a:r>
                      <a:rPr lang="en-US"/>
                      <a:t>Dea Augusta</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8036-4583-9C33-33EAA424F793}"/>
                </c:ext>
              </c:extLst>
            </c:dLbl>
            <c:dLbl>
              <c:idx val="29"/>
              <c:tx>
                <c:rich>
                  <a:bodyPr/>
                  <a:lstStyle/>
                  <a:p>
                    <a:r>
                      <a:rPr lang="en-US"/>
                      <a:t>De Chanceny</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036-4583-9C33-33EAA424F793}"/>
                </c:ext>
              </c:extLst>
            </c:dLbl>
            <c:dLbl>
              <c:idx val="30"/>
              <c:tx>
                <c:rich>
                  <a:bodyPr/>
                  <a:lstStyle/>
                  <a:p>
                    <a:r>
                      <a:rPr lang="en-US"/>
                      <a:t>Bouvet Ladubay</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8036-4583-9C33-33EAA424F793}"/>
                </c:ext>
              </c:extLst>
            </c:dLbl>
            <c:dLbl>
              <c:idx val="31"/>
              <c:tx>
                <c:rich>
                  <a:bodyPr/>
                  <a:lstStyle/>
                  <a:p>
                    <a:r>
                      <a:rPr lang="en-US"/>
                      <a:t>Cru La Maquelin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036-4583-9C33-33EAA424F793}"/>
                </c:ext>
              </c:extLst>
            </c:dLbl>
            <c:dLbl>
              <c:idx val="32"/>
              <c:tx>
                <c:rich>
                  <a:bodyPr/>
                  <a:lstStyle/>
                  <a:p>
                    <a:r>
                      <a:rPr lang="en-US"/>
                      <a:t>Patriarch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036-4583-9C33-33EAA424F793}"/>
                </c:ext>
              </c:extLst>
            </c:dLbl>
            <c:dLbl>
              <c:idx val="33"/>
              <c:tx>
                <c:rich>
                  <a:bodyPr/>
                  <a:lstStyle/>
                  <a:p>
                    <a:r>
                      <a:rPr lang="en-US"/>
                      <a:t>Muré</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036-4583-9C33-33EAA424F793}"/>
                </c:ext>
              </c:extLst>
            </c:dLbl>
            <c:dLbl>
              <c:idx val="34"/>
              <c:tx>
                <c:rich>
                  <a:bodyPr/>
                  <a:lstStyle/>
                  <a:p>
                    <a:r>
                      <a:rPr lang="en-US"/>
                      <a:t>Château Moncontour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036-4583-9C33-33EAA424F793}"/>
                </c:ext>
              </c:extLst>
            </c:dLbl>
            <c:dLbl>
              <c:idx val="35"/>
              <c:tx>
                <c:rich>
                  <a:bodyPr/>
                  <a:lstStyle/>
                  <a:p>
                    <a:r>
                      <a:rPr lang="en-US"/>
                      <a:t>Petit Coteau</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036-4583-9C33-33EAA424F793}"/>
                </c:ext>
              </c:extLst>
            </c:dLbl>
            <c:dLbl>
              <c:idx val="36"/>
              <c:tx>
                <c:rich>
                  <a:bodyPr/>
                  <a:lstStyle/>
                  <a:p>
                    <a:r>
                      <a:rPr lang="en-US"/>
                      <a:t>Les Grumes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036-4583-9C33-33EAA424F793}"/>
                </c:ext>
              </c:extLst>
            </c:dLbl>
            <c:dLbl>
              <c:idx val="37"/>
              <c:tx>
                <c:rich>
                  <a:bodyPr/>
                  <a:lstStyle/>
                  <a:p>
                    <a:r>
                      <a:rPr lang="en-US"/>
                      <a:t>Veuve du Vernay</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036-4583-9C33-33EAA424F793}"/>
                </c:ext>
              </c:extLst>
            </c:dLbl>
            <c:dLbl>
              <c:idx val="38"/>
              <c:tx>
                <c:rich>
                  <a:bodyPr/>
                  <a:lstStyle/>
                  <a:p>
                    <a:r>
                      <a:rPr lang="en-US"/>
                      <a:t>French Bloo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036-4583-9C33-33EAA424F793}"/>
                </c:ext>
              </c:extLst>
            </c:dLbl>
            <c:dLbl>
              <c:idx val="39"/>
              <c:tx>
                <c:rich>
                  <a:bodyPr/>
                  <a:lstStyle/>
                  <a:p>
                    <a:r>
                      <a:rPr lang="en-US"/>
                      <a:t>Lyre'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036-4583-9C33-33EAA424F793}"/>
                </c:ext>
              </c:extLst>
            </c:dLbl>
            <c:dLbl>
              <c:idx val="40"/>
              <c:tx>
                <c:rich>
                  <a:bodyPr/>
                  <a:lstStyle/>
                  <a:p>
                    <a:r>
                      <a:rPr lang="en-US"/>
                      <a:t>Bottega</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036-4583-9C33-33EAA424F793}"/>
                </c:ext>
              </c:extLst>
            </c:dLbl>
            <c:dLbl>
              <c:idx val="41"/>
              <c:tx>
                <c:rich>
                  <a:bodyPr/>
                  <a:lstStyle/>
                  <a:p>
                    <a:r>
                      <a:rPr lang="en-US"/>
                      <a:t>Carlo V</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036-4583-9C33-33EAA424F793}"/>
                </c:ext>
              </c:extLst>
            </c:dLbl>
            <c:dLbl>
              <c:idx val="42"/>
              <c:tx>
                <c:rich>
                  <a:bodyPr/>
                  <a:lstStyle/>
                  <a:p>
                    <a:r>
                      <a:rPr lang="en-US"/>
                      <a:t>Savian</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036-4583-9C33-33EAA424F793}"/>
                </c:ext>
              </c:extLst>
            </c:dLbl>
            <c:dLbl>
              <c:idx val="43"/>
              <c:tx>
                <c:rich>
                  <a:bodyPr/>
                  <a:lstStyle/>
                  <a:p>
                    <a:r>
                      <a:rPr lang="en-US"/>
                      <a:t>Contarini</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036-4583-9C33-33EAA424F79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5</c:f>
              <c:numCache>
                <c:formatCode>General</c:formatCode>
                <c:ptCount val="44"/>
                <c:pt idx="0">
                  <c:v>-0.87189859950186099</c:v>
                </c:pt>
                <c:pt idx="1">
                  <c:v>-3.7298890498633677</c:v>
                </c:pt>
                <c:pt idx="2">
                  <c:v>-2.7584765313536042</c:v>
                </c:pt>
                <c:pt idx="3">
                  <c:v>-2.7664407518419969</c:v>
                </c:pt>
                <c:pt idx="4">
                  <c:v>-2.8804199789518066</c:v>
                </c:pt>
                <c:pt idx="5">
                  <c:v>-4.4032833384295813</c:v>
                </c:pt>
                <c:pt idx="6">
                  <c:v>-2.065916697908571</c:v>
                </c:pt>
                <c:pt idx="7">
                  <c:v>-5.994585927907643</c:v>
                </c:pt>
                <c:pt idx="8">
                  <c:v>-3.7648441801541597</c:v>
                </c:pt>
                <c:pt idx="9">
                  <c:v>-5.8567549544702846</c:v>
                </c:pt>
                <c:pt idx="10">
                  <c:v>-3.1406353091950896</c:v>
                </c:pt>
                <c:pt idx="11">
                  <c:v>-4.5519553056501216</c:v>
                </c:pt>
                <c:pt idx="12">
                  <c:v>-8.7620769559713825</c:v>
                </c:pt>
                <c:pt idx="13">
                  <c:v>-1.650835724726462</c:v>
                </c:pt>
                <c:pt idx="14">
                  <c:v>-4.5070629576161627</c:v>
                </c:pt>
                <c:pt idx="15">
                  <c:v>-2.97235746062147</c:v>
                </c:pt>
                <c:pt idx="16">
                  <c:v>-1.675772966700996</c:v>
                </c:pt>
                <c:pt idx="17">
                  <c:v>-6.1732117797843014</c:v>
                </c:pt>
                <c:pt idx="18">
                  <c:v>-3.0626521630707773</c:v>
                </c:pt>
                <c:pt idx="19">
                  <c:v>-2.2665452219232991</c:v>
                </c:pt>
                <c:pt idx="20">
                  <c:v>-2.9509799493615105</c:v>
                </c:pt>
                <c:pt idx="21">
                  <c:v>-3.6204906874426697</c:v>
                </c:pt>
                <c:pt idx="22">
                  <c:v>-4.1204139833649078</c:v>
                </c:pt>
                <c:pt idx="23">
                  <c:v>-3.3663864540191355</c:v>
                </c:pt>
                <c:pt idx="24">
                  <c:v>-6.1704837588986186</c:v>
                </c:pt>
                <c:pt idx="25">
                  <c:v>-2.7238985624634298</c:v>
                </c:pt>
                <c:pt idx="26">
                  <c:v>-2.8875399437414626</c:v>
                </c:pt>
                <c:pt idx="27">
                  <c:v>-7.2016531234393408</c:v>
                </c:pt>
                <c:pt idx="28">
                  <c:v>-3.0464350819460897</c:v>
                </c:pt>
                <c:pt idx="29">
                  <c:v>-1.7517004706972361</c:v>
                </c:pt>
                <c:pt idx="30">
                  <c:v>-1.9227461588797361</c:v>
                </c:pt>
                <c:pt idx="31">
                  <c:v>-2.6451612233112463</c:v>
                </c:pt>
                <c:pt idx="32">
                  <c:v>-1.3988214624514914</c:v>
                </c:pt>
                <c:pt idx="33">
                  <c:v>-2.3344791848628947</c:v>
                </c:pt>
                <c:pt idx="34">
                  <c:v>-1.093974035596232</c:v>
                </c:pt>
                <c:pt idx="35">
                  <c:v>-1.2464321017946798</c:v>
                </c:pt>
                <c:pt idx="36">
                  <c:v>-0.66634638041908534</c:v>
                </c:pt>
                <c:pt idx="37">
                  <c:v>-1.7573210577135381</c:v>
                </c:pt>
                <c:pt idx="38">
                  <c:v>-1.8410551404993287</c:v>
                </c:pt>
                <c:pt idx="39">
                  <c:v>-0.88419234489663789</c:v>
                </c:pt>
                <c:pt idx="40">
                  <c:v>-2.2443894501346744</c:v>
                </c:pt>
                <c:pt idx="41">
                  <c:v>-0.75168613686827812</c:v>
                </c:pt>
                <c:pt idx="42">
                  <c:v>-3.3429564785406742</c:v>
                </c:pt>
                <c:pt idx="43">
                  <c:v>-2.117499888201595</c:v>
                </c:pt>
              </c:numCache>
            </c:numRef>
          </c:xVal>
          <c:yVal>
            <c:numRef>
              <c:f>Sheet1!$B$2:$B$45</c:f>
              <c:numCache>
                <c:formatCode>General</c:formatCode>
                <c:ptCount val="44"/>
                <c:pt idx="0">
                  <c:v>-0.88731495152874862</c:v>
                </c:pt>
                <c:pt idx="1">
                  <c:v>-3.2437350767890938</c:v>
                </c:pt>
                <c:pt idx="2">
                  <c:v>-2.356653572711453</c:v>
                </c:pt>
                <c:pt idx="3">
                  <c:v>-2.397428869253031</c:v>
                </c:pt>
                <c:pt idx="4">
                  <c:v>-2.4115362215604779</c:v>
                </c:pt>
                <c:pt idx="5">
                  <c:v>-3.2642033214260078</c:v>
                </c:pt>
                <c:pt idx="6">
                  <c:v>-2.4742652533139773</c:v>
                </c:pt>
                <c:pt idx="7">
                  <c:v>-2.3800240880376591</c:v>
                </c:pt>
                <c:pt idx="8">
                  <c:v>-1.8795349271952344</c:v>
                </c:pt>
                <c:pt idx="9">
                  <c:v>-3.3985356133279576</c:v>
                </c:pt>
                <c:pt idx="10">
                  <c:v>-2.7421514668878872</c:v>
                </c:pt>
                <c:pt idx="11">
                  <c:v>-2.2609643543966258</c:v>
                </c:pt>
                <c:pt idx="12">
                  <c:v>-4.1731335876609146</c:v>
                </c:pt>
                <c:pt idx="13">
                  <c:v>-1.117295663616622</c:v>
                </c:pt>
                <c:pt idx="14">
                  <c:v>-2.2978464718797746</c:v>
                </c:pt>
                <c:pt idx="15">
                  <c:v>-2.6933712561811212</c:v>
                </c:pt>
                <c:pt idx="16">
                  <c:v>-2.0803962690225446</c:v>
                </c:pt>
                <c:pt idx="17">
                  <c:v>-3.9244942739374</c:v>
                </c:pt>
                <c:pt idx="18">
                  <c:v>-1.8841690828780906</c:v>
                </c:pt>
                <c:pt idx="19">
                  <c:v>-1.8206275030000529</c:v>
                </c:pt>
                <c:pt idx="20">
                  <c:v>-2.4263587224907281</c:v>
                </c:pt>
                <c:pt idx="21">
                  <c:v>-2.1600671041770534</c:v>
                </c:pt>
                <c:pt idx="22">
                  <c:v>-2.0252634584695266</c:v>
                </c:pt>
                <c:pt idx="23">
                  <c:v>-2.0111415520263574</c:v>
                </c:pt>
                <c:pt idx="24">
                  <c:v>-2.8923657392763924</c:v>
                </c:pt>
                <c:pt idx="25">
                  <c:v>-2.9169172156273317</c:v>
                </c:pt>
                <c:pt idx="26">
                  <c:v>-2.7234734017247519</c:v>
                </c:pt>
                <c:pt idx="27">
                  <c:v>-2.5169816577217103</c:v>
                </c:pt>
                <c:pt idx="28">
                  <c:v>-1.6555260614709277</c:v>
                </c:pt>
                <c:pt idx="29">
                  <c:v>-1.3584283979476903</c:v>
                </c:pt>
                <c:pt idx="30">
                  <c:v>-1.2189711815930024</c:v>
                </c:pt>
                <c:pt idx="31">
                  <c:v>-1.4934808222452141</c:v>
                </c:pt>
                <c:pt idx="32">
                  <c:v>-1.1035827154567517</c:v>
                </c:pt>
                <c:pt idx="33">
                  <c:v>-1.6346050407491504</c:v>
                </c:pt>
                <c:pt idx="34">
                  <c:v>-0.91643202250046718</c:v>
                </c:pt>
                <c:pt idx="35">
                  <c:v>-0.98478968684923562</c:v>
                </c:pt>
                <c:pt idx="36">
                  <c:v>-0.58008950455299479</c:v>
                </c:pt>
                <c:pt idx="37">
                  <c:v>-1.1696829979419168</c:v>
                </c:pt>
                <c:pt idx="38">
                  <c:v>-1.194669335207226</c:v>
                </c:pt>
                <c:pt idx="39">
                  <c:v>-0.81830117869967045</c:v>
                </c:pt>
                <c:pt idx="40">
                  <c:v>-1.2774418755946719</c:v>
                </c:pt>
                <c:pt idx="41">
                  <c:v>-1.6916224606601524</c:v>
                </c:pt>
                <c:pt idx="42">
                  <c:v>-2.1417855102743975</c:v>
                </c:pt>
                <c:pt idx="4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9"/>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5"/>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Deutz (4.8%)</c:v>
                </c:pt>
                <c:pt idx="4">
                  <c:v>Nicolas Feuillatte (4.5%)</c:v>
                </c:pt>
                <c:pt idx="5">
                  <c:v>De Bligny (1.3%)</c:v>
                </c:pt>
                <c:pt idx="6">
                  <c:v>Laurent Perrier (3.9%)</c:v>
                </c:pt>
                <c:pt idx="7">
                  <c:v>Demoiselle (3.5%)</c:v>
                </c:pt>
                <c:pt idx="8">
                  <c:v>Ruinart (12.8%)</c:v>
                </c:pt>
                <c:pt idx="9">
                  <c:v>Canard-Duchêne (3.1%)</c:v>
                </c:pt>
              </c:strCache>
            </c:strRef>
          </c:cat>
          <c:val>
            <c:numRef>
              <c:f>Sheet1!$B$2:$B$11</c:f>
              <c:numCache>
                <c:formatCode>General</c:formatCode>
                <c:ptCount val="10"/>
                <c:pt idx="0">
                  <c:v>0.12912547622975457</c:v>
                </c:pt>
                <c:pt idx="1">
                  <c:v>0.1229424128325905</c:v>
                </c:pt>
                <c:pt idx="2">
                  <c:v>9.2119028528926256E-2</c:v>
                </c:pt>
                <c:pt idx="3">
                  <c:v>4.9719723708420996E-2</c:v>
                </c:pt>
                <c:pt idx="4">
                  <c:v>4.1550413858879795E-2</c:v>
                </c:pt>
                <c:pt idx="5">
                  <c:v>3.9309497352585022E-2</c:v>
                </c:pt>
                <c:pt idx="6">
                  <c:v>3.8565778031872042E-2</c:v>
                </c:pt>
                <c:pt idx="7">
                  <c:v>3.849725203859658E-2</c:v>
                </c:pt>
                <c:pt idx="8">
                  <c:v>3.7099791080510314E-2</c:v>
                </c:pt>
                <c:pt idx="9">
                  <c:v>3.49180851923651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Les Grumes  (1.0%)</c:v>
                </c:pt>
                <c:pt idx="4">
                  <c:v>Savian (2.1%)</c:v>
                </c:pt>
                <c:pt idx="5">
                  <c:v>Patriarche (2.6%)</c:v>
                </c:pt>
                <c:pt idx="6">
                  <c:v>Muré (1.3%)</c:v>
                </c:pt>
                <c:pt idx="7">
                  <c:v>Dea Augusta (0.5%)</c:v>
                </c:pt>
                <c:pt idx="8">
                  <c:v>Bouvet Ladubay (1.5%)</c:v>
                </c:pt>
                <c:pt idx="9">
                  <c:v>Malard (6.0%)</c:v>
                </c:pt>
              </c:strCache>
            </c:strRef>
          </c:cat>
          <c:val>
            <c:numRef>
              <c:f>Sheet1!$B$2:$B$11</c:f>
              <c:numCache>
                <c:formatCode>General</c:formatCode>
                <c:ptCount val="10"/>
                <c:pt idx="0">
                  <c:v>0.20593317494543584</c:v>
                </c:pt>
                <c:pt idx="1">
                  <c:v>7.6915566587908879E-2</c:v>
                </c:pt>
                <c:pt idx="2">
                  <c:v>7.1192121769338312E-2</c:v>
                </c:pt>
                <c:pt idx="3">
                  <c:v>6.445935268325384E-2</c:v>
                </c:pt>
                <c:pt idx="4">
                  <c:v>6.0580317741851512E-2</c:v>
                </c:pt>
                <c:pt idx="5">
                  <c:v>5.0347993901122517E-2</c:v>
                </c:pt>
                <c:pt idx="6">
                  <c:v>4.4985584533442972E-2</c:v>
                </c:pt>
                <c:pt idx="7">
                  <c:v>3.7255042374104909E-2</c:v>
                </c:pt>
                <c:pt idx="8">
                  <c:v>3.7130006067316923E-2</c:v>
                </c:pt>
                <c:pt idx="9">
                  <c:v>3.229062946630837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1ère Cuvé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95</c:v>
                </c:pt>
                <c:pt idx="1">
                  <c:v>19.95</c:v>
                </c:pt>
                <c:pt idx="2">
                  <c:v>22.5</c:v>
                </c:pt>
                <c:pt idx="3">
                  <c:v>24.95</c:v>
                </c:pt>
                <c:pt idx="4">
                  <c:v>26.95</c:v>
                </c:pt>
              </c:numCache>
            </c:numRef>
          </c:xVal>
          <c:yVal>
            <c:numRef>
              <c:f>Sheet1!$B$2:$B$6</c:f>
              <c:numCache>
                <c:formatCode>General</c:formatCode>
                <c:ptCount val="5"/>
                <c:pt idx="0">
                  <c:v>0.36198718056976764</c:v>
                </c:pt>
                <c:pt idx="1">
                  <c:v>0.17701998757965273</c:v>
                </c:pt>
                <c:pt idx="2">
                  <c:v>0</c:v>
                </c:pt>
                <c:pt idx="3">
                  <c:v>-0.13704107969953244</c:v>
                </c:pt>
                <c:pt idx="4">
                  <c:v>-0.356227831058284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1èr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0000000000003</c:v>
                </c:pt>
                <c:pt idx="3">
                  <c:v>39.950000000000003</c:v>
                </c:pt>
                <c:pt idx="4">
                  <c:v>42.95</c:v>
                </c:pt>
              </c:numCache>
            </c:numRef>
          </c:xVal>
          <c:yVal>
            <c:numRef>
              <c:f>Sheet1!$B$9:$B$13</c:f>
              <c:numCache>
                <c:formatCode>General</c:formatCode>
                <c:ptCount val="5"/>
                <c:pt idx="0">
                  <c:v>1.2340536883461861</c:v>
                </c:pt>
                <c:pt idx="1">
                  <c:v>0.38433522059606107</c:v>
                </c:pt>
                <c:pt idx="2">
                  <c:v>0</c:v>
                </c:pt>
                <c:pt idx="3">
                  <c:v>-0.29385275764601154</c:v>
                </c:pt>
                <c:pt idx="4">
                  <c:v>-0.5224346024687979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Blanc de Blancs 375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8.95</c:v>
                </c:pt>
                <c:pt idx="1">
                  <c:v>21.5</c:v>
                </c:pt>
                <c:pt idx="2">
                  <c:v>23.95</c:v>
                </c:pt>
                <c:pt idx="3">
                  <c:v>25.95</c:v>
                </c:pt>
                <c:pt idx="4">
                  <c:v>28.95</c:v>
                </c:pt>
              </c:numCache>
            </c:numRef>
          </c:xVal>
          <c:yVal>
            <c:numRef>
              <c:f>Sheet1!$B$16:$B$20</c:f>
              <c:numCache>
                <c:formatCode>General</c:formatCode>
                <c:ptCount val="5"/>
                <c:pt idx="0">
                  <c:v>0.38669398505225749</c:v>
                </c:pt>
                <c:pt idx="1">
                  <c:v>0.1655993259553297</c:v>
                </c:pt>
                <c:pt idx="2">
                  <c:v>0</c:v>
                </c:pt>
                <c:pt idx="3">
                  <c:v>-0.18664652373913637</c:v>
                </c:pt>
                <c:pt idx="4">
                  <c:v>-0.4499414697695545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Blanc de Blancs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1.95</c:v>
                </c:pt>
                <c:pt idx="1">
                  <c:v>34.950000000000003</c:v>
                </c:pt>
                <c:pt idx="2">
                  <c:v>39.950000000000003</c:v>
                </c:pt>
                <c:pt idx="3">
                  <c:v>42.95</c:v>
                </c:pt>
                <c:pt idx="4">
                  <c:v>47.95</c:v>
                </c:pt>
              </c:numCache>
            </c:numRef>
          </c:xVal>
          <c:yVal>
            <c:numRef>
              <c:f>Sheet1!$B$23:$B$27</c:f>
              <c:numCache>
                <c:formatCode>General</c:formatCode>
                <c:ptCount val="5"/>
                <c:pt idx="0">
                  <c:v>0.68785594047528054</c:v>
                </c:pt>
                <c:pt idx="1">
                  <c:v>0.29666820427162977</c:v>
                </c:pt>
                <c:pt idx="2">
                  <c:v>0</c:v>
                </c:pt>
                <c:pt idx="3">
                  <c:v>-0.27677756780560397</c:v>
                </c:pt>
                <c:pt idx="4">
                  <c:v>-0.48372296432240353</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Nicolas Blanc de Blancs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69</c:v>
                </c:pt>
                <c:pt idx="1">
                  <c:v>75</c:v>
                </c:pt>
                <c:pt idx="2">
                  <c:v>85</c:v>
                </c:pt>
                <c:pt idx="3">
                  <c:v>95</c:v>
                </c:pt>
                <c:pt idx="4">
                  <c:v>99</c:v>
                </c:pt>
              </c:numCache>
            </c:numRef>
          </c:xVal>
          <c:yVal>
            <c:numRef>
              <c:f>Sheet1!$B$30:$B$34</c:f>
              <c:numCache>
                <c:formatCode>General</c:formatCode>
                <c:ptCount val="5"/>
                <c:pt idx="0">
                  <c:v>0.50424971931124762</c:v>
                </c:pt>
                <c:pt idx="1">
                  <c:v>0.19325288371552096</c:v>
                </c:pt>
                <c:pt idx="2">
                  <c:v>0</c:v>
                </c:pt>
                <c:pt idx="3">
                  <c:v>-0.17032600449022919</c:v>
                </c:pt>
                <c:pt idx="4">
                  <c:v>-0.235535471354197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
          <c:min val="1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B$2:$B$19</c:f>
              <c:numCache>
                <c:formatCode>General</c:formatCode>
                <c:ptCount val="18"/>
                <c:pt idx="0">
                  <c:v>135.57821469678959</c:v>
                </c:pt>
                <c:pt idx="1">
                  <c:v>130.48154620210553</c:v>
                </c:pt>
                <c:pt idx="2">
                  <c:v>125.75723492862278</c:v>
                </c:pt>
                <c:pt idx="3">
                  <c:v>121.36267316209155</c:v>
                </c:pt>
                <c:pt idx="4">
                  <c:v>117.27283352313509</c:v>
                </c:pt>
                <c:pt idx="5">
                  <c:v>113.50259718457652</c:v>
                </c:pt>
                <c:pt idx="6">
                  <c:v>109.89927091651424</c:v>
                </c:pt>
                <c:pt idx="7">
                  <c:v>106.45349827829588</c:v>
                </c:pt>
                <c:pt idx="8">
                  <c:v>103.15649094441461</c:v>
                </c:pt>
                <c:pt idx="9">
                  <c:v>100</c:v>
                </c:pt>
                <c:pt idx="10">
                  <c:v>96.976287198651619</c:v>
                </c:pt>
                <c:pt idx="11">
                  <c:v>94.078096510052447</c:v>
                </c:pt>
                <c:pt idx="12">
                  <c:v>91.298626222685769</c:v>
                </c:pt>
                <c:pt idx="13">
                  <c:v>88.631501811314351</c:v>
                </c:pt>
                <c:pt idx="14">
                  <c:v>85.661524967060032</c:v>
                </c:pt>
                <c:pt idx="15">
                  <c:v>79.41324157622725</c:v>
                </c:pt>
                <c:pt idx="16">
                  <c:v>73.762341040876436</c:v>
                </c:pt>
                <c:pt idx="17">
                  <c:v>68.6393791135905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C$2:$C$19</c:f>
              <c:numCache>
                <c:formatCode>General</c:formatCode>
                <c:ptCount val="18"/>
                <c:pt idx="0">
                  <c:v>108.48328586781435</c:v>
                </c:pt>
                <c:pt idx="1">
                  <c:v>107.30238925090919</c:v>
                </c:pt>
                <c:pt idx="2">
                  <c:v>106.20964630706801</c:v>
                </c:pt>
                <c:pt idx="3">
                  <c:v>105.19293125434703</c:v>
                </c:pt>
                <c:pt idx="4">
                  <c:v>104.2519664421572</c:v>
                </c:pt>
                <c:pt idx="5">
                  <c:v>103.42066866829758</c:v>
                </c:pt>
                <c:pt idx="6">
                  <c:v>102.57778479306498</c:v>
                </c:pt>
                <c:pt idx="7">
                  <c:v>101.72548732487583</c:v>
                </c:pt>
                <c:pt idx="8">
                  <c:v>100.86567357025153</c:v>
                </c:pt>
                <c:pt idx="9">
                  <c:v>100</c:v>
                </c:pt>
                <c:pt idx="10">
                  <c:v>99.129912746842251</c:v>
                </c:pt>
                <c:pt idx="11">
                  <c:v>98.256674572539566</c:v>
                </c:pt>
                <c:pt idx="12">
                  <c:v>97.38138863402466</c:v>
                </c:pt>
                <c:pt idx="13">
                  <c:v>96.505019364195235</c:v>
                </c:pt>
                <c:pt idx="14">
                  <c:v>95.174113877346556</c:v>
                </c:pt>
                <c:pt idx="15">
                  <c:v>89.999137072021512</c:v>
                </c:pt>
                <c:pt idx="16">
                  <c:v>85.236316780690558</c:v>
                </c:pt>
                <c:pt idx="17">
                  <c:v>80.8437609243411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D$2:$D$19</c:f>
              <c:numCache>
                <c:formatCode>General</c:formatCode>
                <c:ptCount val="18"/>
                <c:pt idx="0">
                  <c:v>84.508161592067353</c:v>
                </c:pt>
                <c:pt idx="1">
                  <c:v>86.792459042224095</c:v>
                </c:pt>
                <c:pt idx="2">
                  <c:v>88.913393113526894</c:v>
                </c:pt>
                <c:pt idx="3">
                  <c:v>90.885809421210013</c:v>
                </c:pt>
                <c:pt idx="4">
                  <c:v>92.73132174231128</c:v>
                </c:pt>
                <c:pt idx="5">
                  <c:v>94.500581169265658</c:v>
                </c:pt>
                <c:pt idx="6">
                  <c:v>96.100196548436486</c:v>
                </c:pt>
                <c:pt idx="7">
                  <c:v>97.5425520561555</c:v>
                </c:pt>
                <c:pt idx="8">
                  <c:v>98.83900979942058</c:v>
                </c:pt>
                <c:pt idx="9">
                  <c:v>100</c:v>
                </c:pt>
                <c:pt idx="10">
                  <c:v>101.03510393096282</c:v>
                </c:pt>
                <c:pt idx="11">
                  <c:v>101.9531299494498</c:v>
                </c:pt>
                <c:pt idx="12">
                  <c:v>102.76218300922007</c:v>
                </c:pt>
                <c:pt idx="13">
                  <c:v>103.46972806036536</c:v>
                </c:pt>
                <c:pt idx="14">
                  <c:v>103.58778513308312</c:v>
                </c:pt>
                <c:pt idx="15">
                  <c:v>99.35567098784621</c:v>
                </c:pt>
                <c:pt idx="16">
                  <c:v>95.372930894920998</c:v>
                </c:pt>
                <c:pt idx="17">
                  <c:v>91.6218766695966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E$2:$E$19</c:f>
              <c:numCache>
                <c:formatCode>General</c:formatCode>
                <c:ptCount val="18"/>
                <c:pt idx="0">
                  <c:v>0.41368745700527404</c:v>
                </c:pt>
                <c:pt idx="1">
                  <c:v>0.42953374195107746</c:v>
                </c:pt>
                <c:pt idx="2">
                  <c:v>0.44454601189973325</c:v>
                </c:pt>
                <c:pt idx="3">
                  <c:v>0.4587884218510222</c:v>
                </c:pt>
                <c:pt idx="4">
                  <c:v>0.47231871130474662</c:v>
                </c:pt>
                <c:pt idx="5">
                  <c:v>0.48518898663877719</c:v>
                </c:pt>
                <c:pt idx="6">
                  <c:v>0.49744639171880628</c:v>
                </c:pt>
                <c:pt idx="7">
                  <c:v>0.50913368493464806</c:v>
                </c:pt>
                <c:pt idx="8">
                  <c:v>0.5202897375497697</c:v>
                </c:pt>
                <c:pt idx="9">
                  <c:v>0.53094996560421925</c:v>
                </c:pt>
                <c:pt idx="10">
                  <c:v>0.5411467054823883</c:v>
                </c:pt>
                <c:pt idx="11">
                  <c:v>0.55090954153595462</c:v>
                </c:pt>
                <c:pt idx="12">
                  <c:v>0.5602655927539556</c:v>
                </c:pt>
                <c:pt idx="13">
                  <c:v>0.56923976433040546</c:v>
                </c:pt>
                <c:pt idx="14">
                  <c:v>0.5778549690437973</c:v>
                </c:pt>
                <c:pt idx="15">
                  <c:v>0.58613232259195813</c:v>
                </c:pt>
                <c:pt idx="16">
                  <c:v>0.59409131638826662</c:v>
                </c:pt>
                <c:pt idx="17">
                  <c:v>0.601749970796035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Malard Brut 1er Cru 750ml (4.1%)</c:v>
                </c:pt>
                <c:pt idx="4">
                  <c:v>Crémant de Bourgogne Patriarche Brut 750ml (1.8%)</c:v>
                </c:pt>
                <c:pt idx="5">
                  <c:v>Champagne Nicolas Feuillatte Réserve Exclusive Brut 750ml (3.0%)</c:v>
                </c:pt>
                <c:pt idx="6">
                  <c:v>Prosecco Bottega 750ml (2.6%)</c:v>
                </c:pt>
                <c:pt idx="7">
                  <c:v>Crémant Saumur Bouvet Cuvée Saphir Brut 750ml (1.5%)</c:v>
                </c:pt>
                <c:pt idx="8">
                  <c:v>Mousseux Lyre's Classico Sans Alcool 750ml (1.0%)</c:v>
                </c:pt>
                <c:pt idx="9">
                  <c:v>Champagne Ruinart Brut 750ml (7.3%)</c:v>
                </c:pt>
              </c:strCache>
            </c:strRef>
          </c:cat>
          <c:val>
            <c:numRef>
              <c:f>Sheet1!$B$2:$B$11</c:f>
              <c:numCache>
                <c:formatCode>General</c:formatCode>
                <c:ptCount val="10"/>
                <c:pt idx="0">
                  <c:v>0.31094710941686798</c:v>
                </c:pt>
                <c:pt idx="1">
                  <c:v>5.5135650535451039E-2</c:v>
                </c:pt>
                <c:pt idx="2">
                  <c:v>3.2993826748321665E-2</c:v>
                </c:pt>
                <c:pt idx="3">
                  <c:v>3.2985447869442734E-2</c:v>
                </c:pt>
                <c:pt idx="4">
                  <c:v>3.1337320210651463E-2</c:v>
                </c:pt>
                <c:pt idx="5">
                  <c:v>2.8589624967735244E-2</c:v>
                </c:pt>
                <c:pt idx="6">
                  <c:v>2.5729515040033821E-2</c:v>
                </c:pt>
                <c:pt idx="7">
                  <c:v>2.3744614571255252E-2</c:v>
                </c:pt>
                <c:pt idx="8">
                  <c:v>2.3691311796952341E-2</c:v>
                </c:pt>
                <c:pt idx="9">
                  <c:v>2.21029971164938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de Bourgogne Patriarche Brut 750ml (1.8%)</c:v>
                </c:pt>
                <c:pt idx="5">
                  <c:v>Champagne Nicolas Feuillatte Réserve Exclusive Brut 750ml (3.0%)</c:v>
                </c:pt>
                <c:pt idx="6">
                  <c:v>Champagne Ruinart Brut 750ml (7.3%)</c:v>
                </c:pt>
                <c:pt idx="7">
                  <c:v>Prosecco Bottega 750ml (2.6%)</c:v>
                </c:pt>
                <c:pt idx="8">
                  <c:v>Champagne E.Nicolas Rosé 750ml (0.9%)</c:v>
                </c:pt>
                <c:pt idx="9">
                  <c:v>Crémant Saumur Bouvet Cuvée Saphir Brut 750ml (1.5%)</c:v>
                </c:pt>
              </c:strCache>
            </c:strRef>
          </c:cat>
          <c:val>
            <c:numRef>
              <c:f>Sheet1!$B$2:$B$11</c:f>
              <c:numCache>
                <c:formatCode>General</c:formatCode>
                <c:ptCount val="10"/>
                <c:pt idx="0">
                  <c:v>0.33211241532331953</c:v>
                </c:pt>
                <c:pt idx="1">
                  <c:v>4.8664181404321237E-2</c:v>
                </c:pt>
                <c:pt idx="2">
                  <c:v>3.7681777179403894E-2</c:v>
                </c:pt>
                <c:pt idx="3">
                  <c:v>2.9446075467023405E-2</c:v>
                </c:pt>
                <c:pt idx="4">
                  <c:v>2.8912735579307462E-2</c:v>
                </c:pt>
                <c:pt idx="5">
                  <c:v>2.6667141489327906E-2</c:v>
                </c:pt>
                <c:pt idx="6">
                  <c:v>2.646327823923305E-2</c:v>
                </c:pt>
                <c:pt idx="7">
                  <c:v>2.6123043758717164E-2</c:v>
                </c:pt>
                <c:pt idx="8">
                  <c:v>2.1872168664136521E-2</c:v>
                </c:pt>
                <c:pt idx="9">
                  <c:v>2.149951044516508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248.6073793118023</c:v>
                </c:pt>
                <c:pt idx="1">
                  <c:v>236.04441657813129</c:v>
                </c:pt>
                <c:pt idx="2">
                  <c:v>224.42337543117787</c:v>
                </c:pt>
                <c:pt idx="3">
                  <c:v>213.65348803073587</c:v>
                </c:pt>
                <c:pt idx="4">
                  <c:v>198.97907946444016</c:v>
                </c:pt>
                <c:pt idx="5">
                  <c:v>185.49469659840281</c:v>
                </c:pt>
                <c:pt idx="6">
                  <c:v>173.52703933054192</c:v>
                </c:pt>
                <c:pt idx="7">
                  <c:v>162.85824425869001</c:v>
                </c:pt>
                <c:pt idx="8">
                  <c:v>153.3027271638548</c:v>
                </c:pt>
                <c:pt idx="9">
                  <c:v>144.7035414839828</c:v>
                </c:pt>
                <c:pt idx="10">
                  <c:v>136.92851917865164</c:v>
                </c:pt>
                <c:pt idx="11">
                  <c:v>129.86656986996667</c:v>
                </c:pt>
                <c:pt idx="12">
                  <c:v>123.42432927689906</c:v>
                </c:pt>
                <c:pt idx="13">
                  <c:v>117.52323095707575</c:v>
                </c:pt>
                <c:pt idx="14">
                  <c:v>112.49468936649407</c:v>
                </c:pt>
                <c:pt idx="15">
                  <c:v>107.95484706829532</c:v>
                </c:pt>
                <c:pt idx="16">
                  <c:v>103.80583610555848</c:v>
                </c:pt>
                <c:pt idx="17">
                  <c:v>100</c:v>
                </c:pt>
                <c:pt idx="18">
                  <c:v>96.49629519809703</c:v>
                </c:pt>
                <c:pt idx="19">
                  <c:v>93.259367703101418</c:v>
                </c:pt>
                <c:pt idx="20">
                  <c:v>90.258739675590434</c:v>
                </c:pt>
                <c:pt idx="21">
                  <c:v>87.468101770029321</c:v>
                </c:pt>
                <c:pt idx="22">
                  <c:v>84.864703093955356</c:v>
                </c:pt>
                <c:pt idx="23">
                  <c:v>82.42882881668605</c:v>
                </c:pt>
                <c:pt idx="24">
                  <c:v>77.042827005883368</c:v>
                </c:pt>
                <c:pt idx="25">
                  <c:v>71.887395197714582</c:v>
                </c:pt>
                <c:pt idx="26">
                  <c:v>67.252641027727449</c:v>
                </c:pt>
                <c:pt idx="27">
                  <c:v>63.071152676668106</c:v>
                </c:pt>
                <c:pt idx="28">
                  <c:v>59.285951813199546</c:v>
                </c:pt>
                <c:pt idx="29">
                  <c:v>55.8486739369597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91.72103427205053</c:v>
                </c:pt>
                <c:pt idx="1">
                  <c:v>185.19841788507441</c:v>
                </c:pt>
                <c:pt idx="2">
                  <c:v>179.09209559842998</c:v>
                </c:pt>
                <c:pt idx="3">
                  <c:v>173.36596051843719</c:v>
                </c:pt>
                <c:pt idx="4">
                  <c:v>164.13106274562594</c:v>
                </c:pt>
                <c:pt idx="5">
                  <c:v>155.50134210791356</c:v>
                </c:pt>
                <c:pt idx="6">
                  <c:v>147.80246925128355</c:v>
                </c:pt>
                <c:pt idx="7">
                  <c:v>140.90664682406106</c:v>
                </c:pt>
                <c:pt idx="8">
                  <c:v>134.70286075164847</c:v>
                </c:pt>
                <c:pt idx="9">
                  <c:v>129.09576147372002</c:v>
                </c:pt>
                <c:pt idx="10">
                  <c:v>124.00406591465394</c:v>
                </c:pt>
                <c:pt idx="11">
                  <c:v>119.35880199877387</c:v>
                </c:pt>
                <c:pt idx="12">
                  <c:v>115.10158631051526</c:v>
                </c:pt>
                <c:pt idx="13">
                  <c:v>111.18303601060934</c:v>
                </c:pt>
                <c:pt idx="14">
                  <c:v>107.94253601401837</c:v>
                </c:pt>
                <c:pt idx="15">
                  <c:v>105.04225712216635</c:v>
                </c:pt>
                <c:pt idx="16">
                  <c:v>102.40538320021817</c:v>
                </c:pt>
                <c:pt idx="17">
                  <c:v>100</c:v>
                </c:pt>
                <c:pt idx="18">
                  <c:v>97.798340931280165</c:v>
                </c:pt>
                <c:pt idx="19">
                  <c:v>95.776280766486082</c:v>
                </c:pt>
                <c:pt idx="20">
                  <c:v>93.912870016360557</c:v>
                </c:pt>
                <c:pt idx="21">
                  <c:v>92.189915656881126</c:v>
                </c:pt>
                <c:pt idx="22">
                  <c:v>90.591609346945646</c:v>
                </c:pt>
                <c:pt idx="23">
                  <c:v>89.104201435871261</c:v>
                </c:pt>
                <c:pt idx="24">
                  <c:v>84.323402027201439</c:v>
                </c:pt>
                <c:pt idx="25">
                  <c:v>79.65278223942434</c:v>
                </c:pt>
                <c:pt idx="26">
                  <c:v>75.426867372334812</c:v>
                </c:pt>
                <c:pt idx="27">
                  <c:v>71.590213097990755</c:v>
                </c:pt>
                <c:pt idx="28">
                  <c:v>68.095725692916659</c:v>
                </c:pt>
                <c:pt idx="29">
                  <c:v>64.9032493017629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123.87807285334785</c:v>
                </c:pt>
                <c:pt idx="1">
                  <c:v>124.5843532835964</c:v>
                </c:pt>
                <c:pt idx="2">
                  <c:v>125.07405065833707</c:v>
                </c:pt>
                <c:pt idx="3">
                  <c:v>125.3772954026787</c:v>
                </c:pt>
                <c:pt idx="4">
                  <c:v>122.63834387646799</c:v>
                </c:pt>
                <c:pt idx="5">
                  <c:v>119.80181475634819</c:v>
                </c:pt>
                <c:pt idx="6">
                  <c:v>117.1937108032529</c:v>
                </c:pt>
                <c:pt idx="7">
                  <c:v>114.79475244786484</c:v>
                </c:pt>
                <c:pt idx="8">
                  <c:v>112.58364680878377</c:v>
                </c:pt>
                <c:pt idx="9">
                  <c:v>110.53906912204185</c:v>
                </c:pt>
                <c:pt idx="10">
                  <c:v>108.64082669419668</c:v>
                </c:pt>
                <c:pt idx="11">
                  <c:v>106.87046974918799</c:v>
                </c:pt>
                <c:pt idx="12">
                  <c:v>105.21154469709629</c:v>
                </c:pt>
                <c:pt idx="13">
                  <c:v>103.64962726105477</c:v>
                </c:pt>
                <c:pt idx="14">
                  <c:v>102.53470065531909</c:v>
                </c:pt>
                <c:pt idx="15">
                  <c:v>101.58281852086245</c:v>
                </c:pt>
                <c:pt idx="16">
                  <c:v>100.74226939680153</c:v>
                </c:pt>
                <c:pt idx="17">
                  <c:v>100</c:v>
                </c:pt>
                <c:pt idx="18">
                  <c:v>99.344139294132887</c:v>
                </c:pt>
                <c:pt idx="19">
                  <c:v>98.763996438703913</c:v>
                </c:pt>
                <c:pt idx="20">
                  <c:v>98.250014937705416</c:v>
                </c:pt>
                <c:pt idx="21">
                  <c:v>97.793700973848331</c:v>
                </c:pt>
                <c:pt idx="22">
                  <c:v>97.387538461458675</c:v>
                </c:pt>
                <c:pt idx="23">
                  <c:v>97.024899246551158</c:v>
                </c:pt>
                <c:pt idx="24">
                  <c:v>92.958896291873728</c:v>
                </c:pt>
                <c:pt idx="25">
                  <c:v>88.859992421094219</c:v>
                </c:pt>
                <c:pt idx="26">
                  <c:v>85.115765479335053</c:v>
                </c:pt>
                <c:pt idx="27">
                  <c:v>81.685008204664115</c:v>
                </c:pt>
                <c:pt idx="28">
                  <c:v>78.532375963756508</c:v>
                </c:pt>
                <c:pt idx="29">
                  <c:v>75.6274622541224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9725318635424103</c:v>
                </c:pt>
                <c:pt idx="1">
                  <c:v>0.30941143572527502</c:v>
                </c:pt>
                <c:pt idx="2">
                  <c:v>0.32115613919933494</c:v>
                </c:pt>
                <c:pt idx="3">
                  <c:v>0.33250804322610178</c:v>
                </c:pt>
                <c:pt idx="4">
                  <c:v>0.34348652935725149</c:v>
                </c:pt>
                <c:pt idx="5">
                  <c:v>0.35410972467509544</c:v>
                </c:pt>
                <c:pt idx="6">
                  <c:v>0.36439460167071469</c:v>
                </c:pt>
                <c:pt idx="7">
                  <c:v>0.37435706872916757</c:v>
                </c:pt>
                <c:pt idx="8">
                  <c:v>0.38401205223643359</c:v>
                </c:pt>
                <c:pt idx="9">
                  <c:v>0.39337357119940569</c:v>
                </c:pt>
                <c:pt idx="10">
                  <c:v>0.40245480516348642</c:v>
                </c:pt>
                <c:pt idx="11">
                  <c:v>0.41126815611977713</c:v>
                </c:pt>
                <c:pt idx="12">
                  <c:v>0.41982530501338505</c:v>
                </c:pt>
                <c:pt idx="13">
                  <c:v>0.4281372633942821</c:v>
                </c:pt>
                <c:pt idx="14">
                  <c:v>0.4362144206909731</c:v>
                </c:pt>
                <c:pt idx="15">
                  <c:v>0.44406658753371725</c:v>
                </c:pt>
                <c:pt idx="16">
                  <c:v>0.45170303550715513</c:v>
                </c:pt>
                <c:pt idx="17">
                  <c:v>0.45913253367101475</c:v>
                </c:pt>
                <c:pt idx="18">
                  <c:v>0.46636338215134887</c:v>
                </c:pt>
                <c:pt idx="19">
                  <c:v>0.473403443072835</c:v>
                </c:pt>
                <c:pt idx="20">
                  <c:v>0.48026016907449082</c:v>
                </c:pt>
                <c:pt idx="21">
                  <c:v>0.48694062962623258</c:v>
                </c:pt>
                <c:pt idx="22">
                  <c:v>0.49345153534163566</c:v>
                </c:pt>
                <c:pt idx="23">
                  <c:v>0.49979926046266776</c:v>
                </c:pt>
                <c:pt idx="24">
                  <c:v>0.50598986367476351</c:v>
                </c:pt>
                <c:pt idx="25">
                  <c:v>0.51202910739512097</c:v>
                </c:pt>
                <c:pt idx="26">
                  <c:v>0.51792247566329574</c:v>
                </c:pt>
                <c:pt idx="27">
                  <c:v>0.52367519075084601</c:v>
                </c:pt>
                <c:pt idx="28">
                  <c:v>0.5292922285957653</c:v>
                </c:pt>
                <c:pt idx="29">
                  <c:v>0.53477833315758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0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Château de Bligny 750ml (1.3%)</c:v>
                </c:pt>
                <c:pt idx="7">
                  <c:v>Champagne Besserat de Bellefon Bleu Brut 750ml (1.7%)</c:v>
                </c:pt>
                <c:pt idx="8">
                  <c:v>Champagne Laurent-Perrier Blanc La Cuvée 750ml (2.7%)</c:v>
                </c:pt>
                <c:pt idx="9">
                  <c:v>Champagne Vranken Demoiselle Tête de Cuvée 750ml (1.4%)</c:v>
                </c:pt>
              </c:strCache>
            </c:strRef>
          </c:cat>
          <c:val>
            <c:numRef>
              <c:f>Sheet1!$B$2:$B$11</c:f>
              <c:numCache>
                <c:formatCode>General</c:formatCode>
                <c:ptCount val="10"/>
                <c:pt idx="0">
                  <c:v>0.20998536362120832</c:v>
                </c:pt>
                <c:pt idx="1">
                  <c:v>0.10025705118501907</c:v>
                </c:pt>
                <c:pt idx="2">
                  <c:v>7.1840263772938118E-2</c:v>
                </c:pt>
                <c:pt idx="3">
                  <c:v>6.5115242898605541E-2</c:v>
                </c:pt>
                <c:pt idx="4">
                  <c:v>3.7238453564647334E-2</c:v>
                </c:pt>
                <c:pt idx="5">
                  <c:v>2.6607203290998721E-2</c:v>
                </c:pt>
                <c:pt idx="6">
                  <c:v>2.3433467274263896E-2</c:v>
                </c:pt>
                <c:pt idx="7">
                  <c:v>2.3420697957339386E-2</c:v>
                </c:pt>
                <c:pt idx="8">
                  <c:v>2.1904819429677185E-2</c:v>
                </c:pt>
                <c:pt idx="9">
                  <c:v>1.982196008122691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Laurent-Perrier Blanc La Cuvée 750ml (2.7%)</c:v>
                </c:pt>
                <c:pt idx="5">
                  <c:v>Champagne Canard-Duchêne Blanc Cuvée Léonie Brut 750ml (2.6%)</c:v>
                </c:pt>
                <c:pt idx="6">
                  <c:v>Champagne Besserat de Bellefon Bleu Brut 750ml (1.7%)</c:v>
                </c:pt>
                <c:pt idx="7">
                  <c:v>Champagne Château de Bligny 750ml (1.3%)</c:v>
                </c:pt>
                <c:pt idx="8">
                  <c:v>Champagne Vranken Demoiselle Tête de Cuvée 750ml (1.4%)</c:v>
                </c:pt>
                <c:pt idx="9">
                  <c:v>Champagne Georges Vesselle Grand Cru Brut 750ml (1.0%)</c:v>
                </c:pt>
              </c:strCache>
            </c:strRef>
          </c:cat>
          <c:val>
            <c:numRef>
              <c:f>Sheet1!$B$2:$B$11</c:f>
              <c:numCache>
                <c:formatCode>General</c:formatCode>
                <c:ptCount val="10"/>
                <c:pt idx="0">
                  <c:v>0.16926795822527321</c:v>
                </c:pt>
                <c:pt idx="1">
                  <c:v>7.045695094447306E-2</c:v>
                </c:pt>
                <c:pt idx="2">
                  <c:v>6.935567643913064E-2</c:v>
                </c:pt>
                <c:pt idx="3">
                  <c:v>6.9014111773558443E-2</c:v>
                </c:pt>
                <c:pt idx="4">
                  <c:v>4.2213169573688834E-2</c:v>
                </c:pt>
                <c:pt idx="5">
                  <c:v>3.7819770263310529E-2</c:v>
                </c:pt>
                <c:pt idx="6">
                  <c:v>2.7306982243076258E-2</c:v>
                </c:pt>
                <c:pt idx="7">
                  <c:v>2.6604997079073798E-2</c:v>
                </c:pt>
                <c:pt idx="8">
                  <c:v>2.4190529311771791E-2</c:v>
                </c:pt>
                <c:pt idx="9">
                  <c:v>2.182509630196821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Demoiselle (3.5%)</c:v>
                </c:pt>
                <c:pt idx="5">
                  <c:v>Malard (6.0%)</c:v>
                </c:pt>
                <c:pt idx="6">
                  <c:v>Laurent Perrier (3.9%)</c:v>
                </c:pt>
                <c:pt idx="7">
                  <c:v>Veuve Clicquot (1.7%)</c:v>
                </c:pt>
                <c:pt idx="8">
                  <c:v>Nicolas Feuillatte (4.5%)</c:v>
                </c:pt>
                <c:pt idx="9">
                  <c:v>Ayala (1.7%)</c:v>
                </c:pt>
              </c:strCache>
            </c:strRef>
          </c:cat>
          <c:val>
            <c:numRef>
              <c:f>Sheet1!$B$2:$B$11</c:f>
              <c:numCache>
                <c:formatCode>General</c:formatCode>
                <c:ptCount val="10"/>
                <c:pt idx="0">
                  <c:v>0.2241992805509303</c:v>
                </c:pt>
                <c:pt idx="1">
                  <c:v>0.1227997174915386</c:v>
                </c:pt>
                <c:pt idx="2">
                  <c:v>6.2304077666296039E-2</c:v>
                </c:pt>
                <c:pt idx="3">
                  <c:v>5.6290197133953578E-2</c:v>
                </c:pt>
                <c:pt idx="4">
                  <c:v>5.0584241004286899E-2</c:v>
                </c:pt>
                <c:pt idx="5">
                  <c:v>4.9501469435901668E-2</c:v>
                </c:pt>
                <c:pt idx="6">
                  <c:v>4.2158035099051853E-2</c:v>
                </c:pt>
                <c:pt idx="7">
                  <c:v>3.5320449669764213E-2</c:v>
                </c:pt>
                <c:pt idx="8">
                  <c:v>3.4660990055971411E-2</c:v>
                </c:pt>
                <c:pt idx="9">
                  <c:v>3.379555636165642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B$2:$B$21</c:f>
              <c:numCache>
                <c:formatCode>General</c:formatCode>
                <c:ptCount val="20"/>
                <c:pt idx="0">
                  <c:v>138.52942796050053</c:v>
                </c:pt>
                <c:pt idx="1">
                  <c:v>133.57465627689504</c:v>
                </c:pt>
                <c:pt idx="2">
                  <c:v>128.96160053624411</c:v>
                </c:pt>
                <c:pt idx="3">
                  <c:v>124.75532601017427</c:v>
                </c:pt>
                <c:pt idx="4">
                  <c:v>120.7362379917225</c:v>
                </c:pt>
                <c:pt idx="5">
                  <c:v>116.89361997176375</c:v>
                </c:pt>
                <c:pt idx="6">
                  <c:v>113.21747321020401</c:v>
                </c:pt>
                <c:pt idx="7">
                  <c:v>109.69846608078515</c:v>
                </c:pt>
                <c:pt idx="8">
                  <c:v>106.32788669481211</c:v>
                </c:pt>
                <c:pt idx="9">
                  <c:v>103.09759868330693</c:v>
                </c:pt>
                <c:pt idx="10">
                  <c:v>100</c:v>
                </c:pt>
                <c:pt idx="11">
                  <c:v>97.027984596517015</c:v>
                </c:pt>
                <c:pt idx="12">
                  <c:v>93.746612794530108</c:v>
                </c:pt>
                <c:pt idx="13">
                  <c:v>87.056969958046423</c:v>
                </c:pt>
                <c:pt idx="14">
                  <c:v>81.023852920411983</c:v>
                </c:pt>
                <c:pt idx="15">
                  <c:v>75.568964072981515</c:v>
                </c:pt>
                <c:pt idx="16">
                  <c:v>70.624251133002019</c:v>
                </c:pt>
                <c:pt idx="17">
                  <c:v>66.130558038422876</c:v>
                </c:pt>
                <c:pt idx="18">
                  <c:v>62.036438358118353</c:v>
                </c:pt>
                <c:pt idx="19">
                  <c:v>58.297116127854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C$2:$C$21</c:f>
              <c:numCache>
                <c:formatCode>General</c:formatCode>
                <c:ptCount val="20"/>
                <c:pt idx="0">
                  <c:v>109.68201628189125</c:v>
                </c:pt>
                <c:pt idx="1">
                  <c:v>108.54035159723428</c:v>
                </c:pt>
                <c:pt idx="2">
                  <c:v>107.47715242600968</c:v>
                </c:pt>
                <c:pt idx="3">
                  <c:v>106.56941459406195</c:v>
                </c:pt>
                <c:pt idx="4">
                  <c:v>105.6503467810689</c:v>
                </c:pt>
                <c:pt idx="5">
                  <c:v>104.72203749353228</c:v>
                </c:pt>
                <c:pt idx="6">
                  <c:v>103.78634087586438</c:v>
                </c:pt>
                <c:pt idx="7">
                  <c:v>102.84490394483842</c:v>
                </c:pt>
                <c:pt idx="8">
                  <c:v>101.8991906348234</c:v>
                </c:pt>
                <c:pt idx="9">
                  <c:v>100.95050301470559</c:v>
                </c:pt>
                <c:pt idx="10">
                  <c:v>100</c:v>
                </c:pt>
                <c:pt idx="11">
                  <c:v>99.048713849275146</c:v>
                </c:pt>
                <c:pt idx="12">
                  <c:v>97.651729544777538</c:v>
                </c:pt>
                <c:pt idx="13">
                  <c:v>92.499262423679582</c:v>
                </c:pt>
                <c:pt idx="14">
                  <c:v>87.778906594187518</c:v>
                </c:pt>
                <c:pt idx="15">
                  <c:v>83.44530832507273</c:v>
                </c:pt>
                <c:pt idx="16">
                  <c:v>79.458103372103537</c:v>
                </c:pt>
                <c:pt idx="17">
                  <c:v>75.781440340969922</c:v>
                </c:pt>
                <c:pt idx="18">
                  <c:v>72.383524708834514</c:v>
                </c:pt>
                <c:pt idx="19">
                  <c:v>69.2361893187837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D$2:$D$21</c:f>
              <c:numCache>
                <c:formatCode>General</c:formatCode>
                <c:ptCount val="20"/>
                <c:pt idx="0">
                  <c:v>85.77801598504638</c:v>
                </c:pt>
                <c:pt idx="1">
                  <c:v>87.796465723215917</c:v>
                </c:pt>
                <c:pt idx="2">
                  <c:v>89.675181071111481</c:v>
                </c:pt>
                <c:pt idx="3">
                  <c:v>91.500920886521527</c:v>
                </c:pt>
                <c:pt idx="4">
                  <c:v>93.150733058501274</c:v>
                </c:pt>
                <c:pt idx="5">
                  <c:v>94.637325424041691</c:v>
                </c:pt>
                <c:pt idx="6">
                  <c:v>95.972381939533719</c:v>
                </c:pt>
                <c:pt idx="7">
                  <c:v>97.166654474042204</c:v>
                </c:pt>
                <c:pt idx="8">
                  <c:v>98.230046058212139</c:v>
                </c:pt>
                <c:pt idx="9">
                  <c:v>99.171686346923181</c:v>
                </c:pt>
                <c:pt idx="10">
                  <c:v>100</c:v>
                </c:pt>
                <c:pt idx="11">
                  <c:v>100.72276863190497</c:v>
                </c:pt>
                <c:pt idx="12">
                  <c:v>100.8862744038131</c:v>
                </c:pt>
                <c:pt idx="13">
                  <c:v>97.002246182462315</c:v>
                </c:pt>
                <c:pt idx="14">
                  <c:v>93.365267183558856</c:v>
                </c:pt>
                <c:pt idx="15">
                  <c:v>89.957132764145072</c:v>
                </c:pt>
                <c:pt idx="16">
                  <c:v>86.760298275435304</c:v>
                </c:pt>
                <c:pt idx="17">
                  <c:v>83.758121032275284</c:v>
                </c:pt>
                <c:pt idx="18">
                  <c:v>80.93500606606888</c:v>
                </c:pt>
                <c:pt idx="19">
                  <c:v>78.2764787196528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E$2:$E$21</c:f>
              <c:numCache>
                <c:formatCode>General</c:formatCode>
                <c:ptCount val="20"/>
                <c:pt idx="0">
                  <c:v>0.42791578947368408</c:v>
                </c:pt>
                <c:pt idx="1">
                  <c:v>0.4425846153846153</c:v>
                </c:pt>
                <c:pt idx="2">
                  <c:v>0.45651999999999993</c:v>
                </c:pt>
                <c:pt idx="3">
                  <c:v>0.4697756097560975</c:v>
                </c:pt>
                <c:pt idx="4">
                  <c:v>0.48239999999999988</c:v>
                </c:pt>
                <c:pt idx="5">
                  <c:v>0.49443720930232554</c:v>
                </c:pt>
                <c:pt idx="6">
                  <c:v>0.50592727272727267</c:v>
                </c:pt>
                <c:pt idx="7">
                  <c:v>0.51690666666666651</c:v>
                </c:pt>
                <c:pt idx="8">
                  <c:v>0.52740869565217385</c:v>
                </c:pt>
                <c:pt idx="9">
                  <c:v>0.53746382978723395</c:v>
                </c:pt>
                <c:pt idx="10">
                  <c:v>0.54710000000000003</c:v>
                </c:pt>
                <c:pt idx="11">
                  <c:v>0.55634285714285714</c:v>
                </c:pt>
                <c:pt idx="12">
                  <c:v>0.56521599999999983</c:v>
                </c:pt>
                <c:pt idx="13">
                  <c:v>0.5737411764705882</c:v>
                </c:pt>
                <c:pt idx="14">
                  <c:v>0.5819384615384614</c:v>
                </c:pt>
                <c:pt idx="15">
                  <c:v>0.58982641509433964</c:v>
                </c:pt>
                <c:pt idx="16">
                  <c:v>0.59742222222222219</c:v>
                </c:pt>
                <c:pt idx="17">
                  <c:v>0.60474181818181805</c:v>
                </c:pt>
                <c:pt idx="18">
                  <c:v>0.6117999999999999</c:v>
                </c:pt>
                <c:pt idx="19">
                  <c:v>0.618610526315789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Crémant Saumur Bouvet Cuvée Saphir Brut 750ml (1.5%)</c:v>
                </c:pt>
                <c:pt idx="5">
                  <c:v>Mousseux Château Moncontour Brut Vouvray 750ml (1.5%)</c:v>
                </c:pt>
                <c:pt idx="6">
                  <c:v>Prosecco Bottega 750ml (2.6%)</c:v>
                </c:pt>
                <c:pt idx="7">
                  <c:v>Crémant d'Alsace Muré Prestige Bio 750ml (1.3%)</c:v>
                </c:pt>
                <c:pt idx="8">
                  <c:v>Mousseux Lyre's Classico Sans Alcool 750ml (1.0%)</c:v>
                </c:pt>
                <c:pt idx="9">
                  <c:v>Crémant de Bourgogne Patriarche Rosé Brut 750ml (0.8%)</c:v>
                </c:pt>
              </c:strCache>
            </c:strRef>
          </c:cat>
          <c:val>
            <c:numRef>
              <c:f>Sheet1!$B$2:$B$11</c:f>
              <c:numCache>
                <c:formatCode>General</c:formatCode>
                <c:ptCount val="10"/>
                <c:pt idx="0">
                  <c:v>0.18189376308735034</c:v>
                </c:pt>
                <c:pt idx="1">
                  <c:v>6.6364733739409681E-2</c:v>
                </c:pt>
                <c:pt idx="2">
                  <c:v>4.2529673066980689E-2</c:v>
                </c:pt>
                <c:pt idx="3">
                  <c:v>4.1002605306936044E-2</c:v>
                </c:pt>
                <c:pt idx="4">
                  <c:v>3.9159767234928096E-2</c:v>
                </c:pt>
                <c:pt idx="5">
                  <c:v>3.479391424669552E-2</c:v>
                </c:pt>
                <c:pt idx="6">
                  <c:v>3.3174224888669404E-2</c:v>
                </c:pt>
                <c:pt idx="7">
                  <c:v>2.7598027896484807E-2</c:v>
                </c:pt>
                <c:pt idx="8">
                  <c:v>2.6487304484489823E-2</c:v>
                </c:pt>
                <c:pt idx="9">
                  <c:v>2.601453656172955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Prosecco Bottega 750ml (2.6%)</c:v>
                </c:pt>
                <c:pt idx="5">
                  <c:v>Crémant Saumur Bouvet Cuvée Saphir Brut 750ml (1.5%)</c:v>
                </c:pt>
                <c:pt idx="6">
                  <c:v>Mousseux Château Moncontour Brut Vouvray 750ml (1.5%)</c:v>
                </c:pt>
                <c:pt idx="7">
                  <c:v>Crémant d'Alsace Muré Prestige Bio 750ml (1.3%)</c:v>
                </c:pt>
                <c:pt idx="8">
                  <c:v>Crémant de Bourgogne Patriarche Rosé Brut 750ml (0.8%)</c:v>
                </c:pt>
                <c:pt idx="9">
                  <c:v>Champagne Malard Brut 1er Cru 750ml (4.1%)</c:v>
                </c:pt>
              </c:strCache>
            </c:strRef>
          </c:cat>
          <c:val>
            <c:numRef>
              <c:f>Sheet1!$B$2:$B$11</c:f>
              <c:numCache>
                <c:formatCode>General</c:formatCode>
                <c:ptCount val="10"/>
                <c:pt idx="0">
                  <c:v>0.22238600870305542</c:v>
                </c:pt>
                <c:pt idx="1">
                  <c:v>6.4335479958238809E-2</c:v>
                </c:pt>
                <c:pt idx="2">
                  <c:v>3.8960777663557565E-2</c:v>
                </c:pt>
                <c:pt idx="3">
                  <c:v>3.8209881577512782E-2</c:v>
                </c:pt>
                <c:pt idx="4">
                  <c:v>3.7069493024263038E-2</c:v>
                </c:pt>
                <c:pt idx="5">
                  <c:v>3.3988765888141911E-2</c:v>
                </c:pt>
                <c:pt idx="6">
                  <c:v>3.2311341767856119E-2</c:v>
                </c:pt>
                <c:pt idx="7">
                  <c:v>2.6766943225776108E-2</c:v>
                </c:pt>
                <c:pt idx="8">
                  <c:v>2.3557044761425044E-2</c:v>
                </c:pt>
                <c:pt idx="9">
                  <c:v>2.15547129847704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161.04618801675417</c:v>
                </c:pt>
                <c:pt idx="1">
                  <c:v>153.62061207012005</c:v>
                </c:pt>
                <c:pt idx="2">
                  <c:v>146.75599800527735</c:v>
                </c:pt>
                <c:pt idx="3">
                  <c:v>140.39087298655801</c:v>
                </c:pt>
                <c:pt idx="4">
                  <c:v>134.4724924333679</c:v>
                </c:pt>
                <c:pt idx="5">
                  <c:v>128.95543288096744</c:v>
                </c:pt>
                <c:pt idx="6">
                  <c:v>123.92175499505049</c:v>
                </c:pt>
                <c:pt idx="7">
                  <c:v>120.26676095210414</c:v>
                </c:pt>
                <c:pt idx="8">
                  <c:v>116.83878506273086</c:v>
                </c:pt>
                <c:pt idx="9">
                  <c:v>113.61665580576667</c:v>
                </c:pt>
                <c:pt idx="10">
                  <c:v>110.58148968481987</c:v>
                </c:pt>
                <c:pt idx="11">
                  <c:v>107.71645135578626</c:v>
                </c:pt>
                <c:pt idx="12">
                  <c:v>105.00653421227032</c:v>
                </c:pt>
                <c:pt idx="13">
                  <c:v>102.43836048859825</c:v>
                </c:pt>
                <c:pt idx="14">
                  <c:v>100</c:v>
                </c:pt>
                <c:pt idx="15">
                  <c:v>97.680806588629451</c:v>
                </c:pt>
                <c:pt idx="16">
                  <c:v>95.120738022618539</c:v>
                </c:pt>
                <c:pt idx="17">
                  <c:v>89.728338410648192</c:v>
                </c:pt>
                <c:pt idx="18">
                  <c:v>84.798395942768778</c:v>
                </c:pt>
                <c:pt idx="19">
                  <c:v>80.281267734857607</c:v>
                </c:pt>
                <c:pt idx="20">
                  <c:v>76.133675629303809</c:v>
                </c:pt>
                <c:pt idx="21">
                  <c:v>72.317791164963836</c:v>
                </c:pt>
                <c:pt idx="22">
                  <c:v>68.800455378270073</c:v>
                </c:pt>
                <c:pt idx="23">
                  <c:v>65.552515033771925</c:v>
                </c:pt>
                <c:pt idx="24">
                  <c:v>62.548258895016907</c:v>
                </c:pt>
                <c:pt idx="25">
                  <c:v>59.764939579477016</c:v>
                </c:pt>
                <c:pt idx="26">
                  <c:v>57.279166669895552</c:v>
                </c:pt>
                <c:pt idx="27">
                  <c:v>55.785678991200271</c:v>
                </c:pt>
                <c:pt idx="28">
                  <c:v>54.355281907271937</c:v>
                </c:pt>
                <c:pt idx="29">
                  <c:v>52.984645706722411</c:v>
                </c:pt>
                <c:pt idx="30">
                  <c:v>51.670641961202833</c:v>
                </c:pt>
                <c:pt idx="31">
                  <c:v>50.410329472430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32.32504202056253</c:v>
                </c:pt>
                <c:pt idx="1">
                  <c:v>128.17935062309883</c:v>
                </c:pt>
                <c:pt idx="2">
                  <c:v>124.32032587631976</c:v>
                </c:pt>
                <c:pt idx="3">
                  <c:v>120.71644330863423</c:v>
                </c:pt>
                <c:pt idx="4">
                  <c:v>117.3406800551237</c:v>
                </c:pt>
                <c:pt idx="5">
                  <c:v>114.1698211752641</c:v>
                </c:pt>
                <c:pt idx="6">
                  <c:v>111.29264588311891</c:v>
                </c:pt>
                <c:pt idx="7">
                  <c:v>109.54151616272763</c:v>
                </c:pt>
                <c:pt idx="8">
                  <c:v>107.90720320057672</c:v>
                </c:pt>
                <c:pt idx="9">
                  <c:v>106.3785150327052</c:v>
                </c:pt>
                <c:pt idx="10">
                  <c:v>104.94536054470633</c:v>
                </c:pt>
                <c:pt idx="11">
                  <c:v>103.59866292216591</c:v>
                </c:pt>
                <c:pt idx="12">
                  <c:v>102.33027500211513</c:v>
                </c:pt>
                <c:pt idx="13">
                  <c:v>101.13289736752674</c:v>
                </c:pt>
                <c:pt idx="14">
                  <c:v>100</c:v>
                </c:pt>
                <c:pt idx="15">
                  <c:v>98.925748172162855</c:v>
                </c:pt>
                <c:pt idx="16">
                  <c:v>97.546117000148712</c:v>
                </c:pt>
                <c:pt idx="17">
                  <c:v>93.166162090460801</c:v>
                </c:pt>
                <c:pt idx="18">
                  <c:v>89.134189471942079</c:v>
                </c:pt>
                <c:pt idx="19">
                  <c:v>85.415134246842015</c:v>
                </c:pt>
                <c:pt idx="20">
                  <c:v>81.978246353552109</c:v>
                </c:pt>
                <c:pt idx="21">
                  <c:v>78.796499910584643</c:v>
                </c:pt>
                <c:pt idx="22">
                  <c:v>75.846081230631015</c:v>
                </c:pt>
                <c:pt idx="23">
                  <c:v>73.105946964837528</c:v>
                </c:pt>
                <c:pt idx="24">
                  <c:v>70.557444255841091</c:v>
                </c:pt>
                <c:pt idx="25">
                  <c:v>68.183985326671632</c:v>
                </c:pt>
                <c:pt idx="26">
                  <c:v>66.082267202752149</c:v>
                </c:pt>
                <c:pt idx="27">
                  <c:v>65.072807610300259</c:v>
                </c:pt>
                <c:pt idx="28">
                  <c:v>64.099595932718884</c:v>
                </c:pt>
                <c:pt idx="29">
                  <c:v>63.16107665851198</c:v>
                </c:pt>
                <c:pt idx="30">
                  <c:v>62.255767265827814</c:v>
                </c:pt>
                <c:pt idx="31">
                  <c:v>61.3822538923544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03.39084882659829</c:v>
                </c:pt>
                <c:pt idx="1">
                  <c:v>102.55201941557542</c:v>
                </c:pt>
                <c:pt idx="2">
                  <c:v>101.72224386102877</c:v>
                </c:pt>
                <c:pt idx="3">
                  <c:v>100.90037538897261</c:v>
                </c:pt>
                <c:pt idx="4">
                  <c:v>100.08547562928669</c:v>
                </c:pt>
                <c:pt idx="5">
                  <c:v>99.276847309368804</c:v>
                </c:pt>
                <c:pt idx="6">
                  <c:v>98.570551076419818</c:v>
                </c:pt>
                <c:pt idx="7">
                  <c:v>98.738710579146556</c:v>
                </c:pt>
                <c:pt idx="8">
                  <c:v>98.912127234277008</c:v>
                </c:pt>
                <c:pt idx="9">
                  <c:v>99.089752266917131</c:v>
                </c:pt>
                <c:pt idx="10">
                  <c:v>99.27042531707508</c:v>
                </c:pt>
                <c:pt idx="11">
                  <c:v>99.45294551346808</c:v>
                </c:pt>
                <c:pt idx="12">
                  <c:v>99.636125155139382</c:v>
                </c:pt>
                <c:pt idx="13">
                  <c:v>99.818828746632917</c:v>
                </c:pt>
                <c:pt idx="14">
                  <c:v>100</c:v>
                </c:pt>
                <c:pt idx="15">
                  <c:v>100.17867918459082</c:v>
                </c:pt>
                <c:pt idx="16">
                  <c:v>99.985552168041096</c:v>
                </c:pt>
                <c:pt idx="17">
                  <c:v>96.611879776384654</c:v>
                </c:pt>
                <c:pt idx="18">
                  <c:v>93.472181379408937</c:v>
                </c:pt>
                <c:pt idx="19">
                  <c:v>90.545944371305708</c:v>
                </c:pt>
                <c:pt idx="20">
                  <c:v>87.814919588629991</c:v>
                </c:pt>
                <c:pt idx="21">
                  <c:v>85.262856274685959</c:v>
                </c:pt>
                <c:pt idx="22">
                  <c:v>82.875259064344746</c:v>
                </c:pt>
                <c:pt idx="23">
                  <c:v>80.639168487598141</c:v>
                </c:pt>
                <c:pt idx="24">
                  <c:v>78.542965252934138</c:v>
                </c:pt>
                <c:pt idx="25">
                  <c:v>76.576197695303065</c:v>
                </c:pt>
                <c:pt idx="26">
                  <c:v>74.855933169802142</c:v>
                </c:pt>
                <c:pt idx="27">
                  <c:v>74.330691134872865</c:v>
                </c:pt>
                <c:pt idx="28">
                  <c:v>73.814744150577454</c:v>
                </c:pt>
                <c:pt idx="29">
                  <c:v>73.308325322962446</c:v>
                </c:pt>
                <c:pt idx="30">
                  <c:v>72.811610809123479</c:v>
                </c:pt>
                <c:pt idx="31">
                  <c:v>72.3247253909514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39227500000000004</c:v>
                </c:pt>
                <c:pt idx="1">
                  <c:v>0.40162461538461541</c:v>
                </c:pt>
                <c:pt idx="2">
                  <c:v>0.41069090909090916</c:v>
                </c:pt>
                <c:pt idx="3">
                  <c:v>0.4194865671641792</c:v>
                </c:pt>
                <c:pt idx="4">
                  <c:v>0.4280235294117648</c:v>
                </c:pt>
                <c:pt idx="5">
                  <c:v>0.436313043478261</c:v>
                </c:pt>
                <c:pt idx="6">
                  <c:v>0.44436571428571436</c:v>
                </c:pt>
                <c:pt idx="7">
                  <c:v>0.45219154929577471</c:v>
                </c:pt>
                <c:pt idx="8">
                  <c:v>0.45980000000000004</c:v>
                </c:pt>
                <c:pt idx="9">
                  <c:v>0.46719999999999995</c:v>
                </c:pt>
                <c:pt idx="10">
                  <c:v>0.4744000000000001</c:v>
                </c:pt>
                <c:pt idx="11">
                  <c:v>0.481408</c:v>
                </c:pt>
                <c:pt idx="12">
                  <c:v>0.48823157894736852</c:v>
                </c:pt>
                <c:pt idx="13">
                  <c:v>0.49487792207792214</c:v>
                </c:pt>
                <c:pt idx="14">
                  <c:v>0.50135384615384615</c:v>
                </c:pt>
                <c:pt idx="15">
                  <c:v>0.50766582278481009</c:v>
                </c:pt>
                <c:pt idx="16">
                  <c:v>0.51382000000000005</c:v>
                </c:pt>
                <c:pt idx="17">
                  <c:v>0.5198222222222223</c:v>
                </c:pt>
                <c:pt idx="18">
                  <c:v>0.52567804878048785</c:v>
                </c:pt>
                <c:pt idx="19">
                  <c:v>0.53139277108433736</c:v>
                </c:pt>
                <c:pt idx="20">
                  <c:v>0.53697142857142866</c:v>
                </c:pt>
                <c:pt idx="21">
                  <c:v>0.54241882352941195</c:v>
                </c:pt>
                <c:pt idx="22">
                  <c:v>0.54773953488372096</c:v>
                </c:pt>
                <c:pt idx="23">
                  <c:v>0.55293793103448285</c:v>
                </c:pt>
                <c:pt idx="24">
                  <c:v>0.55801818181818186</c:v>
                </c:pt>
                <c:pt idx="25">
                  <c:v>0.56298426966292137</c:v>
                </c:pt>
                <c:pt idx="26">
                  <c:v>0.56784000000000001</c:v>
                </c:pt>
                <c:pt idx="27">
                  <c:v>0.57258901098901094</c:v>
                </c:pt>
                <c:pt idx="28">
                  <c:v>0.57723478260869576</c:v>
                </c:pt>
                <c:pt idx="29">
                  <c:v>0.58178064516129036</c:v>
                </c:pt>
                <c:pt idx="30">
                  <c:v>0.58622978723404262</c:v>
                </c:pt>
                <c:pt idx="31">
                  <c:v>0.59058526315789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Champagne Nicolas Feuillatte Réserve Exclusive Brut 750ml (3.0%)</c:v>
                </c:pt>
                <c:pt idx="4">
                  <c:v>Champagne Vranken Demoiselle Tête de Cuvée 750ml (1.4%)</c:v>
                </c:pt>
                <c:pt idx="5">
                  <c:v>Champagne Laurent-Perrier Blanc La Cuvée 750ml (2.7%)</c:v>
                </c:pt>
                <c:pt idx="6">
                  <c:v>Champagne Vranken Demoiselle Rosé Prestige 750ml (2.0%)</c:v>
                </c:pt>
                <c:pt idx="7">
                  <c:v>Champagne Canard-Duchêne Blanc Cuvée Léonie Brut 750ml (2.6%)</c:v>
                </c:pt>
                <c:pt idx="8">
                  <c:v>Champagne Besserat de Bellefon Bleu Brut 750ml (1.7%)</c:v>
                </c:pt>
                <c:pt idx="9">
                  <c:v>Prosecco Carlo V Cuvée Del Imperator 750ml (5.4%)</c:v>
                </c:pt>
              </c:strCache>
            </c:strRef>
          </c:cat>
          <c:val>
            <c:numRef>
              <c:f>Sheet1!$B$2:$B$11</c:f>
              <c:numCache>
                <c:formatCode>General</c:formatCode>
                <c:ptCount val="10"/>
                <c:pt idx="0">
                  <c:v>0.11787179525118559</c:v>
                </c:pt>
                <c:pt idx="1">
                  <c:v>8.3530264209929247E-2</c:v>
                </c:pt>
                <c:pt idx="2">
                  <c:v>6.1003475448587439E-2</c:v>
                </c:pt>
                <c:pt idx="3">
                  <c:v>3.9050518795730974E-2</c:v>
                </c:pt>
                <c:pt idx="4">
                  <c:v>3.3291873223992685E-2</c:v>
                </c:pt>
                <c:pt idx="5">
                  <c:v>3.2400327140554151E-2</c:v>
                </c:pt>
                <c:pt idx="6">
                  <c:v>3.2094009742051982E-2</c:v>
                </c:pt>
                <c:pt idx="7">
                  <c:v>3.0174344470784296E-2</c:v>
                </c:pt>
                <c:pt idx="8">
                  <c:v>2.8280317513864252E-2</c:v>
                </c:pt>
                <c:pt idx="9">
                  <c:v>2.697023915411490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Laurent-Perrier Blanc La Cuvée 750ml (2.7%)</c:v>
                </c:pt>
                <c:pt idx="3">
                  <c:v>Champagne Vranken Demoiselle Rosé Prestige 750ml (2.0%)</c:v>
                </c:pt>
                <c:pt idx="4">
                  <c:v>Champagne Malard Brut 1er Cru 750ml (4.1%)</c:v>
                </c:pt>
                <c:pt idx="5">
                  <c:v>Champagne Nicolas Feuillatte Réserve Exclusive Brut 750ml (3.0%)</c:v>
                </c:pt>
                <c:pt idx="6">
                  <c:v>Champagne Vranken Demoiselle Tête de Cuvée 750ml (1.4%)</c:v>
                </c:pt>
                <c:pt idx="7">
                  <c:v>Prosecco Carlo V Cuvée Del Imperator 750ml (5.4%)</c:v>
                </c:pt>
                <c:pt idx="8">
                  <c:v>Champagne Besserat de Bellefon Bleu Brut 750ml (1.7%)</c:v>
                </c:pt>
                <c:pt idx="9">
                  <c:v>Champagne Ruinart Brut 750ml (7.3%)</c:v>
                </c:pt>
              </c:strCache>
            </c:strRef>
          </c:cat>
          <c:val>
            <c:numRef>
              <c:f>Sheet1!$B$2:$B$11</c:f>
              <c:numCache>
                <c:formatCode>General</c:formatCode>
                <c:ptCount val="10"/>
                <c:pt idx="0">
                  <c:v>0.10276820730403562</c:v>
                </c:pt>
                <c:pt idx="1">
                  <c:v>5.341504889308904E-2</c:v>
                </c:pt>
                <c:pt idx="2">
                  <c:v>4.6241831107468163E-2</c:v>
                </c:pt>
                <c:pt idx="3">
                  <c:v>4.0612259990528768E-2</c:v>
                </c:pt>
                <c:pt idx="4">
                  <c:v>3.9268311640970395E-2</c:v>
                </c:pt>
                <c:pt idx="5">
                  <c:v>3.8517514472472959E-2</c:v>
                </c:pt>
                <c:pt idx="6">
                  <c:v>3.3857702737100773E-2</c:v>
                </c:pt>
                <c:pt idx="7">
                  <c:v>2.7385468288096446E-2</c:v>
                </c:pt>
                <c:pt idx="8">
                  <c:v>2.7221256857633502E-2</c:v>
                </c:pt>
                <c:pt idx="9">
                  <c:v>2.630201249860121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B$2:$B$62</c:f>
              <c:numCache>
                <c:formatCode>General</c:formatCode>
                <c:ptCount val="61"/>
                <c:pt idx="0">
                  <c:v>152.56959463854315</c:v>
                </c:pt>
                <c:pt idx="1">
                  <c:v>149.27026839026362</c:v>
                </c:pt>
                <c:pt idx="2">
                  <c:v>146.11561632436511</c:v>
                </c:pt>
                <c:pt idx="3">
                  <c:v>143.09747618273317</c:v>
                </c:pt>
                <c:pt idx="4">
                  <c:v>140.20821899678631</c:v>
                </c:pt>
                <c:pt idx="5">
                  <c:v>137.44070902669489</c:v>
                </c:pt>
                <c:pt idx="6">
                  <c:v>134.78826719995524</c:v>
                </c:pt>
                <c:pt idx="7">
                  <c:v>132.24463769371019</c:v>
                </c:pt>
                <c:pt idx="8">
                  <c:v>129.80395734648263</c:v>
                </c:pt>
                <c:pt idx="9">
                  <c:v>127.46072762095002</c:v>
                </c:pt>
                <c:pt idx="10">
                  <c:v>125.20978887076495</c:v>
                </c:pt>
                <c:pt idx="11">
                  <c:v>123.04629669187268</c:v>
                </c:pt>
                <c:pt idx="12">
                  <c:v>120.96570016279206</c:v>
                </c:pt>
                <c:pt idx="13">
                  <c:v>119.55501490561642</c:v>
                </c:pt>
                <c:pt idx="14">
                  <c:v>118.16964804864531</c:v>
                </c:pt>
                <c:pt idx="15">
                  <c:v>116.80899663719417</c:v>
                </c:pt>
                <c:pt idx="16">
                  <c:v>115.47247575612903</c:v>
                </c:pt>
                <c:pt idx="17">
                  <c:v>114.15951786714409</c:v>
                </c:pt>
                <c:pt idx="18">
                  <c:v>112.86957217585024</c:v>
                </c:pt>
                <c:pt idx="19">
                  <c:v>111.6021040269533</c:v>
                </c:pt>
                <c:pt idx="20">
                  <c:v>110.35659432591135</c:v>
                </c:pt>
                <c:pt idx="21">
                  <c:v>109.54677330357462</c:v>
                </c:pt>
                <c:pt idx="22">
                  <c:v>108.74863565404095</c:v>
                </c:pt>
                <c:pt idx="23">
                  <c:v>107.9619387864351</c:v>
                </c:pt>
                <c:pt idx="24">
                  <c:v>107.18644651461553</c:v>
                </c:pt>
                <c:pt idx="25">
                  <c:v>106.42192884825565</c:v>
                </c:pt>
                <c:pt idx="26">
                  <c:v>105.66816179204754</c:v>
                </c:pt>
                <c:pt idx="27">
                  <c:v>104.92492715268982</c:v>
                </c:pt>
                <c:pt idx="28">
                  <c:v>104.1920123533254</c:v>
                </c:pt>
                <c:pt idx="29">
                  <c:v>103.4692102551119</c:v>
                </c:pt>
                <c:pt idx="30">
                  <c:v>102.75631898561947</c:v>
                </c:pt>
                <c:pt idx="31">
                  <c:v>102.05314177376503</c:v>
                </c:pt>
                <c:pt idx="32">
                  <c:v>101.35948679100022</c:v>
                </c:pt>
                <c:pt idx="33">
                  <c:v>100.6751669984864</c:v>
                </c:pt>
                <c:pt idx="34">
                  <c:v>100</c:v>
                </c:pt>
                <c:pt idx="35">
                  <c:v>99.333807900320252</c:v>
                </c:pt>
                <c:pt idx="36">
                  <c:v>98.67641716886699</c:v>
                </c:pt>
                <c:pt idx="37">
                  <c:v>98.027658508361455</c:v>
                </c:pt>
                <c:pt idx="38">
                  <c:v>97.387366728297081</c:v>
                </c:pt>
                <c:pt idx="39">
                  <c:v>96.755380623015682</c:v>
                </c:pt>
                <c:pt idx="40">
                  <c:v>96.131542854189462</c:v>
                </c:pt>
                <c:pt idx="41">
                  <c:v>95.014992117496718</c:v>
                </c:pt>
                <c:pt idx="42">
                  <c:v>93.921472394223031</c:v>
                </c:pt>
                <c:pt idx="43">
                  <c:v>92.850314873768752</c:v>
                </c:pt>
                <c:pt idx="44">
                  <c:v>91.800875164101981</c:v>
                </c:pt>
                <c:pt idx="45">
                  <c:v>90.772532221196514</c:v>
                </c:pt>
                <c:pt idx="46">
                  <c:v>89.764687332758669</c:v>
                </c:pt>
                <c:pt idx="47">
                  <c:v>88.7767631532286</c:v>
                </c:pt>
                <c:pt idx="48">
                  <c:v>87.808202787223919</c:v>
                </c:pt>
                <c:pt idx="49">
                  <c:v>86.858468918746169</c:v>
                </c:pt>
                <c:pt idx="50">
                  <c:v>85.927042983623465</c:v>
                </c:pt>
                <c:pt idx="51">
                  <c:v>85.013424382802967</c:v>
                </c:pt>
                <c:pt idx="52">
                  <c:v>84.117129734246262</c:v>
                </c:pt>
                <c:pt idx="53">
                  <c:v>83.237692161307393</c:v>
                </c:pt>
                <c:pt idx="54">
                  <c:v>82.374660615593996</c:v>
                </c:pt>
                <c:pt idx="55">
                  <c:v>81.527599232430589</c:v>
                </c:pt>
                <c:pt idx="56">
                  <c:v>80.696086717146613</c:v>
                </c:pt>
                <c:pt idx="57">
                  <c:v>79.87971576052054</c:v>
                </c:pt>
                <c:pt idx="58">
                  <c:v>79.078092481802273</c:v>
                </c:pt>
                <c:pt idx="59">
                  <c:v>78.290835897833745</c:v>
                </c:pt>
                <c:pt idx="60">
                  <c:v>77.5175774168636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C$2:$C$62</c:f>
              <c:numCache>
                <c:formatCode>General</c:formatCode>
                <c:ptCount val="61"/>
                <c:pt idx="0">
                  <c:v>122.4494590294829</c:v>
                </c:pt>
                <c:pt idx="1">
                  <c:v>120.66812008689054</c:v>
                </c:pt>
                <c:pt idx="2">
                  <c:v>118.966287161664</c:v>
                </c:pt>
                <c:pt idx="3">
                  <c:v>117.33978417522827</c:v>
                </c:pt>
                <c:pt idx="4">
                  <c:v>115.78468620568646</c:v>
                </c:pt>
                <c:pt idx="5">
                  <c:v>114.29730161890035</c:v>
                </c:pt>
                <c:pt idx="6">
                  <c:v>112.87415573835437</c:v>
                </c:pt>
                <c:pt idx="7">
                  <c:v>111.51197589572143</c:v>
                </c:pt>
                <c:pt idx="8">
                  <c:v>110.20767772262776</c:v>
                </c:pt>
                <c:pt idx="9">
                  <c:v>108.95835256029748</c:v>
                </c:pt>
                <c:pt idx="10">
                  <c:v>107.76125587787966</c:v>
                </c:pt>
                <c:pt idx="11">
                  <c:v>106.61379660259354</c:v>
                </c:pt>
                <c:pt idx="12">
                  <c:v>105.51352727562072</c:v>
                </c:pt>
                <c:pt idx="13">
                  <c:v>104.97712924920476</c:v>
                </c:pt>
                <c:pt idx="14">
                  <c:v>104.44673834366624</c:v>
                </c:pt>
                <c:pt idx="15">
                  <c:v>103.92225863422821</c:v>
                </c:pt>
                <c:pt idx="16">
                  <c:v>103.40359636984205</c:v>
                </c:pt>
                <c:pt idx="17">
                  <c:v>102.89065989844521</c:v>
                </c:pt>
                <c:pt idx="18">
                  <c:v>102.38335959623718</c:v>
                </c:pt>
                <c:pt idx="19">
                  <c:v>101.88160780060898</c:v>
                </c:pt>
                <c:pt idx="20">
                  <c:v>101.38531874638292</c:v>
                </c:pt>
                <c:pt idx="21">
                  <c:v>101.27742765377943</c:v>
                </c:pt>
                <c:pt idx="22">
                  <c:v>101.17100226454592</c:v>
                </c:pt>
                <c:pt idx="23">
                  <c:v>101.06601895031875</c:v>
                </c:pt>
                <c:pt idx="24">
                  <c:v>100.9624544835427</c:v>
                </c:pt>
                <c:pt idx="25">
                  <c:v>100.86028602530371</c:v>
                </c:pt>
                <c:pt idx="26">
                  <c:v>100.75949111363632</c:v>
                </c:pt>
                <c:pt idx="27">
                  <c:v>100.66004765230619</c:v>
                </c:pt>
                <c:pt idx="28">
                  <c:v>100.56193390006534</c:v>
                </c:pt>
                <c:pt idx="29">
                  <c:v>100.46512846037135</c:v>
                </c:pt>
                <c:pt idx="30">
                  <c:v>100.36961027156472</c:v>
                </c:pt>
                <c:pt idx="31">
                  <c:v>100.27535859749399</c:v>
                </c:pt>
                <c:pt idx="32">
                  <c:v>100.18235301857523</c:v>
                </c:pt>
                <c:pt idx="33">
                  <c:v>100.09057342327432</c:v>
                </c:pt>
                <c:pt idx="34">
                  <c:v>100</c:v>
                </c:pt>
                <c:pt idx="35">
                  <c:v>99.91061322938873</c:v>
                </c:pt>
                <c:pt idx="36">
                  <c:v>99.822393876970651</c:v>
                </c:pt>
                <c:pt idx="37">
                  <c:v>99.73532298619854</c:v>
                </c:pt>
                <c:pt idx="38">
                  <c:v>99.649381871825142</c:v>
                </c:pt>
                <c:pt idx="39">
                  <c:v>99.564552113614695</c:v>
                </c:pt>
                <c:pt idx="40">
                  <c:v>99.48081555036805</c:v>
                </c:pt>
                <c:pt idx="41">
                  <c:v>98.877097513595345</c:v>
                </c:pt>
                <c:pt idx="42">
                  <c:v>98.284520348112309</c:v>
                </c:pt>
                <c:pt idx="43">
                  <c:v>97.702781032396885</c:v>
                </c:pt>
                <c:pt idx="44">
                  <c:v>97.131586875920149</c:v>
                </c:pt>
                <c:pt idx="45">
                  <c:v>96.570655087258373</c:v>
                </c:pt>
                <c:pt idx="46">
                  <c:v>96.019712363113314</c:v>
                </c:pt>
                <c:pt idx="47">
                  <c:v>95.478494497193438</c:v>
                </c:pt>
                <c:pt idx="48">
                  <c:v>94.946746007971498</c:v>
                </c:pt>
                <c:pt idx="49">
                  <c:v>94.424219784363189</c:v>
                </c:pt>
                <c:pt idx="50">
                  <c:v>93.910676748418382</c:v>
                </c:pt>
                <c:pt idx="51">
                  <c:v>93.405885534154379</c:v>
                </c:pt>
                <c:pt idx="52">
                  <c:v>92.909622181701906</c:v>
                </c:pt>
                <c:pt idx="53">
                  <c:v>92.421669845971905</c:v>
                </c:pt>
                <c:pt idx="54">
                  <c:v>91.941818519091285</c:v>
                </c:pt>
                <c:pt idx="55">
                  <c:v>91.469864765889923</c:v>
                </c:pt>
                <c:pt idx="56">
                  <c:v>91.005611471758343</c:v>
                </c:pt>
                <c:pt idx="57">
                  <c:v>90.548867602230345</c:v>
                </c:pt>
                <c:pt idx="58">
                  <c:v>90.099447973675069</c:v>
                </c:pt>
                <c:pt idx="59">
                  <c:v>89.657173034521065</c:v>
                </c:pt>
                <c:pt idx="60">
                  <c:v>89.22186865645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D$2:$D$62</c:f>
              <c:numCache>
                <c:formatCode>General</c:formatCode>
                <c:ptCount val="61"/>
                <c:pt idx="0">
                  <c:v>93.739376870843486</c:v>
                </c:pt>
                <c:pt idx="1">
                  <c:v>93.405140135621721</c:v>
                </c:pt>
                <c:pt idx="2">
                  <c:v>93.088237624008514</c:v>
                </c:pt>
                <c:pt idx="3">
                  <c:v>92.788298980246211</c:v>
                </c:pt>
                <c:pt idx="4">
                  <c:v>92.504935421545341</c:v>
                </c:pt>
                <c:pt idx="5">
                  <c:v>92.237743093256171</c:v>
                </c:pt>
                <c:pt idx="6">
                  <c:v>91.986306086186929</c:v>
                </c:pt>
                <c:pt idx="7">
                  <c:v>91.750199147155371</c:v>
                </c:pt>
                <c:pt idx="8">
                  <c:v>91.528990110700391</c:v>
                </c:pt>
                <c:pt idx="9">
                  <c:v>91.322242077126475</c:v>
                </c:pt>
                <c:pt idx="10">
                  <c:v>91.129515359637608</c:v>
                </c:pt>
                <c:pt idx="11">
                  <c:v>90.950369221188481</c:v>
                </c:pt>
                <c:pt idx="12">
                  <c:v>90.784363419791532</c:v>
                </c:pt>
                <c:pt idx="13">
                  <c:v>91.081529015956448</c:v>
                </c:pt>
                <c:pt idx="14">
                  <c:v>91.366272938944405</c:v>
                </c:pt>
                <c:pt idx="15">
                  <c:v>91.638983571086172</c:v>
                </c:pt>
                <c:pt idx="16">
                  <c:v>91.900036299112514</c:v>
                </c:pt>
                <c:pt idx="17">
                  <c:v>92.149794002140652</c:v>
                </c:pt>
                <c:pt idx="18">
                  <c:v>92.388607518967021</c:v>
                </c:pt>
                <c:pt idx="19">
                  <c:v>92.616816095604122</c:v>
                </c:pt>
                <c:pt idx="20">
                  <c:v>92.834747813935678</c:v>
                </c:pt>
                <c:pt idx="21">
                  <c:v>93.395882203282554</c:v>
                </c:pt>
                <c:pt idx="22">
                  <c:v>93.948741490506436</c:v>
                </c:pt>
                <c:pt idx="23">
                  <c:v>94.493510853742208</c:v>
                </c:pt>
                <c:pt idx="24">
                  <c:v>95.030370144546055</c:v>
                </c:pt>
                <c:pt idx="25">
                  <c:v>95.559494063482845</c:v>
                </c:pt>
                <c:pt idx="26">
                  <c:v>96.081052328883516</c:v>
                </c:pt>
                <c:pt idx="27">
                  <c:v>96.595209839104697</c:v>
                </c:pt>
                <c:pt idx="28">
                  <c:v>97.102126828597832</c:v>
                </c:pt>
                <c:pt idx="29">
                  <c:v>97.601959018079739</c:v>
                </c:pt>
                <c:pt idx="30">
                  <c:v>98.094857759078664</c:v>
                </c:pt>
                <c:pt idx="31">
                  <c:v>98.580970173118899</c:v>
                </c:pt>
                <c:pt idx="32">
                  <c:v>99.060439285783403</c:v>
                </c:pt>
                <c:pt idx="33">
                  <c:v>99.533404155890167</c:v>
                </c:pt>
                <c:pt idx="34">
                  <c:v>100</c:v>
                </c:pt>
                <c:pt idx="35">
                  <c:v>100.46035831245787</c:v>
                </c:pt>
                <c:pt idx="36">
                  <c:v>100.91460698116943</c:v>
                </c:pt>
                <c:pt idx="37">
                  <c:v>101.36287039929093</c:v>
                </c:pt>
                <c:pt idx="38">
                  <c:v>101.80526957301063</c:v>
                </c:pt>
                <c:pt idx="39">
                  <c:v>102.24192222558732</c:v>
                </c:pt>
                <c:pt idx="40">
                  <c:v>102.67294289779736</c:v>
                </c:pt>
                <c:pt idx="41">
                  <c:v>102.55798544013703</c:v>
                </c:pt>
                <c:pt idx="42">
                  <c:v>102.44282283237096</c:v>
                </c:pt>
                <c:pt idx="43">
                  <c:v>102.32750158685724</c:v>
                </c:pt>
                <c:pt idx="44">
                  <c:v>102.21206506376789</c:v>
                </c:pt>
                <c:pt idx="45">
                  <c:v>102.09655365163451</c:v>
                </c:pt>
                <c:pt idx="46">
                  <c:v>101.98100493672328</c:v>
                </c:pt>
                <c:pt idx="47">
                  <c:v>101.86545386208972</c:v>
                </c:pt>
                <c:pt idx="48">
                  <c:v>101.74993287710332</c:v>
                </c:pt>
                <c:pt idx="49">
                  <c:v>101.63447207815149</c:v>
                </c:pt>
                <c:pt idx="50">
                  <c:v>101.51909934117047</c:v>
                </c:pt>
                <c:pt idx="51">
                  <c:v>101.40384044659021</c:v>
                </c:pt>
                <c:pt idx="52">
                  <c:v>101.28871919722941</c:v>
                </c:pt>
                <c:pt idx="53">
                  <c:v>101.17375752962911</c:v>
                </c:pt>
                <c:pt idx="54">
                  <c:v>101.05897561926712</c:v>
                </c:pt>
                <c:pt idx="55">
                  <c:v>100.94439198006305</c:v>
                </c:pt>
                <c:pt idx="56">
                  <c:v>100.83002355853993</c:v>
                </c:pt>
                <c:pt idx="57">
                  <c:v>100.71588582298681</c:v>
                </c:pt>
                <c:pt idx="58">
                  <c:v>100.60199284792853</c:v>
                </c:pt>
                <c:pt idx="59">
                  <c:v>100.48835739419368</c:v>
                </c:pt>
                <c:pt idx="60">
                  <c:v>100.3749909848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E$2:$E$62</c:f>
              <c:numCache>
                <c:formatCode>General</c:formatCode>
                <c:ptCount val="61"/>
                <c:pt idx="0">
                  <c:v>0.39257391304347844</c:v>
                </c:pt>
                <c:pt idx="1">
                  <c:v>0.39694388489208643</c:v>
                </c:pt>
                <c:pt idx="2">
                  <c:v>0.40125142857142865</c:v>
                </c:pt>
                <c:pt idx="3">
                  <c:v>0.40549787234042556</c:v>
                </c:pt>
                <c:pt idx="4">
                  <c:v>0.40968450704225368</c:v>
                </c:pt>
                <c:pt idx="5">
                  <c:v>0.41381258741258758</c:v>
                </c:pt>
                <c:pt idx="6">
                  <c:v>0.4178833333333335</c:v>
                </c:pt>
                <c:pt idx="7">
                  <c:v>0.42189793103448281</c:v>
                </c:pt>
                <c:pt idx="8">
                  <c:v>0.42585753424657552</c:v>
                </c:pt>
                <c:pt idx="9">
                  <c:v>0.42976326530612258</c:v>
                </c:pt>
                <c:pt idx="10">
                  <c:v>0.43361621621621632</c:v>
                </c:pt>
                <c:pt idx="11">
                  <c:v>0.43741744966442964</c:v>
                </c:pt>
                <c:pt idx="12">
                  <c:v>0.44116800000000012</c:v>
                </c:pt>
                <c:pt idx="13">
                  <c:v>0.44486887417218551</c:v>
                </c:pt>
                <c:pt idx="14">
                  <c:v>0.4485210526315791</c:v>
                </c:pt>
                <c:pt idx="15">
                  <c:v>0.45212549019607862</c:v>
                </c:pt>
                <c:pt idx="16">
                  <c:v>0.45568311688311702</c:v>
                </c:pt>
                <c:pt idx="17">
                  <c:v>0.45919483870967753</c:v>
                </c:pt>
                <c:pt idx="18">
                  <c:v>0.46266153846153857</c:v>
                </c:pt>
                <c:pt idx="19">
                  <c:v>0.46608407643312116</c:v>
                </c:pt>
                <c:pt idx="20">
                  <c:v>0.46946329113924062</c:v>
                </c:pt>
                <c:pt idx="21">
                  <c:v>0.47280000000000016</c:v>
                </c:pt>
                <c:pt idx="22">
                  <c:v>0.47609500000000021</c:v>
                </c:pt>
                <c:pt idx="23">
                  <c:v>0.47934906832298152</c:v>
                </c:pt>
                <c:pt idx="24">
                  <c:v>0.48256296296296308</c:v>
                </c:pt>
                <c:pt idx="25">
                  <c:v>0.48573742331288355</c:v>
                </c:pt>
                <c:pt idx="26">
                  <c:v>0.4888731707317075</c:v>
                </c:pt>
                <c:pt idx="27">
                  <c:v>0.49197090909090924</c:v>
                </c:pt>
                <c:pt idx="28">
                  <c:v>0.49503132530120492</c:v>
                </c:pt>
                <c:pt idx="29">
                  <c:v>0.4980550898203594</c:v>
                </c:pt>
                <c:pt idx="30">
                  <c:v>0.50104285714285723</c:v>
                </c:pt>
                <c:pt idx="31">
                  <c:v>0.50399526627218938</c:v>
                </c:pt>
                <c:pt idx="32">
                  <c:v>0.50691294117647079</c:v>
                </c:pt>
                <c:pt idx="33">
                  <c:v>0.50979649122807025</c:v>
                </c:pt>
                <c:pt idx="34">
                  <c:v>0.51264651162790709</c:v>
                </c:pt>
                <c:pt idx="35">
                  <c:v>0.51546358381502899</c:v>
                </c:pt>
                <c:pt idx="36">
                  <c:v>0.51824827586206901</c:v>
                </c:pt>
                <c:pt idx="37">
                  <c:v>0.52100114285714305</c:v>
                </c:pt>
                <c:pt idx="38">
                  <c:v>0.5237227272727274</c:v>
                </c:pt>
                <c:pt idx="39">
                  <c:v>0.52641355932203393</c:v>
                </c:pt>
                <c:pt idx="40">
                  <c:v>0.52907415730337082</c:v>
                </c:pt>
                <c:pt idx="41">
                  <c:v>0.53170502793296104</c:v>
                </c:pt>
                <c:pt idx="42">
                  <c:v>0.53430666666666682</c:v>
                </c:pt>
                <c:pt idx="43">
                  <c:v>0.53687955801104981</c:v>
                </c:pt>
                <c:pt idx="44">
                  <c:v>0.53942417582417601</c:v>
                </c:pt>
                <c:pt idx="45">
                  <c:v>0.54194098360655751</c:v>
                </c:pt>
                <c:pt idx="46">
                  <c:v>0.54443043478260877</c:v>
                </c:pt>
                <c:pt idx="47">
                  <c:v>0.54689297297297312</c:v>
                </c:pt>
                <c:pt idx="48">
                  <c:v>0.54932903225806462</c:v>
                </c:pt>
                <c:pt idx="49">
                  <c:v>0.55173903743315522</c:v>
                </c:pt>
                <c:pt idx="50">
                  <c:v>0.55412340425531925</c:v>
                </c:pt>
                <c:pt idx="51">
                  <c:v>0.55648253968253991</c:v>
                </c:pt>
                <c:pt idx="52">
                  <c:v>0.55881684210526328</c:v>
                </c:pt>
                <c:pt idx="53">
                  <c:v>0.56112670157068079</c:v>
                </c:pt>
                <c:pt idx="54">
                  <c:v>0.56341250000000009</c:v>
                </c:pt>
                <c:pt idx="55">
                  <c:v>0.5656746113989638</c:v>
                </c:pt>
                <c:pt idx="56">
                  <c:v>0.56791340206185581</c:v>
                </c:pt>
                <c:pt idx="57">
                  <c:v>0.57012923076923083</c:v>
                </c:pt>
                <c:pt idx="58">
                  <c:v>0.57232244897959195</c:v>
                </c:pt>
                <c:pt idx="59">
                  <c:v>0.5744934010152285</c:v>
                </c:pt>
                <c:pt idx="60">
                  <c:v>0.57664242424242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Mousseux French Bloom Blanc Bio Sans Alcool 750ml (0.7%)</c:v>
                </c:pt>
                <c:pt idx="4">
                  <c:v>Champagne E.Nicolas Brut 750ml (11.6%)</c:v>
                </c:pt>
                <c:pt idx="5">
                  <c:v>Champagne Laurent-Perrier Blanc La Cuvée 750ml (2.7%)</c:v>
                </c:pt>
                <c:pt idx="6">
                  <c:v>Champagne Deutz Brut Classique 750ml (3.4%)</c:v>
                </c:pt>
                <c:pt idx="7">
                  <c:v>Champagne Ruinart Blanc de Blancs (étui) 750ml (0.8%)</c:v>
                </c:pt>
                <c:pt idx="8">
                  <c:v>Champagne Nicolas Blanc de Blancs 750ml (0.8%)</c:v>
                </c:pt>
                <c:pt idx="9">
                  <c:v>Champagne Nicolas Feuillatte Réserve Exclusive Brut 750ml (3.0%)</c:v>
                </c:pt>
              </c:strCache>
            </c:strRef>
          </c:cat>
          <c:val>
            <c:numRef>
              <c:f>Sheet1!$B$2:$B$11</c:f>
              <c:numCache>
                <c:formatCode>General</c:formatCode>
                <c:ptCount val="10"/>
                <c:pt idx="0">
                  <c:v>7.6224563491045061E-2</c:v>
                </c:pt>
                <c:pt idx="1">
                  <c:v>5.9396625191587657E-2</c:v>
                </c:pt>
                <c:pt idx="2">
                  <c:v>4.9893557331389712E-2</c:v>
                </c:pt>
                <c:pt idx="3">
                  <c:v>4.8190018583397394E-2</c:v>
                </c:pt>
                <c:pt idx="4">
                  <c:v>4.6001681032319004E-2</c:v>
                </c:pt>
                <c:pt idx="5">
                  <c:v>3.1215178179038447E-2</c:v>
                </c:pt>
                <c:pt idx="6">
                  <c:v>2.7633129573269362E-2</c:v>
                </c:pt>
                <c:pt idx="7">
                  <c:v>2.532789566395225E-2</c:v>
                </c:pt>
                <c:pt idx="8">
                  <c:v>2.3515847005252034E-2</c:v>
                </c:pt>
                <c:pt idx="9">
                  <c:v>2.021035396623839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Mousseux French Bloom Blanc Bio Sans Alcool 750ml (0.7%)</c:v>
                </c:pt>
                <c:pt idx="2">
                  <c:v>Champagne Ruinart Brut 750ml (7.3%)</c:v>
                </c:pt>
                <c:pt idx="3">
                  <c:v>Champagne E.Nicolas Brut 750ml (11.6%)</c:v>
                </c:pt>
                <c:pt idx="4">
                  <c:v>Champagne Vranken Demoiselle Rosé Prestige 750ml (2.0%)</c:v>
                </c:pt>
                <c:pt idx="5">
                  <c:v>Champagne Ruinart Blanc de Blancs (étui) 750ml (0.8%)</c:v>
                </c:pt>
                <c:pt idx="6">
                  <c:v>Champagne Laurent-Perrier Blanc La Cuvée 750ml (2.7%)</c:v>
                </c:pt>
                <c:pt idx="7">
                  <c:v>Champagne Nicolas Blanc de Blancs 750ml (0.8%)</c:v>
                </c:pt>
                <c:pt idx="8">
                  <c:v>Champagne Deutz Brut Classique 750ml (3.4%)</c:v>
                </c:pt>
                <c:pt idx="9">
                  <c:v>Champagne Pol Roger Brut 750ml (0.8%)</c:v>
                </c:pt>
              </c:strCache>
            </c:strRef>
          </c:cat>
          <c:val>
            <c:numRef>
              <c:f>Sheet1!$B$2:$B$11</c:f>
              <c:numCache>
                <c:formatCode>General</c:formatCode>
                <c:ptCount val="10"/>
                <c:pt idx="0">
                  <c:v>8.7238326296830676E-2</c:v>
                </c:pt>
                <c:pt idx="1">
                  <c:v>6.8318596875782692E-2</c:v>
                </c:pt>
                <c:pt idx="2">
                  <c:v>6.4423735536413243E-2</c:v>
                </c:pt>
                <c:pt idx="3">
                  <c:v>5.3433475382972613E-2</c:v>
                </c:pt>
                <c:pt idx="4">
                  <c:v>4.6576821250644863E-2</c:v>
                </c:pt>
                <c:pt idx="5">
                  <c:v>2.7189023006270845E-2</c:v>
                </c:pt>
                <c:pt idx="6">
                  <c:v>2.4632532529797493E-2</c:v>
                </c:pt>
                <c:pt idx="7">
                  <c:v>2.3354990548627799E-2</c:v>
                </c:pt>
                <c:pt idx="8">
                  <c:v>2.1438521465678862E-2</c:v>
                </c:pt>
                <c:pt idx="9">
                  <c:v>1.979748126915151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Bulles Blanc de Blancs désalcooli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5</c:v>
                </c:pt>
                <c:pt idx="1">
                  <c:v>9.5</c:v>
                </c:pt>
                <c:pt idx="2">
                  <c:v>10.5</c:v>
                </c:pt>
                <c:pt idx="3">
                  <c:v>11.5</c:v>
                </c:pt>
                <c:pt idx="4">
                  <c:v>12.5</c:v>
                </c:pt>
              </c:numCache>
            </c:numRef>
          </c:xVal>
          <c:yVal>
            <c:numRef>
              <c:f>Sheet1!$B$2:$B$6</c:f>
              <c:numCache>
                <c:formatCode>General</c:formatCode>
                <c:ptCount val="5"/>
                <c:pt idx="0">
                  <c:v>0.30851370489420993</c:v>
                </c:pt>
                <c:pt idx="1">
                  <c:v>0.11675998921972236</c:v>
                </c:pt>
                <c:pt idx="2">
                  <c:v>0</c:v>
                </c:pt>
                <c:pt idx="3">
                  <c:v>-0.11232949898107897</c:v>
                </c:pt>
                <c:pt idx="4">
                  <c:v>-0.202563038919172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5"/>
          <c:min val="8.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Demoiselle (3.5%)</c:v>
                </c:pt>
                <c:pt idx="3">
                  <c:v>Taittinger (2.2%)</c:v>
                </c:pt>
                <c:pt idx="4">
                  <c:v>Nicolas (14.4%)</c:v>
                </c:pt>
                <c:pt idx="5">
                  <c:v>Malard (6.0%)</c:v>
                </c:pt>
                <c:pt idx="6">
                  <c:v>Laurent Perrier (3.9%)</c:v>
                </c:pt>
                <c:pt idx="7">
                  <c:v>Veuve Clicquot (1.7%)</c:v>
                </c:pt>
                <c:pt idx="8">
                  <c:v>Nicolas Feuillatte (4.5%)</c:v>
                </c:pt>
                <c:pt idx="9">
                  <c:v>Perrier-Jouët (0.9%)</c:v>
                </c:pt>
              </c:strCache>
            </c:strRef>
          </c:cat>
          <c:val>
            <c:numRef>
              <c:f>Sheet1!$B$2:$B$11</c:f>
              <c:numCache>
                <c:formatCode>General</c:formatCode>
                <c:ptCount val="10"/>
                <c:pt idx="0">
                  <c:v>0.2403285032258887</c:v>
                </c:pt>
                <c:pt idx="1">
                  <c:v>0.13498074914588709</c:v>
                </c:pt>
                <c:pt idx="2">
                  <c:v>6.4529078331875864E-2</c:v>
                </c:pt>
                <c:pt idx="3">
                  <c:v>5.6604006643070692E-2</c:v>
                </c:pt>
                <c:pt idx="4">
                  <c:v>5.3772168979871818E-2</c:v>
                </c:pt>
                <c:pt idx="5">
                  <c:v>4.5285240937058567E-2</c:v>
                </c:pt>
                <c:pt idx="6">
                  <c:v>3.9621199752208638E-2</c:v>
                </c:pt>
                <c:pt idx="7">
                  <c:v>3.216569252802387E-2</c:v>
                </c:pt>
                <c:pt idx="8">
                  <c:v>3.1470374236641334E-2</c:v>
                </c:pt>
                <c:pt idx="9">
                  <c:v>3.14566908566806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B$2:$B$10</c:f>
              <c:numCache>
                <c:formatCode>General</c:formatCode>
                <c:ptCount val="9"/>
                <c:pt idx="0">
                  <c:v>130.65337747428015</c:v>
                </c:pt>
                <c:pt idx="1">
                  <c:v>119.8874868703016</c:v>
                </c:pt>
                <c:pt idx="2">
                  <c:v>111.60841712467962</c:v>
                </c:pt>
                <c:pt idx="3">
                  <c:v>105.15023253643616</c:v>
                </c:pt>
                <c:pt idx="4">
                  <c:v>100</c:v>
                </c:pt>
                <c:pt idx="5">
                  <c:v>94.064092931180213</c:v>
                </c:pt>
                <c:pt idx="6">
                  <c:v>88.77618983364566</c:v>
                </c:pt>
                <c:pt idx="7">
                  <c:v>84.032950893556816</c:v>
                </c:pt>
                <c:pt idx="8">
                  <c:v>79.75023628498649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C$2:$C$10</c:f>
              <c:numCache>
                <c:formatCode>General</c:formatCode>
                <c:ptCount val="9"/>
                <c:pt idx="0">
                  <c:v>105.8320191538654</c:v>
                </c:pt>
                <c:pt idx="1">
                  <c:v>102.80422374546745</c:v>
                </c:pt>
                <c:pt idx="2">
                  <c:v>101.00553234640608</c:v>
                </c:pt>
                <c:pt idx="3">
                  <c:v>100.15539994721483</c:v>
                </c:pt>
                <c:pt idx="4">
                  <c:v>100</c:v>
                </c:pt>
                <c:pt idx="5">
                  <c:v>98.531391526963432</c:v>
                </c:pt>
                <c:pt idx="6">
                  <c:v>97.208653598462703</c:v>
                </c:pt>
                <c:pt idx="7">
                  <c:v>96.006007216814396</c:v>
                </c:pt>
                <c:pt idx="8">
                  <c:v>94.90090187005466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D$2:$D$10</c:f>
              <c:numCache>
                <c:formatCode>General</c:formatCode>
                <c:ptCount val="9"/>
                <c:pt idx="0">
                  <c:v>80.880662245982975</c:v>
                </c:pt>
                <c:pt idx="1">
                  <c:v>85.633919193072572</c:v>
                </c:pt>
                <c:pt idx="2">
                  <c:v>90.349671005693097</c:v>
                </c:pt>
                <c:pt idx="3">
                  <c:v>95.135924675823276</c:v>
                </c:pt>
                <c:pt idx="4">
                  <c:v>100</c:v>
                </c:pt>
                <c:pt idx="5">
                  <c:v>103.02257797224502</c:v>
                </c:pt>
                <c:pt idx="6">
                  <c:v>105.68594027814957</c:v>
                </c:pt>
                <c:pt idx="7">
                  <c:v>108.04236543457304</c:v>
                </c:pt>
                <c:pt idx="8">
                  <c:v>110.131278679267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E$2:$E$10</c:f>
              <c:numCache>
                <c:formatCode>General</c:formatCode>
                <c:ptCount val="9"/>
                <c:pt idx="0">
                  <c:v>0.38235294117647073</c:v>
                </c:pt>
                <c:pt idx="1">
                  <c:v>0.41666666666666669</c:v>
                </c:pt>
                <c:pt idx="2">
                  <c:v>0.44736842105263175</c:v>
                </c:pt>
                <c:pt idx="3">
                  <c:v>0.47500000000000014</c:v>
                </c:pt>
                <c:pt idx="4">
                  <c:v>0.5</c:v>
                </c:pt>
                <c:pt idx="5">
                  <c:v>0.52272727272727282</c:v>
                </c:pt>
                <c:pt idx="6">
                  <c:v>0.5434782608695653</c:v>
                </c:pt>
                <c:pt idx="7">
                  <c:v>0.5625</c:v>
                </c:pt>
                <c:pt idx="8">
                  <c:v>0.5799999999999999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Lyre's Classico Sans Alcool 750ml (1.0%)</c:v>
                </c:pt>
                <c:pt idx="7">
                  <c:v>Crémant d'Alsace Muré Prestige Bio 750ml (1.3%)</c:v>
                </c:pt>
                <c:pt idx="8">
                  <c:v>Mousseux Château Moncontour Brut Vouvray 750ml (1.5%)</c:v>
                </c:pt>
                <c:pt idx="9">
                  <c:v>Clairette de Die Cuvée Dea Augusta 750ml (0.5%)</c:v>
                </c:pt>
              </c:strCache>
            </c:strRef>
          </c:cat>
          <c:val>
            <c:numRef>
              <c:f>Sheet1!$B$2:$B$11</c:f>
              <c:numCache>
                <c:formatCode>General</c:formatCode>
                <c:ptCount val="10"/>
                <c:pt idx="0">
                  <c:v>0.22936196563444039</c:v>
                </c:pt>
                <c:pt idx="1">
                  <c:v>0.10594327223276739</c:v>
                </c:pt>
                <c:pt idx="2">
                  <c:v>7.1929842698713289E-2</c:v>
                </c:pt>
                <c:pt idx="3">
                  <c:v>6.7546762099217825E-2</c:v>
                </c:pt>
                <c:pt idx="4">
                  <c:v>4.7578855566847926E-2</c:v>
                </c:pt>
                <c:pt idx="5">
                  <c:v>3.9813211400431564E-2</c:v>
                </c:pt>
                <c:pt idx="6">
                  <c:v>3.9050688037446289E-2</c:v>
                </c:pt>
                <c:pt idx="7">
                  <c:v>3.3201227256004433E-2</c:v>
                </c:pt>
                <c:pt idx="8">
                  <c:v>3.1630884574328257E-2</c:v>
                </c:pt>
                <c:pt idx="9">
                  <c:v>2.818387628382377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yre's Classico Sans Alcool 750ml (1.0%)</c:v>
                </c:pt>
                <c:pt idx="2">
                  <c:v>Champagne E.Nicolas Brut 750ml (11.6%)</c:v>
                </c:pt>
                <c:pt idx="3">
                  <c:v>Prosecco Savian Extra Dry Bio 750ml (2.1%)</c:v>
                </c:pt>
                <c:pt idx="4">
                  <c:v>Crémant Saumur Bouvet Cuvée Saphir Brut 750ml (1.5%)</c:v>
                </c:pt>
                <c:pt idx="5">
                  <c:v>Prosecco Bottega 750ml (2.6%)</c:v>
                </c:pt>
                <c:pt idx="6">
                  <c:v>Crémant de Bourgogne Patriarche Brut 750ml (1.8%)</c:v>
                </c:pt>
                <c:pt idx="7">
                  <c:v>Mousseux Veuve du Vernay Sans Alcool 750ml (0.3%)</c:v>
                </c:pt>
                <c:pt idx="8">
                  <c:v>Mousseux Château Moncontour Brut Vouvray 750ml (1.5%)</c:v>
                </c:pt>
                <c:pt idx="9">
                  <c:v>Crémant d'Alsace Muré Prestige Bio 750ml (1.3%)</c:v>
                </c:pt>
              </c:strCache>
            </c:strRef>
          </c:cat>
          <c:val>
            <c:numRef>
              <c:f>Sheet1!$B$2:$B$11</c:f>
              <c:numCache>
                <c:formatCode>General</c:formatCode>
                <c:ptCount val="10"/>
                <c:pt idx="0">
                  <c:v>0.18641482246150745</c:v>
                </c:pt>
                <c:pt idx="1">
                  <c:v>0.15676349788989663</c:v>
                </c:pt>
                <c:pt idx="2">
                  <c:v>0.11233197006420076</c:v>
                </c:pt>
                <c:pt idx="3">
                  <c:v>6.610448342273352E-2</c:v>
                </c:pt>
                <c:pt idx="4">
                  <c:v>4.1320219982627741E-2</c:v>
                </c:pt>
                <c:pt idx="5">
                  <c:v>3.6674792839652935E-2</c:v>
                </c:pt>
                <c:pt idx="6">
                  <c:v>3.1072345667538231E-2</c:v>
                </c:pt>
                <c:pt idx="7">
                  <c:v>2.8800953901074806E-2</c:v>
                </c:pt>
                <c:pt idx="8">
                  <c:v>2.7585990197922881E-2</c:v>
                </c:pt>
                <c:pt idx="9">
                  <c:v>2.611449185547625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95</c:v>
                </c:pt>
                <c:pt idx="2">
                  <c:v>21.95</c:v>
                </c:pt>
                <c:pt idx="3">
                  <c:v>23.95</c:v>
                </c:pt>
                <c:pt idx="4">
                  <c:v>25.95</c:v>
                </c:pt>
              </c:numCache>
            </c:numRef>
          </c:xVal>
          <c:yVal>
            <c:numRef>
              <c:f>Sheet1!$B$2:$B$6</c:f>
              <c:numCache>
                <c:formatCode>General</c:formatCode>
                <c:ptCount val="5"/>
                <c:pt idx="0">
                  <c:v>0.18599717708172092</c:v>
                </c:pt>
                <c:pt idx="1">
                  <c:v>5.8936413797040434E-2</c:v>
                </c:pt>
                <c:pt idx="2">
                  <c:v>0</c:v>
                </c:pt>
                <c:pt idx="3">
                  <c:v>-5.5383677017231979E-2</c:v>
                </c:pt>
                <c:pt idx="4">
                  <c:v>-0.162237650351025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E.Nicolas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0000000000003</c:v>
                </c:pt>
                <c:pt idx="1">
                  <c:v>39.950000000000003</c:v>
                </c:pt>
                <c:pt idx="2">
                  <c:v>44.95</c:v>
                </c:pt>
                <c:pt idx="3">
                  <c:v>49.95</c:v>
                </c:pt>
                <c:pt idx="4">
                  <c:v>54.95</c:v>
                </c:pt>
              </c:numCache>
            </c:numRef>
          </c:xVal>
          <c:yVal>
            <c:numRef>
              <c:f>Sheet1!$B$9:$B$13</c:f>
              <c:numCache>
                <c:formatCode>General</c:formatCode>
                <c:ptCount val="5"/>
                <c:pt idx="0">
                  <c:v>0.89785050022832624</c:v>
                </c:pt>
                <c:pt idx="1">
                  <c:v>0.48247205923054898</c:v>
                </c:pt>
                <c:pt idx="2">
                  <c:v>0</c:v>
                </c:pt>
                <c:pt idx="3">
                  <c:v>-0.16285843726602023</c:v>
                </c:pt>
                <c:pt idx="4">
                  <c:v>-0.3579543694726229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E.Nicolas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9.95</c:v>
                </c:pt>
                <c:pt idx="1">
                  <c:v>22.5</c:v>
                </c:pt>
                <c:pt idx="2">
                  <c:v>24.95</c:v>
                </c:pt>
                <c:pt idx="3">
                  <c:v>26.95</c:v>
                </c:pt>
                <c:pt idx="4">
                  <c:v>29.95</c:v>
                </c:pt>
              </c:numCache>
            </c:numRef>
          </c:xVal>
          <c:yVal>
            <c:numRef>
              <c:f>Sheet1!$B$16:$B$20</c:f>
              <c:numCache>
                <c:formatCode>General</c:formatCode>
                <c:ptCount val="5"/>
                <c:pt idx="0">
                  <c:v>0.32765890741328979</c:v>
                </c:pt>
                <c:pt idx="1">
                  <c:v>0.14485257594626746</c:v>
                </c:pt>
                <c:pt idx="2">
                  <c:v>0</c:v>
                </c:pt>
                <c:pt idx="3">
                  <c:v>-0.21400927388787352</c:v>
                </c:pt>
                <c:pt idx="4">
                  <c:v>-0.4282570687869822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7.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B$2:$B$18</c:f>
              <c:numCache>
                <c:formatCode>General</c:formatCode>
                <c:ptCount val="17"/>
                <c:pt idx="0">
                  <c:v>116.18873267444778</c:v>
                </c:pt>
                <c:pt idx="1">
                  <c:v>113.48806692959401</c:v>
                </c:pt>
                <c:pt idx="2">
                  <c:v>110.88671374603504</c:v>
                </c:pt>
                <c:pt idx="3">
                  <c:v>108.38204592192633</c:v>
                </c:pt>
                <c:pt idx="4">
                  <c:v>105.9714337747635</c:v>
                </c:pt>
                <c:pt idx="5">
                  <c:v>104.38089758970079</c:v>
                </c:pt>
                <c:pt idx="6">
                  <c:v>102.89791985950203</c:v>
                </c:pt>
                <c:pt idx="7">
                  <c:v>101.43775223540131</c:v>
                </c:pt>
                <c:pt idx="8">
                  <c:v>100</c:v>
                </c:pt>
                <c:pt idx="9">
                  <c:v>98.584308906486825</c:v>
                </c:pt>
                <c:pt idx="10">
                  <c:v>97.190364522660545</c:v>
                </c:pt>
                <c:pt idx="11">
                  <c:v>95.817890728967086</c:v>
                </c:pt>
                <c:pt idx="12">
                  <c:v>94.466647410073932</c:v>
                </c:pt>
                <c:pt idx="13">
                  <c:v>93.136427404687026</c:v>
                </c:pt>
                <c:pt idx="14">
                  <c:v>91.827052802227925</c:v>
                </c:pt>
                <c:pt idx="15">
                  <c:v>88.043544922889822</c:v>
                </c:pt>
                <c:pt idx="16">
                  <c:v>84.0655254387382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C$2:$C$18</c:f>
              <c:numCache>
                <c:formatCode>General</c:formatCode>
                <c:ptCount val="17"/>
                <c:pt idx="0">
                  <c:v>96.705491823033327</c:v>
                </c:pt>
                <c:pt idx="1">
                  <c:v>96.835490906176318</c:v>
                </c:pt>
                <c:pt idx="2">
                  <c:v>96.936606466165713</c:v>
                </c:pt>
                <c:pt idx="3">
                  <c:v>97.013257360116924</c:v>
                </c:pt>
                <c:pt idx="4">
                  <c:v>97.069556811522162</c:v>
                </c:pt>
                <c:pt idx="5">
                  <c:v>97.808822283370205</c:v>
                </c:pt>
                <c:pt idx="6">
                  <c:v>98.582318893848736</c:v>
                </c:pt>
                <c:pt idx="7">
                  <c:v>99.312234846764298</c:v>
                </c:pt>
                <c:pt idx="8">
                  <c:v>100</c:v>
                </c:pt>
                <c:pt idx="9">
                  <c:v>100.64702493230646</c:v>
                </c:pt>
                <c:pt idx="10">
                  <c:v>101.25470595840218</c:v>
                </c:pt>
                <c:pt idx="11">
                  <c:v>101.82442905384362</c:v>
                </c:pt>
                <c:pt idx="12">
                  <c:v>102.35757262600774</c:v>
                </c:pt>
                <c:pt idx="13">
                  <c:v>102.85550910079371</c:v>
                </c:pt>
                <c:pt idx="14">
                  <c:v>103.31960533098545</c:v>
                </c:pt>
                <c:pt idx="15">
                  <c:v>100.89532959525948</c:v>
                </c:pt>
                <c:pt idx="16">
                  <c:v>98.09236553730433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D$2:$D$18</c:f>
              <c:numCache>
                <c:formatCode>General</c:formatCode>
                <c:ptCount val="17"/>
                <c:pt idx="0">
                  <c:v>36.278984205283813</c:v>
                </c:pt>
                <c:pt idx="1">
                  <c:v>45.192266298865768</c:v>
                </c:pt>
                <c:pt idx="2">
                  <c:v>53.68928246296791</c:v>
                </c:pt>
                <c:pt idx="3">
                  <c:v>61.794148429418527</c:v>
                </c:pt>
                <c:pt idx="4">
                  <c:v>69.53007486268578</c:v>
                </c:pt>
                <c:pt idx="5">
                  <c:v>77.460092492952853</c:v>
                </c:pt>
                <c:pt idx="6">
                  <c:v>85.205698968746674</c:v>
                </c:pt>
                <c:pt idx="7">
                  <c:v>92.717172063999953</c:v>
                </c:pt>
                <c:pt idx="8">
                  <c:v>100</c:v>
                </c:pt>
                <c:pt idx="9">
                  <c:v>107.05957921281349</c:v>
                </c:pt>
                <c:pt idx="10">
                  <c:v>113.90123098075591</c:v>
                </c:pt>
                <c:pt idx="11">
                  <c:v>120.53021664932339</c:v>
                </c:pt>
                <c:pt idx="12">
                  <c:v>126.95175099759386</c:v>
                </c:pt>
                <c:pt idx="13">
                  <c:v>133.17101335330065</c:v>
                </c:pt>
                <c:pt idx="14">
                  <c:v>139.19315614452137</c:v>
                </c:pt>
                <c:pt idx="15">
                  <c:v>141.02712772201011</c:v>
                </c:pt>
                <c:pt idx="16">
                  <c:v>141.882276152080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E$2:$E$18</c:f>
              <c:numCache>
                <c:formatCode>General</c:formatCode>
                <c:ptCount val="17"/>
                <c:pt idx="0">
                  <c:v>0.10145239763491593</c:v>
                </c:pt>
                <c:pt idx="1">
                  <c:v>0.12586945204701053</c:v>
                </c:pt>
                <c:pt idx="2">
                  <c:v>0.14899459881825367</c:v>
                </c:pt>
                <c:pt idx="3">
                  <c:v>0.1709277277146905</c:v>
                </c:pt>
                <c:pt idx="4">
                  <c:v>0.19175868932989928</c:v>
                </c:pt>
                <c:pt idx="5">
                  <c:v>0.21156852537573503</c:v>
                </c:pt>
                <c:pt idx="6">
                  <c:v>0.23043052237631542</c:v>
                </c:pt>
                <c:pt idx="7">
                  <c:v>0.24841111764789686</c:v>
                </c:pt>
                <c:pt idx="8">
                  <c:v>0.26557068117191751</c:v>
                </c:pt>
                <c:pt idx="9">
                  <c:v>0.28196419275290158</c:v>
                </c:pt>
                <c:pt idx="10">
                  <c:v>0.29764183046572029</c:v>
                </c:pt>
                <c:pt idx="11">
                  <c:v>0.31264948366089729</c:v>
                </c:pt>
                <c:pt idx="12">
                  <c:v>0.32702920157594118</c:v>
                </c:pt>
                <c:pt idx="13">
                  <c:v>0.34081958678954899</c:v>
                </c:pt>
                <c:pt idx="14">
                  <c:v>0.3540561412716865</c:v>
                </c:pt>
                <c:pt idx="15">
                  <c:v>0.366771571561614</c:v>
                </c:pt>
                <c:pt idx="16">
                  <c:v>0.3789960585971041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Prosecco Savian Extra Dry Bio 750ml (2.1%)</c:v>
                </c:pt>
                <c:pt idx="7">
                  <c:v>Champagne E.Nicolas Rosé 750ml (0.9%)</c:v>
                </c:pt>
                <c:pt idx="8">
                  <c:v>Champagne Heidsieck Monopole Silver Top 750ml (4.2%)</c:v>
                </c:pt>
                <c:pt idx="9">
                  <c:v>Crémant d'Alsace Muré Prestige Bio 750ml (1.3%)</c:v>
                </c:pt>
              </c:strCache>
            </c:strRef>
          </c:cat>
          <c:val>
            <c:numRef>
              <c:f>Sheet1!$B$2:$B$11</c:f>
              <c:numCache>
                <c:formatCode>General</c:formatCode>
                <c:ptCount val="10"/>
                <c:pt idx="0">
                  <c:v>9.8686818796694373E-2</c:v>
                </c:pt>
                <c:pt idx="1">
                  <c:v>7.8467554046395216E-2</c:v>
                </c:pt>
                <c:pt idx="2">
                  <c:v>4.7155807239601374E-2</c:v>
                </c:pt>
                <c:pt idx="3">
                  <c:v>4.5631727778289062E-2</c:v>
                </c:pt>
                <c:pt idx="4">
                  <c:v>4.4822721997653074E-2</c:v>
                </c:pt>
                <c:pt idx="5">
                  <c:v>4.161077247514354E-2</c:v>
                </c:pt>
                <c:pt idx="6">
                  <c:v>3.9154808649848737E-2</c:v>
                </c:pt>
                <c:pt idx="7">
                  <c:v>3.6308952815972538E-2</c:v>
                </c:pt>
                <c:pt idx="8">
                  <c:v>3.1737895540333162E-2</c:v>
                </c:pt>
                <c:pt idx="9">
                  <c:v>3.09076027932132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Champagne E.Nicolas Rosé 750ml (0.9%)</c:v>
                </c:pt>
                <c:pt idx="7">
                  <c:v>Prosecco Savian Extra Dry Bio 750ml (2.1%)</c:v>
                </c:pt>
                <c:pt idx="8">
                  <c:v>Crémant d'Alsace Muré Prestige Bio 750ml (1.3%)</c:v>
                </c:pt>
                <c:pt idx="9">
                  <c:v>Mousseux Château Moncontour Brut Vouvray 750ml (1.5%)</c:v>
                </c:pt>
              </c:strCache>
            </c:strRef>
          </c:cat>
          <c:val>
            <c:numRef>
              <c:f>Sheet1!$B$2:$B$11</c:f>
              <c:numCache>
                <c:formatCode>General</c:formatCode>
                <c:ptCount val="10"/>
                <c:pt idx="0">
                  <c:v>9.9860768030364075E-2</c:v>
                </c:pt>
                <c:pt idx="1">
                  <c:v>7.226281501459586E-2</c:v>
                </c:pt>
                <c:pt idx="2">
                  <c:v>4.6559602916704787E-2</c:v>
                </c:pt>
                <c:pt idx="3">
                  <c:v>4.635573658545241E-2</c:v>
                </c:pt>
                <c:pt idx="4">
                  <c:v>4.4941236564967769E-2</c:v>
                </c:pt>
                <c:pt idx="5">
                  <c:v>4.3181292777274574E-2</c:v>
                </c:pt>
                <c:pt idx="6">
                  <c:v>3.9323153045603416E-2</c:v>
                </c:pt>
                <c:pt idx="7">
                  <c:v>3.7990367564615372E-2</c:v>
                </c:pt>
                <c:pt idx="8">
                  <c:v>3.1473435843341106E-2</c:v>
                </c:pt>
                <c:pt idx="9">
                  <c:v>2.87896175633230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193.40011018034542</c:v>
                </c:pt>
                <c:pt idx="1">
                  <c:v>187.64927146198042</c:v>
                </c:pt>
                <c:pt idx="2">
                  <c:v>182.35135963587231</c:v>
                </c:pt>
                <c:pt idx="3">
                  <c:v>177.45162810624498</c:v>
                </c:pt>
                <c:pt idx="4">
                  <c:v>172.90309128439117</c:v>
                </c:pt>
                <c:pt idx="5">
                  <c:v>168.66541529128406</c:v>
                </c:pt>
                <c:pt idx="6">
                  <c:v>164.70393511649635</c:v>
                </c:pt>
                <c:pt idx="7">
                  <c:v>160.98880109977438</c:v>
                </c:pt>
                <c:pt idx="8">
                  <c:v>157.49424757119093</c:v>
                </c:pt>
                <c:pt idx="9">
                  <c:v>154.19797167181775</c:v>
                </c:pt>
                <c:pt idx="10">
                  <c:v>150.65866111077901</c:v>
                </c:pt>
                <c:pt idx="11">
                  <c:v>143.7620118268066</c:v>
                </c:pt>
                <c:pt idx="12">
                  <c:v>137.46781193843302</c:v>
                </c:pt>
                <c:pt idx="13">
                  <c:v>131.70053545014733</c:v>
                </c:pt>
                <c:pt idx="14">
                  <c:v>126.39669107604956</c:v>
                </c:pt>
                <c:pt idx="15">
                  <c:v>121.50261350441605</c:v>
                </c:pt>
                <c:pt idx="16">
                  <c:v>116.97268757552253</c:v>
                </c:pt>
                <c:pt idx="17">
                  <c:v>112.76792028135966</c:v>
                </c:pt>
                <c:pt idx="18">
                  <c:v>108.85479087988479</c:v>
                </c:pt>
                <c:pt idx="19">
                  <c:v>105.20432282562133</c:v>
                </c:pt>
                <c:pt idx="20">
                  <c:v>101.92603018314352</c:v>
                </c:pt>
                <c:pt idx="21">
                  <c:v>100</c:v>
                </c:pt>
                <c:pt idx="22">
                  <c:v>98.143117201279821</c:v>
                </c:pt>
                <c:pt idx="23">
                  <c:v>96.351515654663615</c:v>
                </c:pt>
                <c:pt idx="24">
                  <c:v>94.621620917356921</c:v>
                </c:pt>
                <c:pt idx="25">
                  <c:v>92.95012397510753</c:v>
                </c:pt>
                <c:pt idx="26">
                  <c:v>91.333957641363099</c:v>
                </c:pt>
                <c:pt idx="27">
                  <c:v>89.770275326269683</c:v>
                </c:pt>
                <c:pt idx="28">
                  <c:v>88.256431917786387</c:v>
                </c:pt>
                <c:pt idx="29">
                  <c:v>86.789966546214842</c:v>
                </c:pt>
                <c:pt idx="30">
                  <c:v>85.269087989175659</c:v>
                </c:pt>
                <c:pt idx="31">
                  <c:v>82.921668705469671</c:v>
                </c:pt>
                <c:pt idx="32">
                  <c:v>80.661417323085814</c:v>
                </c:pt>
                <c:pt idx="33">
                  <c:v>78.485296745938484</c:v>
                </c:pt>
                <c:pt idx="34">
                  <c:v>76.390734744641122</c:v>
                </c:pt>
                <c:pt idx="35">
                  <c:v>74.375502227293524</c:v>
                </c:pt>
                <c:pt idx="36">
                  <c:v>72.4376046006997</c:v>
                </c:pt>
                <c:pt idx="37">
                  <c:v>70.575187182419057</c:v>
                </c:pt>
                <c:pt idx="38">
                  <c:v>68.786455662846336</c:v>
                </c:pt>
                <c:pt idx="39">
                  <c:v>67.06961232580589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148.98329843811183</c:v>
                </c:pt>
                <c:pt idx="1">
                  <c:v>146.6044415412187</c:v>
                </c:pt>
                <c:pt idx="2">
                  <c:v>144.45914402646292</c:v>
                </c:pt>
                <c:pt idx="3">
                  <c:v>142.51819081342614</c:v>
                </c:pt>
                <c:pt idx="4">
                  <c:v>140.75631138326406</c:v>
                </c:pt>
                <c:pt idx="5">
                  <c:v>139.15168441391782</c:v>
                </c:pt>
                <c:pt idx="6">
                  <c:v>137.68547633872907</c:v>
                </c:pt>
                <c:pt idx="7">
                  <c:v>136.34142571972723</c:v>
                </c:pt>
                <c:pt idx="8">
                  <c:v>135.10547701580825</c:v>
                </c:pt>
                <c:pt idx="9">
                  <c:v>133.96546255396572</c:v>
                </c:pt>
                <c:pt idx="10">
                  <c:v>132.53913546774606</c:v>
                </c:pt>
                <c:pt idx="11">
                  <c:v>128.04127413601572</c:v>
                </c:pt>
                <c:pt idx="12">
                  <c:v>123.93660088222435</c:v>
                </c:pt>
                <c:pt idx="13">
                  <c:v>120.17578454465649</c:v>
                </c:pt>
                <c:pt idx="14">
                  <c:v>116.71734193733845</c:v>
                </c:pt>
                <c:pt idx="15">
                  <c:v>113.52622301031626</c:v>
                </c:pt>
                <c:pt idx="16">
                  <c:v>110.57266266571139</c:v>
                </c:pt>
                <c:pt idx="17">
                  <c:v>107.8312503575599</c:v>
                </c:pt>
                <c:pt idx="18">
                  <c:v>105.28017622282704</c:v>
                </c:pt>
                <c:pt idx="19">
                  <c:v>102.90061963847212</c:v>
                </c:pt>
                <c:pt idx="20">
                  <c:v>100.80957319682567</c:v>
                </c:pt>
                <c:pt idx="21">
                  <c:v>100</c:v>
                </c:pt>
                <c:pt idx="22">
                  <c:v>99.218183516842529</c:v>
                </c:pt>
                <c:pt idx="23">
                  <c:v>98.462440294189861</c:v>
                </c:pt>
                <c:pt idx="24">
                  <c:v>97.731219277412364</c:v>
                </c:pt>
                <c:pt idx="25">
                  <c:v>97.023090313633617</c:v>
                </c:pt>
                <c:pt idx="26">
                  <c:v>96.336733742635204</c:v>
                </c:pt>
                <c:pt idx="27">
                  <c:v>95.670930968952973</c:v>
                </c:pt>
                <c:pt idx="28">
                  <c:v>95.024555918469758</c:v>
                </c:pt>
                <c:pt idx="29">
                  <c:v>94.396567291923958</c:v>
                </c:pt>
                <c:pt idx="30">
                  <c:v>93.676595981311252</c:v>
                </c:pt>
                <c:pt idx="31">
                  <c:v>92.005433264165475</c:v>
                </c:pt>
                <c:pt idx="32">
                  <c:v>90.380641374618051</c:v>
                </c:pt>
                <c:pt idx="33">
                  <c:v>88.801634917672885</c:v>
                </c:pt>
                <c:pt idx="34">
                  <c:v>87.26822790672712</c:v>
                </c:pt>
                <c:pt idx="35">
                  <c:v>85.780518610196026</c:v>
                </c:pt>
                <c:pt idx="36">
                  <c:v>84.338781689606819</c:v>
                </c:pt>
                <c:pt idx="37">
                  <c:v>82.943369750360347</c:v>
                </c:pt>
                <c:pt idx="38">
                  <c:v>81.594626558390075</c:v>
                </c:pt>
                <c:pt idx="39">
                  <c:v>80.29281391707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38.681753734150547</c:v>
                </c:pt>
                <c:pt idx="1">
                  <c:v>44.679998162628664</c:v>
                </c:pt>
                <c:pt idx="2">
                  <c:v>50.365186118044456</c:v>
                </c:pt>
                <c:pt idx="3">
                  <c:v>55.771873601313636</c:v>
                </c:pt>
                <c:pt idx="4">
                  <c:v>60.929009255636977</c:v>
                </c:pt>
                <c:pt idx="5">
                  <c:v>65.860979475229314</c:v>
                </c:pt>
                <c:pt idx="6">
                  <c:v>70.588454159566368</c:v>
                </c:pt>
                <c:pt idx="7">
                  <c:v>75.129068172101483</c:v>
                </c:pt>
                <c:pt idx="8">
                  <c:v>79.497969372912564</c:v>
                </c:pt>
                <c:pt idx="9">
                  <c:v>83.708259298102107</c:v>
                </c:pt>
                <c:pt idx="10">
                  <c:v>87.526214498568066</c:v>
                </c:pt>
                <c:pt idx="11">
                  <c:v>88.996144102412856</c:v>
                </c:pt>
                <c:pt idx="12">
                  <c:v>90.336518223326365</c:v>
                </c:pt>
                <c:pt idx="13">
                  <c:v>91.563678643307966</c:v>
                </c:pt>
                <c:pt idx="14">
                  <c:v>92.69128403967656</c:v>
                </c:pt>
                <c:pt idx="15">
                  <c:v>93.730898397782212</c:v>
                </c:pt>
                <c:pt idx="16">
                  <c:v>94.692425030068222</c:v>
                </c:pt>
                <c:pt idx="17">
                  <c:v>95.58442951851724</c:v>
                </c:pt>
                <c:pt idx="18">
                  <c:v>96.414382591060317</c:v>
                </c:pt>
                <c:pt idx="19">
                  <c:v>97.188845086142351</c:v>
                </c:pt>
                <c:pt idx="20">
                  <c:v>98.043177254368757</c:v>
                </c:pt>
                <c:pt idx="21">
                  <c:v>100</c:v>
                </c:pt>
                <c:pt idx="22">
                  <c:v>101.8818607722729</c:v>
                </c:pt>
                <c:pt idx="23">
                  <c:v>103.69250134947312</c:v>
                </c:pt>
                <c:pt idx="24">
                  <c:v>105.43539941665323</c:v>
                </c:pt>
                <c:pt idx="25">
                  <c:v>107.11379386230801</c:v>
                </c:pt>
                <c:pt idx="26">
                  <c:v>108.73070723943596</c:v>
                </c:pt>
                <c:pt idx="27">
                  <c:v>110.28896574369533</c:v>
                </c:pt>
                <c:pt idx="28">
                  <c:v>111.79121701415518</c:v>
                </c:pt>
                <c:pt idx="29">
                  <c:v>113.2399460214646</c:v>
                </c:pt>
                <c:pt idx="30">
                  <c:v>114.50387665837334</c:v>
                </c:pt>
                <c:pt idx="31">
                  <c:v>114.51052227049018</c:v>
                </c:pt>
                <c:pt idx="32">
                  <c:v>114.46201388534108</c:v>
                </c:pt>
                <c:pt idx="33">
                  <c:v>114.3638879699634</c:v>
                </c:pt>
                <c:pt idx="34">
                  <c:v>114.22191328480133</c:v>
                </c:pt>
                <c:pt idx="35">
                  <c:v>114.0419927780199</c:v>
                </c:pt>
                <c:pt idx="36">
                  <c:v>113.83005822690295</c:v>
                </c:pt>
                <c:pt idx="37">
                  <c:v>113.59196266286324</c:v>
                </c:pt>
                <c:pt idx="38">
                  <c:v>113.33337597319557</c:v>
                </c:pt>
                <c:pt idx="39">
                  <c:v>113.059688887170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7.5004197218710572E-2</c:v>
                </c:pt>
                <c:pt idx="1">
                  <c:v>8.8032307117038577E-2</c:v>
                </c:pt>
                <c:pt idx="2">
                  <c:v>0.10069852507374646</c:v>
                </c:pt>
                <c:pt idx="3">
                  <c:v>0.1130177233604074</c:v>
                </c:pt>
                <c:pt idx="4">
                  <c:v>0.12500397034202343</c:v>
                </c:pt>
                <c:pt idx="5">
                  <c:v>0.13667058407079657</c:v>
                </c:pt>
                <c:pt idx="6">
                  <c:v>0.14803018164881243</c:v>
                </c:pt>
                <c:pt idx="7">
                  <c:v>0.15909472474428241</c:v>
                </c:pt>
                <c:pt idx="8">
                  <c:v>0.16987556160653522</c:v>
                </c:pt>
                <c:pt idx="9">
                  <c:v>0.18038346588999671</c:v>
                </c:pt>
                <c:pt idx="10">
                  <c:v>0.19062867256637178</c:v>
                </c:pt>
                <c:pt idx="11">
                  <c:v>0.20062091117666347</c:v>
                </c:pt>
                <c:pt idx="12">
                  <c:v>0.21036943665011867</c:v>
                </c:pt>
                <c:pt idx="13">
                  <c:v>0.21988305789529811</c:v>
                </c:pt>
                <c:pt idx="14">
                  <c:v>0.22917016434892548</c:v>
                </c:pt>
                <c:pt idx="15">
                  <c:v>0.23823875065070288</c:v>
                </c:pt>
                <c:pt idx="16">
                  <c:v>0.24709643959662478</c:v>
                </c:pt>
                <c:pt idx="17">
                  <c:v>0.25575050350930734</c:v>
                </c:pt>
                <c:pt idx="18">
                  <c:v>0.26420788415124713</c:v>
                </c:pt>
                <c:pt idx="19">
                  <c:v>0.27247521129561503</c:v>
                </c:pt>
                <c:pt idx="20">
                  <c:v>0.28055882005899718</c:v>
                </c:pt>
                <c:pt idx="21">
                  <c:v>0.28846476709131585</c:v>
                </c:pt>
                <c:pt idx="22">
                  <c:v>0.29619884570988847</c:v>
                </c:pt>
                <c:pt idx="23">
                  <c:v>0.30376660005709405</c:v>
                </c:pt>
                <c:pt idx="24">
                  <c:v>0.3111733383543589</c:v>
                </c:pt>
                <c:pt idx="25">
                  <c:v>0.31842414531904994</c:v>
                </c:pt>
                <c:pt idx="26">
                  <c:v>0.32552389380530983</c:v>
                </c:pt>
                <c:pt idx="27">
                  <c:v>0.33247725572484266</c:v>
                </c:pt>
                <c:pt idx="28">
                  <c:v>0.33928871229907903</c:v>
                </c:pt>
                <c:pt idx="29">
                  <c:v>0.34596256368999734</c:v>
                </c:pt>
                <c:pt idx="30">
                  <c:v>0.3525029380530974</c:v>
                </c:pt>
                <c:pt idx="31">
                  <c:v>0.35891380005257162</c:v>
                </c:pt>
                <c:pt idx="32">
                  <c:v>0.36519895887558562</c:v>
                </c:pt>
                <c:pt idx="33">
                  <c:v>0.37136207577970626</c:v>
                </c:pt>
                <c:pt idx="34">
                  <c:v>0.37740667120490135</c:v>
                </c:pt>
                <c:pt idx="35">
                  <c:v>0.38333613147914036</c:v>
                </c:pt>
                <c:pt idx="36">
                  <c:v>0.38915371514443142</c:v>
                </c:pt>
                <c:pt idx="37">
                  <c:v>0.39486255892812849</c:v>
                </c:pt>
                <c:pt idx="38">
                  <c:v>0.40046568338249755</c:v>
                </c:pt>
                <c:pt idx="39">
                  <c:v>0.405965998213850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Nicolas Feuillatte Réserve Exclusive Brut 750ml (3.0%)</c:v>
                </c:pt>
                <c:pt idx="3">
                  <c:v>Champagne Malard Brut 1er Cru 750ml (4.1%)</c:v>
                </c:pt>
                <c:pt idx="4">
                  <c:v>Champagne Laurent-Perrier Blanc La Cuvée 750ml (2.7%)</c:v>
                </c:pt>
                <c:pt idx="5">
                  <c:v>Champagne Besserat de Bellefon Bleu Brut 750ml (1.7%)</c:v>
                </c:pt>
                <c:pt idx="6">
                  <c:v>Champagne Château de Bligny 750ml (1.3%)</c:v>
                </c:pt>
                <c:pt idx="7">
                  <c:v>Champagne Canard-Duchêne Blanc Cuvée Léonie Brut 750ml (2.6%)</c:v>
                </c:pt>
                <c:pt idx="8">
                  <c:v>Champagne Ruinart Brut 750ml (7.3%)</c:v>
                </c:pt>
                <c:pt idx="9">
                  <c:v>Champagne Vranken Demoiselle Rosé Prestige 750ml (2.0%)</c:v>
                </c:pt>
              </c:strCache>
            </c:strRef>
          </c:cat>
          <c:val>
            <c:numRef>
              <c:f>Sheet1!$B$2:$B$11</c:f>
              <c:numCache>
                <c:formatCode>General</c:formatCode>
                <c:ptCount val="10"/>
                <c:pt idx="0">
                  <c:v>0.23367830114147892</c:v>
                </c:pt>
                <c:pt idx="1">
                  <c:v>5.450487600148448E-2</c:v>
                </c:pt>
                <c:pt idx="2">
                  <c:v>4.8096703538835058E-2</c:v>
                </c:pt>
                <c:pt idx="3">
                  <c:v>3.8437819440593504E-2</c:v>
                </c:pt>
                <c:pt idx="4">
                  <c:v>3.8364245661756925E-2</c:v>
                </c:pt>
                <c:pt idx="5">
                  <c:v>2.9311027812777776E-2</c:v>
                </c:pt>
                <c:pt idx="6">
                  <c:v>2.8636429515109921E-2</c:v>
                </c:pt>
                <c:pt idx="7">
                  <c:v>2.8025589075887886E-2</c:v>
                </c:pt>
                <c:pt idx="8">
                  <c:v>2.7900629942231431E-2</c:v>
                </c:pt>
                <c:pt idx="9">
                  <c:v>2.002984495427017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Heidsieck Monopole Silver Top 750ml (4.2%)</c:v>
                </c:pt>
                <c:pt idx="3">
                  <c:v>Champagne Nicolas Feuillatte Réserve Exclusive Brut 750ml (3.0%)</c:v>
                </c:pt>
                <c:pt idx="4">
                  <c:v>Champagne Ruinart Brut 750ml (7.3%)</c:v>
                </c:pt>
                <c:pt idx="5">
                  <c:v>Champagne Besserat de Bellefon Bleu Brut 750ml (1.7%)</c:v>
                </c:pt>
                <c:pt idx="6">
                  <c:v>Champagne Château de Bligny 750ml (1.3%)</c:v>
                </c:pt>
                <c:pt idx="7">
                  <c:v>Champagne Malard Brut 1er Cru 750ml (4.1%)</c:v>
                </c:pt>
                <c:pt idx="8">
                  <c:v>Champagne Deutz Brut Classique 750ml (3.4%)</c:v>
                </c:pt>
                <c:pt idx="9">
                  <c:v>Champagne Canard-Duchêne Blanc Cuvée Léonie Brut 750ml (2.6%)</c:v>
                </c:pt>
              </c:strCache>
            </c:strRef>
          </c:cat>
          <c:val>
            <c:numRef>
              <c:f>Sheet1!$B$2:$B$11</c:f>
              <c:numCache>
                <c:formatCode>General</c:formatCode>
                <c:ptCount val="10"/>
                <c:pt idx="0">
                  <c:v>0.23868897133556408</c:v>
                </c:pt>
                <c:pt idx="1">
                  <c:v>4.450414166266526E-2</c:v>
                </c:pt>
                <c:pt idx="2">
                  <c:v>4.2575902169417611E-2</c:v>
                </c:pt>
                <c:pt idx="3">
                  <c:v>3.9748217452100859E-2</c:v>
                </c:pt>
                <c:pt idx="4">
                  <c:v>3.9396114529626214E-2</c:v>
                </c:pt>
                <c:pt idx="5">
                  <c:v>3.2562114991004983E-2</c:v>
                </c:pt>
                <c:pt idx="6">
                  <c:v>3.1837226590697154E-2</c:v>
                </c:pt>
                <c:pt idx="7">
                  <c:v>2.8404644189163889E-2</c:v>
                </c:pt>
                <c:pt idx="8">
                  <c:v>2.8379907459664202E-2</c:v>
                </c:pt>
                <c:pt idx="9">
                  <c:v>2.151449864274700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Heidsieck &amp; C° Monopole (4.2%)</c:v>
                </c:pt>
                <c:pt idx="7">
                  <c:v>Ruinart (12.8%)</c:v>
                </c:pt>
                <c:pt idx="8">
                  <c:v>Bouvet Ladubay (1.5%)</c:v>
                </c:pt>
                <c:pt idx="9">
                  <c:v>Malard (6.0%)</c:v>
                </c:pt>
              </c:strCache>
            </c:strRef>
          </c:cat>
          <c:val>
            <c:numRef>
              <c:f>Sheet1!$B$2:$B$11</c:f>
              <c:numCache>
                <c:formatCode>General</c:formatCode>
                <c:ptCount val="10"/>
                <c:pt idx="0">
                  <c:v>0.37111797952958459</c:v>
                </c:pt>
                <c:pt idx="1">
                  <c:v>0.15361714291129308</c:v>
                </c:pt>
                <c:pt idx="2">
                  <c:v>8.4195174853881879E-2</c:v>
                </c:pt>
                <c:pt idx="3">
                  <c:v>3.3755411982208508E-2</c:v>
                </c:pt>
                <c:pt idx="4">
                  <c:v>3.1693480633741285E-2</c:v>
                </c:pt>
                <c:pt idx="5">
                  <c:v>2.9318836772355431E-2</c:v>
                </c:pt>
                <c:pt idx="6">
                  <c:v>2.8248682066472214E-2</c:v>
                </c:pt>
                <c:pt idx="7">
                  <c:v>2.5050511996632677E-2</c:v>
                </c:pt>
                <c:pt idx="8">
                  <c:v>2.3072672790246829E-2</c:v>
                </c:pt>
                <c:pt idx="9">
                  <c:v>2.105391682572193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B$2:$B$21</c:f>
              <c:numCache>
                <c:formatCode>General</c:formatCode>
                <c:ptCount val="20"/>
                <c:pt idx="0">
                  <c:v>133.15832879653252</c:v>
                </c:pt>
                <c:pt idx="1">
                  <c:v>129.27834660780485</c:v>
                </c:pt>
                <c:pt idx="2">
                  <c:v>125.54781312715116</c:v>
                </c:pt>
                <c:pt idx="3">
                  <c:v>121.96033562435133</c:v>
                </c:pt>
                <c:pt idx="4">
                  <c:v>118.50975903523123</c:v>
                </c:pt>
                <c:pt idx="5">
                  <c:v>115.1901561018261</c:v>
                </c:pt>
                <c:pt idx="6">
                  <c:v>111.99581967427702</c:v>
                </c:pt>
                <c:pt idx="7">
                  <c:v>108.92125682640845</c:v>
                </c:pt>
                <c:pt idx="8">
                  <c:v>105.96118437381517</c:v>
                </c:pt>
                <c:pt idx="9">
                  <c:v>103.11052537075436</c:v>
                </c:pt>
                <c:pt idx="10">
                  <c:v>100</c:v>
                </c:pt>
                <c:pt idx="11">
                  <c:v>93.956067894000228</c:v>
                </c:pt>
                <c:pt idx="12">
                  <c:v>88.419857839417574</c:v>
                </c:pt>
                <c:pt idx="13">
                  <c:v>83.340445518551547</c:v>
                </c:pt>
                <c:pt idx="14">
                  <c:v>78.672183857438654</c:v>
                </c:pt>
                <c:pt idx="15">
                  <c:v>74.374220918540146</c:v>
                </c:pt>
                <c:pt idx="16">
                  <c:v>70.410052083934175</c:v>
                </c:pt>
                <c:pt idx="17">
                  <c:v>66.74710202962811</c:v>
                </c:pt>
                <c:pt idx="18">
                  <c:v>63.356333612050101</c:v>
                </c:pt>
                <c:pt idx="19">
                  <c:v>60.2118826735689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C$2:$C$21</c:f>
              <c:numCache>
                <c:formatCode>General</c:formatCode>
                <c:ptCount val="20"/>
                <c:pt idx="0">
                  <c:v>106.72244123942517</c:v>
                </c:pt>
                <c:pt idx="1">
                  <c:v>106.17908458192066</c:v>
                </c:pt>
                <c:pt idx="2">
                  <c:v>105.60739552865108</c:v>
                </c:pt>
                <c:pt idx="3">
                  <c:v>105.01078979283469</c:v>
                </c:pt>
                <c:pt idx="4">
                  <c:v>104.3923805671005</c:v>
                </c:pt>
                <c:pt idx="5">
                  <c:v>103.75499393685116</c:v>
                </c:pt>
                <c:pt idx="6">
                  <c:v>103.10118500765799</c:v>
                </c:pt>
                <c:pt idx="7">
                  <c:v>102.43325473162434</c:v>
                </c:pt>
                <c:pt idx="8">
                  <c:v>101.75326730084349</c:v>
                </c:pt>
                <c:pt idx="9">
                  <c:v>101.06306789762509</c:v>
                </c:pt>
                <c:pt idx="10">
                  <c:v>100</c:v>
                </c:pt>
                <c:pt idx="11">
                  <c:v>95.823045884503159</c:v>
                </c:pt>
                <c:pt idx="12">
                  <c:v>91.934386543671437</c:v>
                </c:pt>
                <c:pt idx="13">
                  <c:v>88.310175687412766</c:v>
                </c:pt>
                <c:pt idx="14">
                  <c:v>84.928249779115575</c:v>
                </c:pt>
                <c:pt idx="15">
                  <c:v>81.768115229455546</c:v>
                </c:pt>
                <c:pt idx="16">
                  <c:v>78.810917903252445</c:v>
                </c:pt>
                <c:pt idx="17">
                  <c:v>76.039394332017437</c:v>
                </c:pt>
                <c:pt idx="18">
                  <c:v>73.437805226787546</c:v>
                </c:pt>
                <c:pt idx="19">
                  <c:v>70.9918536835730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D$2:$D$21</c:f>
              <c:numCache>
                <c:formatCode>General</c:formatCode>
                <c:ptCount val="20"/>
                <c:pt idx="0">
                  <c:v>29.298750533508201</c:v>
                </c:pt>
                <c:pt idx="1">
                  <c:v>38.528370915562661</c:v>
                </c:pt>
                <c:pt idx="2">
                  <c:v>47.208933142226307</c:v>
                </c:pt>
                <c:pt idx="3">
                  <c:v>55.372504460730454</c:v>
                </c:pt>
                <c:pt idx="4">
                  <c:v>63.049284104252919</c:v>
                </c:pt>
                <c:pt idx="5">
                  <c:v>70.267689963533968</c:v>
                </c:pt>
                <c:pt idx="6">
                  <c:v>77.054442131560236</c:v>
                </c:pt>
                <c:pt idx="7">
                  <c:v>83.434644234968516</c:v>
                </c:pt>
                <c:pt idx="8">
                  <c:v>89.431863195369061</c:v>
                </c:pt>
                <c:pt idx="9">
                  <c:v>95.068207795674965</c:v>
                </c:pt>
                <c:pt idx="10">
                  <c:v>100</c:v>
                </c:pt>
                <c:pt idx="11">
                  <c:v>101.2843647229831</c:v>
                </c:pt>
                <c:pt idx="12">
                  <c:v>102.21283530958472</c:v>
                </c:pt>
                <c:pt idx="13">
                  <c:v>102.84137407939724</c:v>
                </c:pt>
                <c:pt idx="14">
                  <c:v>103.21697924594142</c:v>
                </c:pt>
                <c:pt idx="15">
                  <c:v>103.37907284201107</c:v>
                </c:pt>
                <c:pt idx="16">
                  <c:v>103.36071336516255</c:v>
                </c:pt>
                <c:pt idx="17">
                  <c:v>103.18964490930196</c:v>
                </c:pt>
                <c:pt idx="18">
                  <c:v>102.88919437237726</c:v>
                </c:pt>
                <c:pt idx="19">
                  <c:v>102.479029743352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E$2:$E$21</c:f>
              <c:numCache>
                <c:formatCode>General</c:formatCode>
                <c:ptCount val="20"/>
                <c:pt idx="0">
                  <c:v>7.0524912154248193E-2</c:v>
                </c:pt>
                <c:pt idx="1">
                  <c:v>9.3195036248047147E-2</c:v>
                </c:pt>
                <c:pt idx="2">
                  <c:v>0.11478563062309359</c:v>
                </c:pt>
                <c:pt idx="3">
                  <c:v>0.13537201130627749</c:v>
                </c:pt>
                <c:pt idx="4">
                  <c:v>0.15502264741295288</c:v>
                </c:pt>
                <c:pt idx="5">
                  <c:v>0.17379992191488727</c:v>
                </c:pt>
                <c:pt idx="6">
                  <c:v>0.19176079317760705</c:v>
                </c:pt>
                <c:pt idx="7">
                  <c:v>0.2089573720461686</c:v>
                </c:pt>
                <c:pt idx="8">
                  <c:v>0.22543742679520679</c:v>
                </c:pt>
                <c:pt idx="9">
                  <c:v>0.24124482624836582</c:v>
                </c:pt>
                <c:pt idx="10">
                  <c:v>0.25641992972339867</c:v>
                </c:pt>
                <c:pt idx="11">
                  <c:v>0.27099993110137111</c:v>
                </c:pt>
                <c:pt idx="12">
                  <c:v>0.28501916319557552</c:v>
                </c:pt>
                <c:pt idx="13">
                  <c:v>0.2985093676635836</c:v>
                </c:pt>
                <c:pt idx="14">
                  <c:v>0.3114999349290728</c:v>
                </c:pt>
                <c:pt idx="15">
                  <c:v>0.32401811793036239</c:v>
                </c:pt>
                <c:pt idx="16">
                  <c:v>0.33608922296732008</c:v>
                </c:pt>
                <c:pt idx="17">
                  <c:v>0.34773678045912149</c:v>
                </c:pt>
                <c:pt idx="18">
                  <c:v>0.35898269803741256</c:v>
                </c:pt>
                <c:pt idx="19">
                  <c:v>0.369847398070676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2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Rosé 750ml (1.1%)</c:v>
                </c:pt>
                <c:pt idx="7">
                  <c:v>Champagne Vranken Demoiselle Rosé Prestige 750ml (2.0%)</c:v>
                </c:pt>
                <c:pt idx="8">
                  <c:v>Prosecco Bottega 750ml (2.6%)</c:v>
                </c:pt>
                <c:pt idx="9">
                  <c:v>Crémant de Bourgogne Patriarche Brut 750ml (1.8%)</c:v>
                </c:pt>
              </c:strCache>
            </c:strRef>
          </c:cat>
          <c:val>
            <c:numRef>
              <c:f>Sheet1!$B$2:$B$11</c:f>
              <c:numCache>
                <c:formatCode>General</c:formatCode>
                <c:ptCount val="10"/>
                <c:pt idx="0">
                  <c:v>0.24147953485670545</c:v>
                </c:pt>
                <c:pt idx="1">
                  <c:v>8.7311687189002549E-2</c:v>
                </c:pt>
                <c:pt idx="2">
                  <c:v>3.8875432681219964E-2</c:v>
                </c:pt>
                <c:pt idx="3">
                  <c:v>3.4541802130282989E-2</c:v>
                </c:pt>
                <c:pt idx="4">
                  <c:v>3.3334357931570045E-2</c:v>
                </c:pt>
                <c:pt idx="5">
                  <c:v>2.8611357939215792E-2</c:v>
                </c:pt>
                <c:pt idx="6">
                  <c:v>2.8512218711601766E-2</c:v>
                </c:pt>
                <c:pt idx="7">
                  <c:v>2.8064864027778792E-2</c:v>
                </c:pt>
                <c:pt idx="8">
                  <c:v>2.613240759088763E-2</c:v>
                </c:pt>
                <c:pt idx="9">
                  <c:v>2.59378285675569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750ml (2.6%)</c:v>
                </c:pt>
                <c:pt idx="7">
                  <c:v>Crémant de Bourgogne Patriarche Brut 750ml (1.8%)</c:v>
                </c:pt>
                <c:pt idx="8">
                  <c:v>Champagne Vranken Demoiselle Rosé Prestige 750ml (2.0%)</c:v>
                </c:pt>
                <c:pt idx="9">
                  <c:v>Prosecco Bottega Rosé 750ml (1.1%)</c:v>
                </c:pt>
              </c:strCache>
            </c:strRef>
          </c:cat>
          <c:val>
            <c:numRef>
              <c:f>Sheet1!$B$2:$B$11</c:f>
              <c:numCache>
                <c:formatCode>General</c:formatCode>
                <c:ptCount val="10"/>
                <c:pt idx="0">
                  <c:v>0.31400151372680113</c:v>
                </c:pt>
                <c:pt idx="1">
                  <c:v>6.7787076354207859E-2</c:v>
                </c:pt>
                <c:pt idx="2">
                  <c:v>4.9634476155732542E-2</c:v>
                </c:pt>
                <c:pt idx="3">
                  <c:v>2.7990801106574821E-2</c:v>
                </c:pt>
                <c:pt idx="4">
                  <c:v>2.7626977437554046E-2</c:v>
                </c:pt>
                <c:pt idx="5">
                  <c:v>2.5740614590535456E-2</c:v>
                </c:pt>
                <c:pt idx="6">
                  <c:v>2.5251290930966269E-2</c:v>
                </c:pt>
                <c:pt idx="7">
                  <c:v>2.2973514473299528E-2</c:v>
                </c:pt>
                <c:pt idx="8">
                  <c:v>2.2756421584359483E-2</c:v>
                </c:pt>
                <c:pt idx="9">
                  <c:v>2.271901203945170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et Rosé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6.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0000000000003</c:v>
                </c:pt>
                <c:pt idx="1">
                  <c:v>39.950000000000003</c:v>
                </c:pt>
                <c:pt idx="2">
                  <c:v>44.95</c:v>
                </c:pt>
                <c:pt idx="3">
                  <c:v>49.95</c:v>
                </c:pt>
                <c:pt idx="4">
                  <c:v>54.95</c:v>
                </c:pt>
              </c:numCache>
            </c:numRef>
          </c:xVal>
          <c:yVal>
            <c:numRef>
              <c:f>Sheet1!$B$2:$B$6</c:f>
              <c:numCache>
                <c:formatCode>General</c:formatCode>
                <c:ptCount val="5"/>
                <c:pt idx="0">
                  <c:v>1.2867623927219034</c:v>
                </c:pt>
                <c:pt idx="1">
                  <c:v>0.71349543163917473</c:v>
                </c:pt>
                <c:pt idx="2">
                  <c:v>0</c:v>
                </c:pt>
                <c:pt idx="3">
                  <c:v>-0.19503853143323185</c:v>
                </c:pt>
                <c:pt idx="4">
                  <c:v>-0.336453687137205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Brut et Rosé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c:v>
                </c:pt>
                <c:pt idx="1">
                  <c:v>65</c:v>
                </c:pt>
                <c:pt idx="2">
                  <c:v>69</c:v>
                </c:pt>
                <c:pt idx="3">
                  <c:v>75</c:v>
                </c:pt>
                <c:pt idx="4">
                  <c:v>79</c:v>
                </c:pt>
              </c:numCache>
            </c:numRef>
          </c:xVal>
          <c:yVal>
            <c:numRef>
              <c:f>Sheet1!$B$9:$B$13</c:f>
              <c:numCache>
                <c:formatCode>General</c:formatCode>
                <c:ptCount val="5"/>
                <c:pt idx="0">
                  <c:v>0.48869312286395444</c:v>
                </c:pt>
                <c:pt idx="1">
                  <c:v>0.15845551395274607</c:v>
                </c:pt>
                <c:pt idx="2">
                  <c:v>0</c:v>
                </c:pt>
                <c:pt idx="3">
                  <c:v>-0.2637915540774039</c:v>
                </c:pt>
                <c:pt idx="4">
                  <c:v>-0.3322179697411620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et Rosé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19</c:v>
                </c:pt>
                <c:pt idx="1">
                  <c:v>129</c:v>
                </c:pt>
                <c:pt idx="2">
                  <c:v>139</c:v>
                </c:pt>
                <c:pt idx="3">
                  <c:v>149</c:v>
                </c:pt>
                <c:pt idx="4">
                  <c:v>159</c:v>
                </c:pt>
              </c:numCache>
            </c:numRef>
          </c:xVal>
          <c:yVal>
            <c:numRef>
              <c:f>Sheet1!$B$16:$B$20</c:f>
              <c:numCache>
                <c:formatCode>General</c:formatCode>
                <c:ptCount val="5"/>
                <c:pt idx="0">
                  <c:v>0.23003938630522694</c:v>
                </c:pt>
                <c:pt idx="1">
                  <c:v>9.1315084411618425E-2</c:v>
                </c:pt>
                <c:pt idx="2">
                  <c:v>0</c:v>
                </c:pt>
                <c:pt idx="3">
                  <c:v>-7.9620440858678088E-2</c:v>
                </c:pt>
                <c:pt idx="4">
                  <c:v>-0.249621622251351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
          <c:min val="34.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21.1486352372163</c:v>
                </c:pt>
                <c:pt idx="1">
                  <c:v>214.20658573330184</c:v>
                </c:pt>
                <c:pt idx="2">
                  <c:v>207.67991411323368</c:v>
                </c:pt>
                <c:pt idx="3">
                  <c:v>201.53339865030651</c:v>
                </c:pt>
                <c:pt idx="4">
                  <c:v>195.73445345873409</c:v>
                </c:pt>
                <c:pt idx="5">
                  <c:v>190.25346087289051</c:v>
                </c:pt>
                <c:pt idx="6">
                  <c:v>185.06380231086806</c:v>
                </c:pt>
                <c:pt idx="7">
                  <c:v>180.14170668971622</c:v>
                </c:pt>
                <c:pt idx="8">
                  <c:v>175.46600488963111</c:v>
                </c:pt>
                <c:pt idx="9">
                  <c:v>171.0178493877952</c:v>
                </c:pt>
                <c:pt idx="10">
                  <c:v>161.54398634164906</c:v>
                </c:pt>
                <c:pt idx="11">
                  <c:v>152.24481345596948</c:v>
                </c:pt>
                <c:pt idx="12">
                  <c:v>143.67532354594374</c:v>
                </c:pt>
                <c:pt idx="13">
                  <c:v>135.78307764863607</c:v>
                </c:pt>
                <c:pt idx="14">
                  <c:v>128.51893675309535</c:v>
                </c:pt>
                <c:pt idx="15">
                  <c:v>121.83550510529442</c:v>
                </c:pt>
                <c:pt idx="16">
                  <c:v>115.68640496201697</c:v>
                </c:pt>
                <c:pt idx="17">
                  <c:v>110.02629097802266</c:v>
                </c:pt>
                <c:pt idx="18">
                  <c:v>104.81135213486435</c:v>
                </c:pt>
                <c:pt idx="19">
                  <c:v>100</c:v>
                </c:pt>
                <c:pt idx="20">
                  <c:v>97.452243285805153</c:v>
                </c:pt>
                <c:pt idx="21">
                  <c:v>95.223937051386187</c:v>
                </c:pt>
                <c:pt idx="22">
                  <c:v>93.086403486593611</c:v>
                </c:pt>
                <c:pt idx="23">
                  <c:v>91.034821858627112</c:v>
                </c:pt>
                <c:pt idx="24">
                  <c:v>89.06464665516539</c:v>
                </c:pt>
                <c:pt idx="25">
                  <c:v>87.171596281460978</c:v>
                </c:pt>
                <c:pt idx="26">
                  <c:v>85.351640503573279</c:v>
                </c:pt>
                <c:pt idx="27">
                  <c:v>83.600987204303351</c:v>
                </c:pt>
                <c:pt idx="28">
                  <c:v>81.916068945435427</c:v>
                </c:pt>
                <c:pt idx="29">
                  <c:v>80.293529720191373</c:v>
                </c:pt>
                <c:pt idx="30">
                  <c:v>78.640793097550414</c:v>
                </c:pt>
                <c:pt idx="31">
                  <c:v>77.041186194123426</c:v>
                </c:pt>
                <c:pt idx="32">
                  <c:v>75.501750870802567</c:v>
                </c:pt>
                <c:pt idx="33">
                  <c:v>74.019438015625255</c:v>
                </c:pt>
                <c:pt idx="34">
                  <c:v>72.591398654628279</c:v>
                </c:pt>
                <c:pt idx="35">
                  <c:v>71.214965698237194</c:v>
                </c:pt>
                <c:pt idx="36">
                  <c:v>69.887637611801296</c:v>
                </c:pt>
                <c:pt idx="37">
                  <c:v>68.607063846936455</c:v>
                </c:pt>
                <c:pt idx="38">
                  <c:v>67.371031881668472</c:v>
                </c:pt>
                <c:pt idx="39">
                  <c:v>66.1774557234079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176.06302674982152</c:v>
                </c:pt>
                <c:pt idx="1">
                  <c:v>172.83187739178001</c:v>
                </c:pt>
                <c:pt idx="2">
                  <c:v>169.7946656740186</c:v>
                </c:pt>
                <c:pt idx="3">
                  <c:v>166.93503000358012</c:v>
                </c:pt>
                <c:pt idx="4">
                  <c:v>164.23739472723443</c:v>
                </c:pt>
                <c:pt idx="5">
                  <c:v>161.68738380994003</c:v>
                </c:pt>
                <c:pt idx="6">
                  <c:v>159.27199586484821</c:v>
                </c:pt>
                <c:pt idx="7">
                  <c:v>156.97962270904441</c:v>
                </c:pt>
                <c:pt idx="8">
                  <c:v>154.79997636612964</c:v>
                </c:pt>
                <c:pt idx="9">
                  <c:v>152.72397045418785</c:v>
                </c:pt>
                <c:pt idx="10">
                  <c:v>145.97432467772379</c:v>
                </c:pt>
                <c:pt idx="11">
                  <c:v>139.18512428593971</c:v>
                </c:pt>
                <c:pt idx="12">
                  <c:v>132.8783479588547</c:v>
                </c:pt>
                <c:pt idx="13">
                  <c:v>127.02701218980879</c:v>
                </c:pt>
                <c:pt idx="14">
                  <c:v>121.60525040396755</c:v>
                </c:pt>
                <c:pt idx="15">
                  <c:v>116.58696285105499</c:v>
                </c:pt>
                <c:pt idx="16">
                  <c:v>111.94517660186341</c:v>
                </c:pt>
                <c:pt idx="17">
                  <c:v>107.652086583843</c:v>
                </c:pt>
                <c:pt idx="18">
                  <c:v>103.67958296655661</c:v>
                </c:pt>
                <c:pt idx="19">
                  <c:v>100</c:v>
                </c:pt>
                <c:pt idx="20">
                  <c:v>98.514227314180374</c:v>
                </c:pt>
                <c:pt idx="21">
                  <c:v>97.300662430761363</c:v>
                </c:pt>
                <c:pt idx="22">
                  <c:v>96.132575221696143</c:v>
                </c:pt>
                <c:pt idx="23">
                  <c:v>95.007865284119262</c:v>
                </c:pt>
                <c:pt idx="24">
                  <c:v>93.924516257615494</c:v>
                </c:pt>
                <c:pt idx="25">
                  <c:v>92.880598367380458</c:v>
                </c:pt>
                <c:pt idx="26">
                  <c:v>91.874268916902679</c:v>
                </c:pt>
                <c:pt idx="27">
                  <c:v>90.903771248389091</c:v>
                </c:pt>
                <c:pt idx="28">
                  <c:v>89.967432658130505</c:v>
                </c:pt>
                <c:pt idx="29">
                  <c:v>89.063661675213993</c:v>
                </c:pt>
                <c:pt idx="30">
                  <c:v>88.08894695324075</c:v>
                </c:pt>
                <c:pt idx="31">
                  <c:v>87.138325844855615</c:v>
                </c:pt>
                <c:pt idx="32">
                  <c:v>86.221760968320538</c:v>
                </c:pt>
                <c:pt idx="33">
                  <c:v>85.337678838444262</c:v>
                </c:pt>
                <c:pt idx="34">
                  <c:v>84.48460877247102</c:v>
                </c:pt>
                <c:pt idx="35">
                  <c:v>83.661172015721021</c:v>
                </c:pt>
                <c:pt idx="36">
                  <c:v>82.866071999757082</c:v>
                </c:pt>
                <c:pt idx="37">
                  <c:v>82.098085678185399</c:v>
                </c:pt>
                <c:pt idx="38">
                  <c:v>81.356055885542276</c:v>
                </c:pt>
                <c:pt idx="39">
                  <c:v>80.6388846595658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04.17135045138359</c:v>
                </c:pt>
                <c:pt idx="1">
                  <c:v>106.86475546605709</c:v>
                </c:pt>
                <c:pt idx="2">
                  <c:v>109.39042246721546</c:v>
                </c:pt>
                <c:pt idx="3">
                  <c:v>111.76351061008091</c:v>
                </c:pt>
                <c:pt idx="4">
                  <c:v>113.99679193643412</c:v>
                </c:pt>
                <c:pt idx="5">
                  <c:v>116.10122111174161</c:v>
                </c:pt>
                <c:pt idx="6">
                  <c:v>118.08636828967406</c:v>
                </c:pt>
                <c:pt idx="7">
                  <c:v>119.96073563524521</c:v>
                </c:pt>
                <c:pt idx="8">
                  <c:v>121.7319833477062</c:v>
                </c:pt>
                <c:pt idx="9">
                  <c:v>123.40708953595896</c:v>
                </c:pt>
                <c:pt idx="10">
                  <c:v>121.06804321595743</c:v>
                </c:pt>
                <c:pt idx="11">
                  <c:v>118.33728261945056</c:v>
                </c:pt>
                <c:pt idx="12">
                  <c:v>115.67623488164503</c:v>
                </c:pt>
                <c:pt idx="13">
                  <c:v>113.10216267391952</c:v>
                </c:pt>
                <c:pt idx="14">
                  <c:v>110.62932974403419</c:v>
                </c:pt>
                <c:pt idx="15">
                  <c:v>108.26807691984951</c:v>
                </c:pt>
                <c:pt idx="16">
                  <c:v>106.02440009325159</c:v>
                </c:pt>
                <c:pt idx="17">
                  <c:v>103.9001055115403</c:v>
                </c:pt>
                <c:pt idx="18">
                  <c:v>101.89344144068659</c:v>
                </c:pt>
                <c:pt idx="19">
                  <c:v>100</c:v>
                </c:pt>
                <c:pt idx="20">
                  <c:v>100.16527901202457</c:v>
                </c:pt>
                <c:pt idx="21">
                  <c:v>100.52593800079524</c:v>
                </c:pt>
                <c:pt idx="22">
                  <c:v>100.86088039248946</c:v>
                </c:pt>
                <c:pt idx="23">
                  <c:v>101.17232986070135</c:v>
                </c:pt>
                <c:pt idx="24">
                  <c:v>101.46228677977078</c:v>
                </c:pt>
                <c:pt idx="25">
                  <c:v>101.73255334406586</c:v>
                </c:pt>
                <c:pt idx="26">
                  <c:v>101.98475530104017</c:v>
                </c:pt>
                <c:pt idx="27">
                  <c:v>102.22036074646441</c:v>
                </c:pt>
                <c:pt idx="28">
                  <c:v>102.44069646517147</c:v>
                </c:pt>
                <c:pt idx="29">
                  <c:v>102.64696227035597</c:v>
                </c:pt>
                <c:pt idx="30">
                  <c:v>102.72344131784703</c:v>
                </c:pt>
                <c:pt idx="31">
                  <c:v>102.77877623670364</c:v>
                </c:pt>
                <c:pt idx="32">
                  <c:v>102.82699478284134</c:v>
                </c:pt>
                <c:pt idx="33">
                  <c:v>102.8688849036751</c:v>
                </c:pt>
                <c:pt idx="34">
                  <c:v>102.9051787164162</c:v>
                </c:pt>
                <c:pt idx="35">
                  <c:v>102.9365539825299</c:v>
                </c:pt>
                <c:pt idx="36">
                  <c:v>102.96363536794327</c:v>
                </c:pt>
                <c:pt idx="37">
                  <c:v>102.98699561878651</c:v>
                </c:pt>
                <c:pt idx="38">
                  <c:v>103.00715676339726</c:v>
                </c:pt>
                <c:pt idx="39">
                  <c:v>103.0245914268644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23898305084745761</c:v>
                </c:pt>
                <c:pt idx="1">
                  <c:v>0.24958217270194999</c:v>
                </c:pt>
                <c:pt idx="2">
                  <c:v>0.2598901098901098</c:v>
                </c:pt>
                <c:pt idx="3">
                  <c:v>0.26991869918699196</c:v>
                </c:pt>
                <c:pt idx="4">
                  <c:v>0.27967914438502672</c:v>
                </c:pt>
                <c:pt idx="5">
                  <c:v>0.28918205804749347</c:v>
                </c:pt>
                <c:pt idx="6">
                  <c:v>0.29843749999999991</c:v>
                </c:pt>
                <c:pt idx="7">
                  <c:v>0.30745501285347038</c:v>
                </c:pt>
                <c:pt idx="8">
                  <c:v>0.31624365482233502</c:v>
                </c:pt>
                <c:pt idx="9">
                  <c:v>0.32481203007518794</c:v>
                </c:pt>
                <c:pt idx="10">
                  <c:v>0.33316831683168319</c:v>
                </c:pt>
                <c:pt idx="11">
                  <c:v>0.34132029339853293</c:v>
                </c:pt>
                <c:pt idx="12">
                  <c:v>0.34927536231884049</c:v>
                </c:pt>
                <c:pt idx="13">
                  <c:v>0.35704057279236273</c:v>
                </c:pt>
                <c:pt idx="14">
                  <c:v>0.36462264150943402</c:v>
                </c:pt>
                <c:pt idx="15">
                  <c:v>0.372027972027972</c:v>
                </c:pt>
                <c:pt idx="16">
                  <c:v>0.37926267281105991</c:v>
                </c:pt>
                <c:pt idx="17">
                  <c:v>0.3863325740318907</c:v>
                </c:pt>
                <c:pt idx="18">
                  <c:v>0.39324324324324328</c:v>
                </c:pt>
                <c:pt idx="19">
                  <c:v>0.4</c:v>
                </c:pt>
                <c:pt idx="20">
                  <c:v>0.40660792951541858</c:v>
                </c:pt>
                <c:pt idx="21">
                  <c:v>0.41307189542483663</c:v>
                </c:pt>
                <c:pt idx="22">
                  <c:v>0.41939655172413803</c:v>
                </c:pt>
                <c:pt idx="23">
                  <c:v>0.42558635394456296</c:v>
                </c:pt>
                <c:pt idx="24">
                  <c:v>0.4316455696202533</c:v>
                </c:pt>
                <c:pt idx="25">
                  <c:v>0.43757828810020877</c:v>
                </c:pt>
                <c:pt idx="26">
                  <c:v>0.44338842975206616</c:v>
                </c:pt>
                <c:pt idx="27">
                  <c:v>0.44907975460122712</c:v>
                </c:pt>
                <c:pt idx="28">
                  <c:v>0.45465587044534422</c:v>
                </c:pt>
                <c:pt idx="29">
                  <c:v>0.46012024048096195</c:v>
                </c:pt>
                <c:pt idx="30">
                  <c:v>0.46547619047619049</c:v>
                </c:pt>
                <c:pt idx="31">
                  <c:v>0.47072691552062879</c:v>
                </c:pt>
                <c:pt idx="32">
                  <c:v>0.47587548638132304</c:v>
                </c:pt>
                <c:pt idx="33">
                  <c:v>0.48092485549132946</c:v>
                </c:pt>
                <c:pt idx="34">
                  <c:v>0.48587786259541993</c:v>
                </c:pt>
                <c:pt idx="35">
                  <c:v>0.49073724007561437</c:v>
                </c:pt>
                <c:pt idx="36">
                  <c:v>0.49550561797752812</c:v>
                </c:pt>
                <c:pt idx="37">
                  <c:v>0.50018552875695732</c:v>
                </c:pt>
                <c:pt idx="38">
                  <c:v>0.50477941176470587</c:v>
                </c:pt>
                <c:pt idx="39">
                  <c:v>0.509289617486338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Nicolas Feuillatte Réserve Exclusive Brut 750ml (3.0%)</c:v>
                </c:pt>
                <c:pt idx="5">
                  <c:v>Champagne Laurent-Perrier Blanc La Cuvée 750ml (2.7%)</c:v>
                </c:pt>
                <c:pt idx="6">
                  <c:v>Champagne E.Nicolas Rosé 750ml (0.9%)</c:v>
                </c:pt>
                <c:pt idx="7">
                  <c:v>Champagne Vranken Demoiselle Rosé Prestige 750ml (2.0%)</c:v>
                </c:pt>
                <c:pt idx="8">
                  <c:v>Champagne Canard-Duchêne Blanc Cuvée Léonie Brut 750ml (2.6%)</c:v>
                </c:pt>
                <c:pt idx="9">
                  <c:v>Champagne Vranken Demoiselle Tête de Cuvée 750ml (1.4%)</c:v>
                </c:pt>
              </c:strCache>
            </c:strRef>
          </c:cat>
          <c:val>
            <c:numRef>
              <c:f>Sheet1!$B$2:$B$11</c:f>
              <c:numCache>
                <c:formatCode>General</c:formatCode>
                <c:ptCount val="10"/>
                <c:pt idx="0">
                  <c:v>0.23278067202532668</c:v>
                </c:pt>
                <c:pt idx="1">
                  <c:v>5.9190576330851292E-2</c:v>
                </c:pt>
                <c:pt idx="2">
                  <c:v>4.5810017418675027E-2</c:v>
                </c:pt>
                <c:pt idx="3">
                  <c:v>4.1011532814625801E-2</c:v>
                </c:pt>
                <c:pt idx="4">
                  <c:v>4.0539930857054915E-2</c:v>
                </c:pt>
                <c:pt idx="5">
                  <c:v>3.3100326420441348E-2</c:v>
                </c:pt>
                <c:pt idx="6">
                  <c:v>3.1084012211234521E-2</c:v>
                </c:pt>
                <c:pt idx="7">
                  <c:v>2.8289706050941874E-2</c:v>
                </c:pt>
                <c:pt idx="8">
                  <c:v>2.7087711332749603E-2</c:v>
                </c:pt>
                <c:pt idx="9">
                  <c:v>2.42219167121886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Malard Brut 1er Cru 750ml (4.1%)</c:v>
                </c:pt>
                <c:pt idx="3">
                  <c:v>Champagne Nicolas Feuillatte Réserve Exclusive Brut 750ml (3.0%)</c:v>
                </c:pt>
                <c:pt idx="4">
                  <c:v>Champagne Heidsieck Monopole Silver Top 750ml (4.2%)</c:v>
                </c:pt>
                <c:pt idx="5">
                  <c:v>Prosecco Carlo V Cuvée Del Imperator 750ml (5.4%)</c:v>
                </c:pt>
                <c:pt idx="6">
                  <c:v>Champagne Vranken Demoiselle Rosé Prestige 750ml (2.0%)</c:v>
                </c:pt>
                <c:pt idx="7">
                  <c:v>Champagne Ruinart Brut 750ml (7.3%)</c:v>
                </c:pt>
                <c:pt idx="8">
                  <c:v>Champagne E.Nicolas Rosé 750ml (0.9%)</c:v>
                </c:pt>
                <c:pt idx="9">
                  <c:v>Champagne Vranken Demoiselle Tête de Cuvée 750ml (1.4%)</c:v>
                </c:pt>
              </c:strCache>
            </c:strRef>
          </c:cat>
          <c:val>
            <c:numRef>
              <c:f>Sheet1!$B$2:$B$11</c:f>
              <c:numCache>
                <c:formatCode>General</c:formatCode>
                <c:ptCount val="10"/>
                <c:pt idx="0">
                  <c:v>0.18097754497620092</c:v>
                </c:pt>
                <c:pt idx="1">
                  <c:v>5.3357721522679098E-2</c:v>
                </c:pt>
                <c:pt idx="2">
                  <c:v>4.9462683885872438E-2</c:v>
                </c:pt>
                <c:pt idx="3">
                  <c:v>3.9048589199999352E-2</c:v>
                </c:pt>
                <c:pt idx="4">
                  <c:v>3.739033747783517E-2</c:v>
                </c:pt>
                <c:pt idx="5">
                  <c:v>3.3966494607884812E-2</c:v>
                </c:pt>
                <c:pt idx="6">
                  <c:v>3.2385801497620423E-2</c:v>
                </c:pt>
                <c:pt idx="7">
                  <c:v>2.9807179451175878E-2</c:v>
                </c:pt>
                <c:pt idx="8">
                  <c:v>2.7984936814198877E-2</c:v>
                </c:pt>
                <c:pt idx="9">
                  <c:v>2.466045146456957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B$2:$B$41</c:f>
              <c:numCache>
                <c:formatCode>General</c:formatCode>
                <c:ptCount val="40"/>
                <c:pt idx="0">
                  <c:v>154.06404685240059</c:v>
                </c:pt>
                <c:pt idx="1">
                  <c:v>150.67329895694533</c:v>
                </c:pt>
                <c:pt idx="2">
                  <c:v>147.40174747303354</c:v>
                </c:pt>
                <c:pt idx="3">
                  <c:v>144.24392213093225</c:v>
                </c:pt>
                <c:pt idx="4">
                  <c:v>141.19465226730284</c:v>
                </c:pt>
                <c:pt idx="5">
                  <c:v>138.24904917496349</c:v>
                </c:pt>
                <c:pt idx="6">
                  <c:v>135.40248936747545</c:v>
                </c:pt>
                <c:pt idx="7">
                  <c:v>132.65059874691738</c:v>
                </c:pt>
                <c:pt idx="8">
                  <c:v>129.98923765501829</c:v>
                </c:pt>
                <c:pt idx="9">
                  <c:v>127.41448678177751</c:v>
                </c:pt>
                <c:pt idx="10">
                  <c:v>124.92263390142513</c:v>
                </c:pt>
                <c:pt idx="11">
                  <c:v>122.51016140257485</c:v>
                </c:pt>
                <c:pt idx="12">
                  <c:v>120.17373457754317</c:v>
                </c:pt>
                <c:pt idx="13">
                  <c:v>117.91019063470789</c:v>
                </c:pt>
                <c:pt idx="14">
                  <c:v>115.71652839735182</c:v>
                </c:pt>
                <c:pt idx="15">
                  <c:v>113.58989865248732</c:v>
                </c:pt>
                <c:pt idx="16">
                  <c:v>111.52759511363533</c:v>
                </c:pt>
                <c:pt idx="17">
                  <c:v>109.52704596226957</c:v>
                </c:pt>
                <c:pt idx="18">
                  <c:v>107.58580593364837</c:v>
                </c:pt>
                <c:pt idx="19">
                  <c:v>105.70154891390662</c:v>
                </c:pt>
                <c:pt idx="20">
                  <c:v>102.89753736977407</c:v>
                </c:pt>
                <c:pt idx="21">
                  <c:v>100</c:v>
                </c:pt>
                <c:pt idx="22">
                  <c:v>97.253234634096913</c:v>
                </c:pt>
                <c:pt idx="23">
                  <c:v>94.647200189187743</c:v>
                </c:pt>
                <c:pt idx="24">
                  <c:v>92.172546447324748</c:v>
                </c:pt>
                <c:pt idx="25">
                  <c:v>89.820573146939978</c:v>
                </c:pt>
                <c:pt idx="26">
                  <c:v>87.583191260750084</c:v>
                </c:pt>
                <c:pt idx="27">
                  <c:v>85.452885830364195</c:v>
                </c:pt>
                <c:pt idx="28">
                  <c:v>83.422680048668326</c:v>
                </c:pt>
                <c:pt idx="29">
                  <c:v>81.486100490870541</c:v>
                </c:pt>
                <c:pt idx="30">
                  <c:v>79.637143519765601</c:v>
                </c:pt>
                <c:pt idx="31">
                  <c:v>77.870242953703666</c:v>
                </c:pt>
                <c:pt idx="32">
                  <c:v>76.756066693028174</c:v>
                </c:pt>
                <c:pt idx="33">
                  <c:v>75.809461613706986</c:v>
                </c:pt>
                <c:pt idx="34">
                  <c:v>74.880350273566037</c:v>
                </c:pt>
                <c:pt idx="35">
                  <c:v>73.968295571285594</c:v>
                </c:pt>
                <c:pt idx="36">
                  <c:v>73.072873688153052</c:v>
                </c:pt>
                <c:pt idx="37">
                  <c:v>72.193673645119887</c:v>
                </c:pt>
                <c:pt idx="38">
                  <c:v>71.330296873002936</c:v>
                </c:pt>
                <c:pt idx="39">
                  <c:v>70.48235679574752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C$2:$C$41</c:f>
              <c:numCache>
                <c:formatCode>General</c:formatCode>
                <c:ptCount val="40"/>
                <c:pt idx="0">
                  <c:v>131.20139017372173</c:v>
                </c:pt>
                <c:pt idx="1">
                  <c:v>129.3750181838553</c:v>
                </c:pt>
                <c:pt idx="2">
                  <c:v>127.60449302743233</c:v>
                </c:pt>
                <c:pt idx="3">
                  <c:v>125.88751308619295</c:v>
                </c:pt>
                <c:pt idx="4">
                  <c:v>124.22189071183315</c:v>
                </c:pt>
                <c:pt idx="5">
                  <c:v>122.60554667877115</c:v>
                </c:pt>
                <c:pt idx="6">
                  <c:v>121.03650475429649</c:v>
                </c:pt>
                <c:pt idx="7">
                  <c:v>119.51288641603431</c:v>
                </c:pt>
                <c:pt idx="8">
                  <c:v>118.03290573902476</c:v>
                </c:pt>
                <c:pt idx="9">
                  <c:v>116.59486446848754</c:v>
                </c:pt>
                <c:pt idx="10">
                  <c:v>115.19714728932638</c:v>
                </c:pt>
                <c:pt idx="11">
                  <c:v>113.83821729930136</c:v>
                </c:pt>
                <c:pt idx="12">
                  <c:v>112.51661168947788</c:v>
                </c:pt>
                <c:pt idx="13">
                  <c:v>111.23093763284726</c:v>
                </c:pt>
                <c:pt idx="14">
                  <c:v>109.97986837982705</c:v>
                </c:pt>
                <c:pt idx="15">
                  <c:v>108.76213955757392</c:v>
                </c:pt>
                <c:pt idx="16">
                  <c:v>107.57654566865229</c:v>
                </c:pt>
                <c:pt idx="17">
                  <c:v>106.42193678347896</c:v>
                </c:pt>
                <c:pt idx="18">
                  <c:v>105.29721542013056</c:v>
                </c:pt>
                <c:pt idx="19">
                  <c:v>104.20133360445594</c:v>
                </c:pt>
                <c:pt idx="20">
                  <c:v>102.16709253785172</c:v>
                </c:pt>
                <c:pt idx="21">
                  <c:v>100</c:v>
                </c:pt>
                <c:pt idx="22">
                  <c:v>97.943720604217859</c:v>
                </c:pt>
                <c:pt idx="23">
                  <c:v>95.991266799325629</c:v>
                </c:pt>
                <c:pt idx="24">
                  <c:v>94.136073414833703</c:v>
                </c:pt>
                <c:pt idx="25">
                  <c:v>92.371979871601823</c:v>
                </c:pt>
                <c:pt idx="26">
                  <c:v>90.69321293904197</c:v>
                </c:pt>
                <c:pt idx="27">
                  <c:v>89.094369490174259</c:v>
                </c:pt>
                <c:pt idx="28">
                  <c:v>87.570399006267678</c:v>
                </c:pt>
                <c:pt idx="29">
                  <c:v>86.116585786605512</c:v>
                </c:pt>
                <c:pt idx="30">
                  <c:v>84.728530945722781</c:v>
                </c:pt>
                <c:pt idx="31">
                  <c:v>83.402134349236775</c:v>
                </c:pt>
                <c:pt idx="32">
                  <c:v>82.753780289945382</c:v>
                </c:pt>
                <c:pt idx="33">
                  <c:v>82.271344551872559</c:v>
                </c:pt>
                <c:pt idx="34">
                  <c:v>81.794615562627655</c:v>
                </c:pt>
                <c:pt idx="35">
                  <c:v>81.323483347754603</c:v>
                </c:pt>
                <c:pt idx="36">
                  <c:v>80.857840313913528</c:v>
                </c:pt>
                <c:pt idx="37">
                  <c:v>80.397581222204352</c:v>
                </c:pt>
                <c:pt idx="38">
                  <c:v>79.942603157619388</c:v>
                </c:pt>
                <c:pt idx="39">
                  <c:v>79.492805495164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D$2:$D$41</c:f>
              <c:numCache>
                <c:formatCode>General</c:formatCode>
                <c:ptCount val="40"/>
                <c:pt idx="0">
                  <c:v>96.20737689709992</c:v>
                </c:pt>
                <c:pt idx="1">
                  <c:v>96.784422362901935</c:v>
                </c:pt>
                <c:pt idx="2">
                  <c:v>97.318893360236018</c:v>
                </c:pt>
                <c:pt idx="3">
                  <c:v>97.81347509307848</c:v>
                </c:pt>
                <c:pt idx="4">
                  <c:v>98.270669997200073</c:v>
                </c:pt>
                <c:pt idx="5">
                  <c:v>98.692811928908142</c:v>
                </c:pt>
                <c:pt idx="6">
                  <c:v>99.082079129418759</c:v>
                </c:pt>
                <c:pt idx="7">
                  <c:v>99.440506070650613</c:v>
                </c:pt>
                <c:pt idx="8">
                  <c:v>99.769994280282276</c:v>
                </c:pt>
                <c:pt idx="9">
                  <c:v>100.07232223633176</c:v>
                </c:pt>
                <c:pt idx="10">
                  <c:v>100.34915441437802</c:v>
                </c:pt>
                <c:pt idx="11">
                  <c:v>100.60204956377395</c:v>
                </c:pt>
                <c:pt idx="12">
                  <c:v>100.83246828287417</c:v>
                </c:pt>
                <c:pt idx="13">
                  <c:v>101.04177995735341</c:v>
                </c:pt>
                <c:pt idx="14">
                  <c:v>101.23126912014398</c:v>
                </c:pt>
                <c:pt idx="15">
                  <c:v>101.40214128634067</c:v>
                </c:pt>
                <c:pt idx="16">
                  <c:v>101.55552831162929</c:v>
                </c:pt>
                <c:pt idx="17">
                  <c:v>101.69249331833048</c:v>
                </c:pt>
                <c:pt idx="18">
                  <c:v>101.81403522905353</c:v>
                </c:pt>
                <c:pt idx="19">
                  <c:v>101.9210929441675</c:v>
                </c:pt>
                <c:pt idx="20">
                  <c:v>101.05745265286103</c:v>
                </c:pt>
                <c:pt idx="21">
                  <c:v>100</c:v>
                </c:pt>
                <c:pt idx="22">
                  <c:v>98.992384037424799</c:v>
                </c:pt>
                <c:pt idx="23">
                  <c:v>98.032293185939849</c:v>
                </c:pt>
                <c:pt idx="24">
                  <c:v>97.117425548576065</c:v>
                </c:pt>
                <c:pt idx="25">
                  <c:v>96.245506848437827</c:v>
                </c:pt>
                <c:pt idx="26">
                  <c:v>95.414306359171945</c:v>
                </c:pt>
                <c:pt idx="27">
                  <c:v>94.621650404437659</c:v>
                </c:pt>
                <c:pt idx="28">
                  <c:v>93.865433273644697</c:v>
                </c:pt>
                <c:pt idx="29">
                  <c:v>93.143625596860474</c:v>
                </c:pt>
                <c:pt idx="30">
                  <c:v>92.454280352345947</c:v>
                </c:pt>
                <c:pt idx="31">
                  <c:v>91.795536758013995</c:v>
                </c:pt>
                <c:pt idx="32">
                  <c:v>91.854720727779807</c:v>
                </c:pt>
                <c:pt idx="33">
                  <c:v>92.077586423515385</c:v>
                </c:pt>
                <c:pt idx="34">
                  <c:v>92.288157025289209</c:v>
                </c:pt>
                <c:pt idx="35">
                  <c:v>92.486824505441405</c:v>
                </c:pt>
                <c:pt idx="36">
                  <c:v>92.673966415661994</c:v>
                </c:pt>
                <c:pt idx="37">
                  <c:v>92.849946504953934</c:v>
                </c:pt>
                <c:pt idx="38">
                  <c:v>93.015115307213406</c:v>
                </c:pt>
                <c:pt idx="39">
                  <c:v>93.1698106999580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E$2:$E$41</c:f>
              <c:numCache>
                <c:formatCode>General</c:formatCode>
                <c:ptCount val="40"/>
                <c:pt idx="0">
                  <c:v>0.29393939393939389</c:v>
                </c:pt>
                <c:pt idx="1">
                  <c:v>0.29983305509181984</c:v>
                </c:pt>
                <c:pt idx="2">
                  <c:v>0.30562913907284772</c:v>
                </c:pt>
                <c:pt idx="3">
                  <c:v>0.31133004926108371</c:v>
                </c:pt>
                <c:pt idx="4">
                  <c:v>0.31693811074918576</c:v>
                </c:pt>
                <c:pt idx="5">
                  <c:v>0.3224555735056544</c:v>
                </c:pt>
                <c:pt idx="6">
                  <c:v>0.32788461538461544</c:v>
                </c:pt>
                <c:pt idx="7">
                  <c:v>0.33322734499205098</c:v>
                </c:pt>
                <c:pt idx="8">
                  <c:v>0.33848580441640375</c:v>
                </c:pt>
                <c:pt idx="9">
                  <c:v>0.34366197183098585</c:v>
                </c:pt>
                <c:pt idx="10">
                  <c:v>0.34875776397515523</c:v>
                </c:pt>
                <c:pt idx="11">
                  <c:v>0.35377503852080133</c:v>
                </c:pt>
                <c:pt idx="12">
                  <c:v>0.35871559633027517</c:v>
                </c:pt>
                <c:pt idx="13">
                  <c:v>0.36358118361153269</c:v>
                </c:pt>
                <c:pt idx="14">
                  <c:v>0.36837349397590363</c:v>
                </c:pt>
                <c:pt idx="15">
                  <c:v>0.3730941704035875</c:v>
                </c:pt>
                <c:pt idx="16">
                  <c:v>0.37774480712166181</c:v>
                </c:pt>
                <c:pt idx="17">
                  <c:v>0.38232695139911649</c:v>
                </c:pt>
                <c:pt idx="18">
                  <c:v>0.38684210526315799</c:v>
                </c:pt>
                <c:pt idx="19">
                  <c:v>0.39129172714078386</c:v>
                </c:pt>
                <c:pt idx="20">
                  <c:v>0.39567723342939481</c:v>
                </c:pt>
                <c:pt idx="21">
                  <c:v>0.39999999999999997</c:v>
                </c:pt>
                <c:pt idx="22">
                  <c:v>0.4042613636363635</c:v>
                </c:pt>
                <c:pt idx="23">
                  <c:v>0.40846262341325812</c:v>
                </c:pt>
                <c:pt idx="24">
                  <c:v>0.41260504201680664</c:v>
                </c:pt>
                <c:pt idx="25">
                  <c:v>0.41668984700973571</c:v>
                </c:pt>
                <c:pt idx="26">
                  <c:v>0.42071823204419884</c:v>
                </c:pt>
                <c:pt idx="27">
                  <c:v>0.42469135802469143</c:v>
                </c:pt>
                <c:pt idx="28">
                  <c:v>0.4286103542234333</c:v>
                </c:pt>
                <c:pt idx="29">
                  <c:v>0.43247631935047354</c:v>
                </c:pt>
                <c:pt idx="30">
                  <c:v>0.43629032258064526</c:v>
                </c:pt>
                <c:pt idx="31">
                  <c:v>0.44005340453938574</c:v>
                </c:pt>
                <c:pt idx="32">
                  <c:v>0.44376657824933691</c:v>
                </c:pt>
                <c:pt idx="33">
                  <c:v>0.44743083003952572</c:v>
                </c:pt>
                <c:pt idx="34">
                  <c:v>0.45104712041884826</c:v>
                </c:pt>
                <c:pt idx="35">
                  <c:v>0.45461638491547474</c:v>
                </c:pt>
                <c:pt idx="36">
                  <c:v>0.45813953488372106</c:v>
                </c:pt>
                <c:pt idx="37">
                  <c:v>0.46161745827984607</c:v>
                </c:pt>
                <c:pt idx="38">
                  <c:v>0.46505102040816326</c:v>
                </c:pt>
                <c:pt idx="39">
                  <c:v>0.468441064638783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Ruinart Brut 750ml (7.3%)</c:v>
                </c:pt>
                <c:pt idx="4">
                  <c:v>Champagne Laurent-Perrier Blanc La Cuvée 750ml (2.7%)</c:v>
                </c:pt>
                <c:pt idx="5">
                  <c:v>Champagne Canard-Duchêne Blanc Cuvée Léonie Brut 750ml (2.6%)</c:v>
                </c:pt>
                <c:pt idx="6">
                  <c:v>Champagne Heidsieck Monopole Silver Top 750ml (4.2%)</c:v>
                </c:pt>
                <c:pt idx="7">
                  <c:v>Champagne Nicolas Feuillatte Réserve Exclusive Brut 750ml (3.0%)</c:v>
                </c:pt>
                <c:pt idx="8">
                  <c:v>Champagne Vranken Demoiselle Tête de Cuvée 750ml (1.4%)</c:v>
                </c:pt>
                <c:pt idx="9">
                  <c:v>Champagne Taittinger Prestige Brut 750ml (1.6%)</c:v>
                </c:pt>
              </c:strCache>
            </c:strRef>
          </c:cat>
          <c:val>
            <c:numRef>
              <c:f>Sheet1!$B$2:$B$11</c:f>
              <c:numCache>
                <c:formatCode>General</c:formatCode>
                <c:ptCount val="10"/>
                <c:pt idx="0">
                  <c:v>8.6218663819145488E-2</c:v>
                </c:pt>
                <c:pt idx="1">
                  <c:v>7.6638053732435304E-2</c:v>
                </c:pt>
                <c:pt idx="2">
                  <c:v>4.489507850854059E-2</c:v>
                </c:pt>
                <c:pt idx="3">
                  <c:v>4.0427207608459068E-2</c:v>
                </c:pt>
                <c:pt idx="4">
                  <c:v>3.941943415679891E-2</c:v>
                </c:pt>
                <c:pt idx="5">
                  <c:v>3.5068316744172448E-2</c:v>
                </c:pt>
                <c:pt idx="6">
                  <c:v>3.4504984812222958E-2</c:v>
                </c:pt>
                <c:pt idx="7">
                  <c:v>3.4488966604457431E-2</c:v>
                </c:pt>
                <c:pt idx="8">
                  <c:v>3.0465845493701509E-2</c:v>
                </c:pt>
                <c:pt idx="9">
                  <c:v>2.47489187037973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Laurent-Perrier Blanc La Cuvée 750ml (2.7%)</c:v>
                </c:pt>
                <c:pt idx="5">
                  <c:v>Champagne Vranken Demoiselle Rosé Prestige 750ml (2.0%)</c:v>
                </c:pt>
                <c:pt idx="6">
                  <c:v>Champagne Nicolas Feuillatte Réserve Exclusive Brut 750ml (3.0%)</c:v>
                </c:pt>
                <c:pt idx="7">
                  <c:v>Champagne Heidsieck Monopole Silver Top 750ml (4.2%)</c:v>
                </c:pt>
                <c:pt idx="8">
                  <c:v>Champagne Vranken Demoiselle Tête de Cuvée 750ml (1.4%)</c:v>
                </c:pt>
                <c:pt idx="9">
                  <c:v>Prosecco Carlo V Cuvée Del Imperator 750ml (5.4%)</c:v>
                </c:pt>
              </c:strCache>
            </c:strRef>
          </c:cat>
          <c:val>
            <c:numRef>
              <c:f>Sheet1!$B$2:$B$11</c:f>
              <c:numCache>
                <c:formatCode>General</c:formatCode>
                <c:ptCount val="10"/>
                <c:pt idx="0">
                  <c:v>0.10498545835714833</c:v>
                </c:pt>
                <c:pt idx="1">
                  <c:v>7.7677999321959068E-2</c:v>
                </c:pt>
                <c:pt idx="2">
                  <c:v>3.9627549445934482E-2</c:v>
                </c:pt>
                <c:pt idx="3">
                  <c:v>3.8619593236078983E-2</c:v>
                </c:pt>
                <c:pt idx="4">
                  <c:v>3.7758085487301946E-2</c:v>
                </c:pt>
                <c:pt idx="5">
                  <c:v>3.7622236976367594E-2</c:v>
                </c:pt>
                <c:pt idx="6">
                  <c:v>3.0037460780169712E-2</c:v>
                </c:pt>
                <c:pt idx="7">
                  <c:v>2.8102053353154501E-2</c:v>
                </c:pt>
                <c:pt idx="8">
                  <c:v>2.7131556976788294E-2</c:v>
                </c:pt>
                <c:pt idx="9">
                  <c:v>2.38220454271486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Bouvet Ladubay (1.5%)</c:v>
                </c:pt>
                <c:pt idx="7">
                  <c:v>Ruinart (12.8%)</c:v>
                </c:pt>
                <c:pt idx="8">
                  <c:v>Demoiselle (3.5%)</c:v>
                </c:pt>
                <c:pt idx="9">
                  <c:v>Malard (6.0%)</c:v>
                </c:pt>
              </c:strCache>
            </c:strRef>
          </c:cat>
          <c:val>
            <c:numRef>
              <c:f>Sheet1!$B$2:$B$11</c:f>
              <c:numCache>
                <c:formatCode>General</c:formatCode>
                <c:ptCount val="10"/>
                <c:pt idx="0">
                  <c:v>0.31874564386898041</c:v>
                </c:pt>
                <c:pt idx="1">
                  <c:v>0.15810447643001205</c:v>
                </c:pt>
                <c:pt idx="2">
                  <c:v>9.3303036249722332E-2</c:v>
                </c:pt>
                <c:pt idx="3">
                  <c:v>4.0751984049537365E-2</c:v>
                </c:pt>
                <c:pt idx="4">
                  <c:v>3.6422224097258885E-2</c:v>
                </c:pt>
                <c:pt idx="5">
                  <c:v>2.9745544155854595E-2</c:v>
                </c:pt>
                <c:pt idx="6">
                  <c:v>2.6715700393086215E-2</c:v>
                </c:pt>
                <c:pt idx="7">
                  <c:v>2.4277775938047679E-2</c:v>
                </c:pt>
                <c:pt idx="8">
                  <c:v>2.3146657642058668E-2</c:v>
                </c:pt>
                <c:pt idx="9">
                  <c:v>2.26184719214526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B$2:$B$82</c:f>
              <c:numCache>
                <c:formatCode>General</c:formatCode>
                <c:ptCount val="81"/>
                <c:pt idx="0">
                  <c:v>118.85641029371008</c:v>
                </c:pt>
                <c:pt idx="1">
                  <c:v>118.12687995452522</c:v>
                </c:pt>
                <c:pt idx="2">
                  <c:v>117.40399051099291</c:v>
                </c:pt>
                <c:pt idx="3">
                  <c:v>116.68767173311525</c:v>
                </c:pt>
                <c:pt idx="4">
                  <c:v>115.97785405715723</c:v>
                </c:pt>
                <c:pt idx="5">
                  <c:v>115.27446857745285</c:v>
                </c:pt>
                <c:pt idx="6">
                  <c:v>114.57744703865889</c:v>
                </c:pt>
                <c:pt idx="7">
                  <c:v>113.88672182844334</c:v>
                </c:pt>
                <c:pt idx="8">
                  <c:v>113.20222597058931</c:v>
                </c:pt>
                <c:pt idx="9">
                  <c:v>112.52389311849664</c:v>
                </c:pt>
                <c:pt idx="10">
                  <c:v>111.85165754906366</c:v>
                </c:pt>
                <c:pt idx="11">
                  <c:v>111.18545415692789</c:v>
                </c:pt>
                <c:pt idx="12">
                  <c:v>110.52521844904766</c:v>
                </c:pt>
                <c:pt idx="13">
                  <c:v>109.87088653960744</c:v>
                </c:pt>
                <c:pt idx="14">
                  <c:v>109.22239514522273</c:v>
                </c:pt>
                <c:pt idx="15">
                  <c:v>108.57968158042912</c:v>
                </c:pt>
                <c:pt idx="16">
                  <c:v>107.94268375343397</c:v>
                </c:pt>
                <c:pt idx="17">
                  <c:v>107.31134016211136</c:v>
                </c:pt>
                <c:pt idx="18">
                  <c:v>106.68558989022587</c:v>
                </c:pt>
                <c:pt idx="19">
                  <c:v>106.065372603855</c:v>
                </c:pt>
                <c:pt idx="20">
                  <c:v>105.45062854800847</c:v>
                </c:pt>
                <c:pt idx="21">
                  <c:v>104.97847621260408</c:v>
                </c:pt>
                <c:pt idx="22">
                  <c:v>104.50968432030146</c:v>
                </c:pt>
                <c:pt idx="23">
                  <c:v>104.04422228278247</c:v>
                </c:pt>
                <c:pt idx="24">
                  <c:v>103.58205979741157</c:v>
                </c:pt>
                <c:pt idx="25">
                  <c:v>103.12316684501013</c:v>
                </c:pt>
                <c:pt idx="26">
                  <c:v>102.66751368764547</c:v>
                </c:pt>
                <c:pt idx="27">
                  <c:v>102.21507086642885</c:v>
                </c:pt>
                <c:pt idx="28">
                  <c:v>101.76580919932985</c:v>
                </c:pt>
                <c:pt idx="29">
                  <c:v>101.31969977899959</c:v>
                </c:pt>
                <c:pt idx="30">
                  <c:v>100.8767139706074</c:v>
                </c:pt>
                <c:pt idx="31">
                  <c:v>100.43682340968776</c:v>
                </c:pt>
                <c:pt idx="32">
                  <c:v>100</c:v>
                </c:pt>
                <c:pt idx="33">
                  <c:v>99.566215911398132</c:v>
                </c:pt>
                <c:pt idx="34">
                  <c:v>99.135443577711669</c:v>
                </c:pt>
                <c:pt idx="35">
                  <c:v>98.707655694637623</c:v>
                </c:pt>
                <c:pt idx="36">
                  <c:v>98.282825217642539</c:v>
                </c:pt>
                <c:pt idx="37">
                  <c:v>97.860925359876987</c:v>
                </c:pt>
                <c:pt idx="38">
                  <c:v>97.441929590097359</c:v>
                </c:pt>
                <c:pt idx="39">
                  <c:v>97.025811630601055</c:v>
                </c:pt>
                <c:pt idx="40">
                  <c:v>96.612545455170689</c:v>
                </c:pt>
                <c:pt idx="41">
                  <c:v>96.202105287027962</c:v>
                </c:pt>
                <c:pt idx="42">
                  <c:v>95.794465596798972</c:v>
                </c:pt>
                <c:pt idx="43">
                  <c:v>95.389601100487738</c:v>
                </c:pt>
                <c:pt idx="44">
                  <c:v>94.987486757463302</c:v>
                </c:pt>
                <c:pt idx="45">
                  <c:v>94.588097768452627</c:v>
                </c:pt>
                <c:pt idx="46">
                  <c:v>94.191409573545968</c:v>
                </c:pt>
                <c:pt idx="47">
                  <c:v>93.797397850212434</c:v>
                </c:pt>
                <c:pt idx="48">
                  <c:v>93.406038511324766</c:v>
                </c:pt>
                <c:pt idx="49">
                  <c:v>93.017307703193055</c:v>
                </c:pt>
                <c:pt idx="50">
                  <c:v>92.631181803611639</c:v>
                </c:pt>
                <c:pt idx="51">
                  <c:v>92.247637419913119</c:v>
                </c:pt>
                <c:pt idx="52">
                  <c:v>91.866651387032249</c:v>
                </c:pt>
                <c:pt idx="53">
                  <c:v>91.488200765582036</c:v>
                </c:pt>
                <c:pt idx="54">
                  <c:v>91.112262839939433</c:v>
                </c:pt>
                <c:pt idx="55">
                  <c:v>90.738815116338628</c:v>
                </c:pt>
                <c:pt idx="56">
                  <c:v>90.367835320977292</c:v>
                </c:pt>
                <c:pt idx="57">
                  <c:v>89.999301398131436</c:v>
                </c:pt>
                <c:pt idx="58">
                  <c:v>89.633191508280362</c:v>
                </c:pt>
                <c:pt idx="59">
                  <c:v>89.269484026243987</c:v>
                </c:pt>
                <c:pt idx="60">
                  <c:v>88.908157539325501</c:v>
                </c:pt>
                <c:pt idx="61">
                  <c:v>87.956473630566478</c:v>
                </c:pt>
                <c:pt idx="62">
                  <c:v>87.020252565749942</c:v>
                </c:pt>
                <c:pt idx="63">
                  <c:v>86.09912634265946</c:v>
                </c:pt>
                <c:pt idx="64">
                  <c:v>85.192736520630845</c:v>
                </c:pt>
                <c:pt idx="65">
                  <c:v>84.300734148551953</c:v>
                </c:pt>
                <c:pt idx="66">
                  <c:v>83.422779678095864</c:v>
                </c:pt>
                <c:pt idx="67">
                  <c:v>82.558542863820733</c:v>
                </c:pt>
                <c:pt idx="68">
                  <c:v>81.707702651597089</c:v>
                </c:pt>
                <c:pt idx="69">
                  <c:v>80.869947056666675</c:v>
                </c:pt>
                <c:pt idx="70">
                  <c:v>80.044973032474431</c:v>
                </c:pt>
                <c:pt idx="71">
                  <c:v>79.23248633128344</c:v>
                </c:pt>
                <c:pt idx="72">
                  <c:v>78.432201357454588</c:v>
                </c:pt>
                <c:pt idx="73">
                  <c:v>77.643841014153736</c:v>
                </c:pt>
                <c:pt idx="74">
                  <c:v>76.867136544156466</c:v>
                </c:pt>
                <c:pt idx="75">
                  <c:v>76.101827365317746</c:v>
                </c:pt>
                <c:pt idx="76">
                  <c:v>75.347660901219797</c:v>
                </c:pt>
                <c:pt idx="77">
                  <c:v>74.604392407424001</c:v>
                </c:pt>
                <c:pt idx="78">
                  <c:v>73.871784793722625</c:v>
                </c:pt>
                <c:pt idx="79">
                  <c:v>73.149608442729161</c:v>
                </c:pt>
                <c:pt idx="80">
                  <c:v>72.4376410251323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C$2:$C$82</c:f>
              <c:numCache>
                <c:formatCode>General</c:formatCode>
                <c:ptCount val="81"/>
                <c:pt idx="0">
                  <c:v>105.01633283296495</c:v>
                </c:pt>
                <c:pt idx="1">
                  <c:v>104.80138243481802</c:v>
                </c:pt>
                <c:pt idx="2">
                  <c:v>104.58707689435514</c:v>
                </c:pt>
                <c:pt idx="3">
                  <c:v>104.37342502046634</c:v>
                </c:pt>
                <c:pt idx="4">
                  <c:v>104.16043521254785</c:v>
                </c:pt>
                <c:pt idx="5">
                  <c:v>103.94811546517954</c:v>
                </c:pt>
                <c:pt idx="6">
                  <c:v>103.73647337302189</c:v>
                </c:pt>
                <c:pt idx="7">
                  <c:v>103.5255161359333</c:v>
                </c:pt>
                <c:pt idx="8">
                  <c:v>103.31525056430108</c:v>
                </c:pt>
                <c:pt idx="9">
                  <c:v>103.10568308457917</c:v>
                </c:pt>
                <c:pt idx="10">
                  <c:v>102.89681974502966</c:v>
                </c:pt>
                <c:pt idx="11">
                  <c:v>102.68866622165483</c:v>
                </c:pt>
                <c:pt idx="12">
                  <c:v>102.48122782431483</c:v>
                </c:pt>
                <c:pt idx="13">
                  <c:v>102.27450950302376</c:v>
                </c:pt>
                <c:pt idx="14">
                  <c:v>102.06851585440712</c:v>
                </c:pt>
                <c:pt idx="15">
                  <c:v>101.86325112831818</c:v>
                </c:pt>
                <c:pt idx="16">
                  <c:v>101.6587192345975</c:v>
                </c:pt>
                <c:pt idx="17">
                  <c:v>101.45492374996488</c:v>
                </c:pt>
                <c:pt idx="18">
                  <c:v>101.25186792503584</c:v>
                </c:pt>
                <c:pt idx="19">
                  <c:v>101.04955469144301</c:v>
                </c:pt>
                <c:pt idx="20">
                  <c:v>100.84798666906067</c:v>
                </c:pt>
                <c:pt idx="21">
                  <c:v>100.77822009803367</c:v>
                </c:pt>
                <c:pt idx="22">
                  <c:v>100.70826809361877</c:v>
                </c:pt>
                <c:pt idx="23">
                  <c:v>100.63813761659162</c:v>
                </c:pt>
                <c:pt idx="24">
                  <c:v>100.56783546004624</c:v>
                </c:pt>
                <c:pt idx="25">
                  <c:v>100.49736825249383</c:v>
                </c:pt>
                <c:pt idx="26">
                  <c:v>100.42674246092535</c:v>
                </c:pt>
                <c:pt idx="27">
                  <c:v>100.35596439382992</c:v>
                </c:pt>
                <c:pt idx="28">
                  <c:v>100.28504020417914</c:v>
                </c:pt>
                <c:pt idx="29">
                  <c:v>100.21397589236804</c:v>
                </c:pt>
                <c:pt idx="30">
                  <c:v>100.1427773091204</c:v>
                </c:pt>
                <c:pt idx="31">
                  <c:v>100.07145015835223</c:v>
                </c:pt>
                <c:pt idx="32">
                  <c:v>100</c:v>
                </c:pt>
                <c:pt idx="33">
                  <c:v>99.92843225280788</c:v>
                </c:pt>
                <c:pt idx="34">
                  <c:v>99.856752197078734</c:v>
                </c:pt>
                <c:pt idx="35">
                  <c:v>99.784964977385783</c:v>
                </c:pt>
                <c:pt idx="36">
                  <c:v>99.713075605247141</c:v>
                </c:pt>
                <c:pt idx="37">
                  <c:v>99.641088961764368</c:v>
                </c:pt>
                <c:pt idx="38">
                  <c:v>99.569009800221124</c:v>
                </c:pt>
                <c:pt idx="39">
                  <c:v>99.496842748647481</c:v>
                </c:pt>
                <c:pt idx="40">
                  <c:v>99.424592312346519</c:v>
                </c:pt>
                <c:pt idx="41">
                  <c:v>99.35226287638443</c:v>
                </c:pt>
                <c:pt idx="42">
                  <c:v>99.279858708044628</c:v>
                </c:pt>
                <c:pt idx="43">
                  <c:v>99.207383959246059</c:v>
                </c:pt>
                <c:pt idx="44">
                  <c:v>99.134842668927618</c:v>
                </c:pt>
                <c:pt idx="45">
                  <c:v>99.062238765394142</c:v>
                </c:pt>
                <c:pt idx="46">
                  <c:v>98.989576068629859</c:v>
                </c:pt>
                <c:pt idx="47">
                  <c:v>98.916858292577217</c:v>
                </c:pt>
                <c:pt idx="48">
                  <c:v>98.844089047380791</c:v>
                </c:pt>
                <c:pt idx="49">
                  <c:v>98.771271841595905</c:v>
                </c:pt>
                <c:pt idx="50">
                  <c:v>98.698410084367211</c:v>
                </c:pt>
                <c:pt idx="51">
                  <c:v>98.625507087570426</c:v>
                </c:pt>
                <c:pt idx="52">
                  <c:v>98.552566067921759</c:v>
                </c:pt>
                <c:pt idx="53">
                  <c:v>98.479590149055795</c:v>
                </c:pt>
                <c:pt idx="54">
                  <c:v>98.406582363571601</c:v>
                </c:pt>
                <c:pt idx="55">
                  <c:v>98.333545655043366</c:v>
                </c:pt>
                <c:pt idx="56">
                  <c:v>98.260482880003337</c:v>
                </c:pt>
                <c:pt idx="57">
                  <c:v>98.187396809890146</c:v>
                </c:pt>
                <c:pt idx="58">
                  <c:v>98.114290132968264</c:v>
                </c:pt>
                <c:pt idx="59">
                  <c:v>98.041165456216902</c:v>
                </c:pt>
                <c:pt idx="60">
                  <c:v>97.968025307184774</c:v>
                </c:pt>
                <c:pt idx="61">
                  <c:v>97.244550370665237</c:v>
                </c:pt>
                <c:pt idx="62">
                  <c:v>96.531215665863428</c:v>
                </c:pt>
                <c:pt idx="63">
                  <c:v>95.827782124068193</c:v>
                </c:pt>
                <c:pt idx="64">
                  <c:v>95.134015973105292</c:v>
                </c:pt>
                <c:pt idx="65">
                  <c:v>94.449688827867476</c:v>
                </c:pt>
                <c:pt idx="66">
                  <c:v>93.774577763064698</c:v>
                </c:pt>
                <c:pt idx="67">
                  <c:v>93.108465369625307</c:v>
                </c:pt>
                <c:pt idx="68">
                  <c:v>92.451139796037722</c:v>
                </c:pt>
                <c:pt idx="69">
                  <c:v>91.802394775785075</c:v>
                </c:pt>
                <c:pt idx="70">
                  <c:v>91.162029641885013</c:v>
                </c:pt>
                <c:pt idx="71">
                  <c:v>90.529849329428274</c:v>
                </c:pt>
                <c:pt idx="72">
                  <c:v>89.905664366896872</c:v>
                </c:pt>
                <c:pt idx="73">
                  <c:v>89.289290856930791</c:v>
                </c:pt>
                <c:pt idx="74">
                  <c:v>88.680550447131878</c:v>
                </c:pt>
                <c:pt idx="75">
                  <c:v>88.079270291394636</c:v>
                </c:pt>
                <c:pt idx="76">
                  <c:v>87.485283002206629</c:v>
                </c:pt>
                <c:pt idx="77">
                  <c:v>86.898426594280593</c:v>
                </c:pt>
                <c:pt idx="78">
                  <c:v>86.318544419853311</c:v>
                </c:pt>
                <c:pt idx="79">
                  <c:v>85.745485095935422</c:v>
                </c:pt>
                <c:pt idx="80">
                  <c:v>85.17910242379022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D$2:$D$82</c:f>
              <c:numCache>
                <c:formatCode>General</c:formatCode>
                <c:ptCount val="81"/>
                <c:pt idx="0">
                  <c:v>83.639696132610808</c:v>
                </c:pt>
                <c:pt idx="1">
                  <c:v>84.220090337948577</c:v>
                </c:pt>
                <c:pt idx="2">
                  <c:v>84.791770924606041</c:v>
                </c:pt>
                <c:pt idx="3">
                  <c:v>85.354870989963956</c:v>
                </c:pt>
                <c:pt idx="4">
                  <c:v>85.90952152382016</c:v>
                </c:pt>
                <c:pt idx="5">
                  <c:v>86.455851433089691</c:v>
                </c:pt>
                <c:pt idx="6">
                  <c:v>86.993987566389237</c:v>
                </c:pt>
                <c:pt idx="7">
                  <c:v>87.524054738525876</c:v>
                </c:pt>
                <c:pt idx="8">
                  <c:v>88.046175754902791</c:v>
                </c:pt>
                <c:pt idx="9">
                  <c:v>88.560471435853785</c:v>
                </c:pt>
                <c:pt idx="10">
                  <c:v>89.067060640921028</c:v>
                </c:pt>
                <c:pt idx="11">
                  <c:v>89.566060293080852</c:v>
                </c:pt>
                <c:pt idx="12">
                  <c:v>90.057585402927714</c:v>
                </c:pt>
                <c:pt idx="13">
                  <c:v>90.541749092824688</c:v>
                </c:pt>
                <c:pt idx="14">
                  <c:v>91.018662621018933</c:v>
                </c:pt>
                <c:pt idx="15">
                  <c:v>91.488435405731877</c:v>
                </c:pt>
                <c:pt idx="16">
                  <c:v>91.951175049221476</c:v>
                </c:pt>
                <c:pt idx="17">
                  <c:v>92.406987361818153</c:v>
                </c:pt>
                <c:pt idx="18">
                  <c:v>92.855976385937325</c:v>
                </c:pt>
                <c:pt idx="19">
                  <c:v>93.298244420057657</c:v>
                </c:pt>
                <c:pt idx="20">
                  <c:v>93.733892042674142</c:v>
                </c:pt>
                <c:pt idx="21">
                  <c:v>94.286224005764794</c:v>
                </c:pt>
                <c:pt idx="22">
                  <c:v>94.832861698051289</c:v>
                </c:pt>
                <c:pt idx="23">
                  <c:v>95.373870425883922</c:v>
                </c:pt>
                <c:pt idx="24">
                  <c:v>95.909314627232902</c:v>
                </c:pt>
                <c:pt idx="25">
                  <c:v>96.439257882833516</c:v>
                </c:pt>
                <c:pt idx="26">
                  <c:v>96.96376292722077</c:v>
                </c:pt>
                <c:pt idx="27">
                  <c:v>97.482891659649724</c:v>
                </c:pt>
                <c:pt idx="28">
                  <c:v>97.996705154910245</c:v>
                </c:pt>
                <c:pt idx="29">
                  <c:v>98.505263674027361</c:v>
                </c:pt>
                <c:pt idx="30">
                  <c:v>99.008626674855378</c:v>
                </c:pt>
                <c:pt idx="31">
                  <c:v>99.506852822560958</c:v>
                </c:pt>
                <c:pt idx="32">
                  <c:v>100</c:v>
                </c:pt>
                <c:pt idx="33">
                  <c:v>100.48812531798512</c:v>
                </c:pt>
                <c:pt idx="34">
                  <c:v>100.97128512544711</c:v>
                </c:pt>
                <c:pt idx="35">
                  <c:v>101.44953501948865</c:v>
                </c:pt>
                <c:pt idx="36">
                  <c:v>101.92292985533304</c:v>
                </c:pt>
                <c:pt idx="37">
                  <c:v>102.3915237561676</c:v>
                </c:pt>
                <c:pt idx="38">
                  <c:v>102.85537012288061</c:v>
                </c:pt>
                <c:pt idx="39">
                  <c:v>103.31452164369566</c:v>
                </c:pt>
                <c:pt idx="40">
                  <c:v>103.76903030370173</c:v>
                </c:pt>
                <c:pt idx="41">
                  <c:v>104.21894739428038</c:v>
                </c:pt>
                <c:pt idx="42">
                  <c:v>104.66432352242845</c:v>
                </c:pt>
                <c:pt idx="43">
                  <c:v>105.10520861998187</c:v>
                </c:pt>
                <c:pt idx="44">
                  <c:v>105.54165195273704</c:v>
                </c:pt>
                <c:pt idx="45">
                  <c:v>105.97370212947001</c:v>
                </c:pt>
                <c:pt idx="46">
                  <c:v>106.40140711085751</c:v>
                </c:pt>
                <c:pt idx="47">
                  <c:v>106.82481421829755</c:v>
                </c:pt>
                <c:pt idx="48">
                  <c:v>107.24397014263209</c:v>
                </c:pt>
                <c:pt idx="49">
                  <c:v>107.65892095276971</c:v>
                </c:pt>
                <c:pt idx="50">
                  <c:v>108.06971210421355</c:v>
                </c:pt>
                <c:pt idx="51">
                  <c:v>108.47638844749032</c:v>
                </c:pt>
                <c:pt idx="52">
                  <c:v>108.87899423648268</c:v>
                </c:pt>
                <c:pt idx="53">
                  <c:v>109.2775731366674</c:v>
                </c:pt>
                <c:pt idx="54">
                  <c:v>109.67216823326038</c:v>
                </c:pt>
                <c:pt idx="55">
                  <c:v>110.06282203926266</c:v>
                </c:pt>
                <c:pt idx="56">
                  <c:v>110.44957650341669</c:v>
                </c:pt>
                <c:pt idx="57">
                  <c:v>110.83247301806919</c:v>
                </c:pt>
                <c:pt idx="58">
                  <c:v>111.21155242694039</c:v>
                </c:pt>
                <c:pt idx="59">
                  <c:v>111.58685503280506</c:v>
                </c:pt>
                <c:pt idx="60">
                  <c:v>111.95842060507648</c:v>
                </c:pt>
                <c:pt idx="61">
                  <c:v>111.57441562395923</c:v>
                </c:pt>
                <c:pt idx="62">
                  <c:v>111.19254494512494</c:v>
                </c:pt>
                <c:pt idx="63">
                  <c:v>110.81276445953389</c:v>
                </c:pt>
                <c:pt idx="64">
                  <c:v>110.43502882303997</c:v>
                </c:pt>
                <c:pt idx="65">
                  <c:v>110.05929180505392</c:v>
                </c:pt>
                <c:pt idx="66">
                  <c:v>109.68550661379277</c:v>
                </c:pt>
                <c:pt idx="67">
                  <c:v>109.31362619931819</c:v>
                </c:pt>
                <c:pt idx="68">
                  <c:v>108.94360353546276</c:v>
                </c:pt>
                <c:pt idx="69">
                  <c:v>108.57539188163577</c:v>
                </c:pt>
                <c:pt idx="70">
                  <c:v>108.20894502538209</c:v>
                </c:pt>
                <c:pt idx="71">
                  <c:v>107.84421750646909</c:v>
                </c:pt>
                <c:pt idx="72">
                  <c:v>107.48116482317852</c:v>
                </c:pt>
                <c:pt idx="73">
                  <c:v>107.11974362137883</c:v>
                </c:pt>
                <c:pt idx="74">
                  <c:v>106.75991186688395</c:v>
                </c:pt>
                <c:pt idx="75">
                  <c:v>106.40162900150901</c:v>
                </c:pt>
                <c:pt idx="76">
                  <c:v>106.04485608319823</c:v>
                </c:pt>
                <c:pt idx="77">
                  <c:v>105.68955591051738</c:v>
                </c:pt>
                <c:pt idx="78">
                  <c:v>105.33569313178963</c:v>
                </c:pt>
                <c:pt idx="79">
                  <c:v>104.98323433910204</c:v>
                </c:pt>
                <c:pt idx="80">
                  <c:v>104.6321481474133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E$2:$E$82</c:f>
              <c:numCache>
                <c:formatCode>General</c:formatCode>
                <c:ptCount val="81"/>
                <c:pt idx="0">
                  <c:v>0.31932773109243701</c:v>
                </c:pt>
                <c:pt idx="1">
                  <c:v>0.32217573221757329</c:v>
                </c:pt>
                <c:pt idx="2">
                  <c:v>0.32500000000000012</c:v>
                </c:pt>
                <c:pt idx="3">
                  <c:v>0.32780082987551884</c:v>
                </c:pt>
                <c:pt idx="4">
                  <c:v>0.33057851239669434</c:v>
                </c:pt>
                <c:pt idx="5">
                  <c:v>0.33333333333333354</c:v>
                </c:pt>
                <c:pt idx="6">
                  <c:v>0.33606557377049195</c:v>
                </c:pt>
                <c:pt idx="7">
                  <c:v>0.33877551020408164</c:v>
                </c:pt>
                <c:pt idx="8">
                  <c:v>0.34146341463414648</c:v>
                </c:pt>
                <c:pt idx="9">
                  <c:v>0.34412955465587047</c:v>
                </c:pt>
                <c:pt idx="10">
                  <c:v>0.34677419354838712</c:v>
                </c:pt>
                <c:pt idx="11">
                  <c:v>0.34939759036144591</c:v>
                </c:pt>
                <c:pt idx="12">
                  <c:v>0.35200000000000015</c:v>
                </c:pt>
                <c:pt idx="13">
                  <c:v>0.35458167330677309</c:v>
                </c:pt>
                <c:pt idx="14">
                  <c:v>0.35714285714285721</c:v>
                </c:pt>
                <c:pt idx="15">
                  <c:v>0.35968379446640314</c:v>
                </c:pt>
                <c:pt idx="16">
                  <c:v>0.36220472440944895</c:v>
                </c:pt>
                <c:pt idx="17">
                  <c:v>0.36470588235294121</c:v>
                </c:pt>
                <c:pt idx="18">
                  <c:v>0.36718750000000017</c:v>
                </c:pt>
                <c:pt idx="19">
                  <c:v>0.36964980544747095</c:v>
                </c:pt>
                <c:pt idx="20">
                  <c:v>0.37209302325581384</c:v>
                </c:pt>
                <c:pt idx="21">
                  <c:v>0.37451737451737466</c:v>
                </c:pt>
                <c:pt idx="22">
                  <c:v>0.37692307692307697</c:v>
                </c:pt>
                <c:pt idx="23">
                  <c:v>0.3793103448275863</c:v>
                </c:pt>
                <c:pt idx="24">
                  <c:v>0.38167938931297707</c:v>
                </c:pt>
                <c:pt idx="25">
                  <c:v>0.38403041825095063</c:v>
                </c:pt>
                <c:pt idx="26">
                  <c:v>0.38636363636363635</c:v>
                </c:pt>
                <c:pt idx="27">
                  <c:v>0.38867924528301889</c:v>
                </c:pt>
                <c:pt idx="28">
                  <c:v>0.39097744360902276</c:v>
                </c:pt>
                <c:pt idx="29">
                  <c:v>0.39325842696629226</c:v>
                </c:pt>
                <c:pt idx="30">
                  <c:v>0.39552238805970152</c:v>
                </c:pt>
                <c:pt idx="31">
                  <c:v>0.39776951672862448</c:v>
                </c:pt>
                <c:pt idx="32">
                  <c:v>0.39999999999999997</c:v>
                </c:pt>
                <c:pt idx="33">
                  <c:v>0.40221402214022134</c:v>
                </c:pt>
                <c:pt idx="34">
                  <c:v>0.40441176470588247</c:v>
                </c:pt>
                <c:pt idx="35">
                  <c:v>0.40659340659340665</c:v>
                </c:pt>
                <c:pt idx="36">
                  <c:v>0.4087591240875913</c:v>
                </c:pt>
                <c:pt idx="37">
                  <c:v>0.41090909090909089</c:v>
                </c:pt>
                <c:pt idx="38">
                  <c:v>0.41304347826086968</c:v>
                </c:pt>
                <c:pt idx="39">
                  <c:v>0.41516245487364639</c:v>
                </c:pt>
                <c:pt idx="40">
                  <c:v>0.41726618705035962</c:v>
                </c:pt>
                <c:pt idx="41">
                  <c:v>0.41935483870967755</c:v>
                </c:pt>
                <c:pt idx="42">
                  <c:v>0.42142857142857149</c:v>
                </c:pt>
                <c:pt idx="43">
                  <c:v>0.4234875444839859</c:v>
                </c:pt>
                <c:pt idx="44">
                  <c:v>0.42553191489361714</c:v>
                </c:pt>
                <c:pt idx="45">
                  <c:v>0.42756183745583037</c:v>
                </c:pt>
                <c:pt idx="46">
                  <c:v>0.42957746478873243</c:v>
                </c:pt>
                <c:pt idx="47">
                  <c:v>0.43157894736842117</c:v>
                </c:pt>
                <c:pt idx="48">
                  <c:v>0.43356643356643354</c:v>
                </c:pt>
                <c:pt idx="49">
                  <c:v>0.43554006968641112</c:v>
                </c:pt>
                <c:pt idx="50">
                  <c:v>0.43750000000000006</c:v>
                </c:pt>
                <c:pt idx="51">
                  <c:v>0.43944636678200699</c:v>
                </c:pt>
                <c:pt idx="52">
                  <c:v>0.44137931034482769</c:v>
                </c:pt>
                <c:pt idx="53">
                  <c:v>0.44329896907216493</c:v>
                </c:pt>
                <c:pt idx="54">
                  <c:v>0.4452054794520548</c:v>
                </c:pt>
                <c:pt idx="55">
                  <c:v>0.44709897610921517</c:v>
                </c:pt>
                <c:pt idx="56">
                  <c:v>0.44897959183673475</c:v>
                </c:pt>
                <c:pt idx="57">
                  <c:v>0.4508474576271187</c:v>
                </c:pt>
                <c:pt idx="58">
                  <c:v>0.45270270270270269</c:v>
                </c:pt>
                <c:pt idx="59">
                  <c:v>0.45454545454545459</c:v>
                </c:pt>
                <c:pt idx="60">
                  <c:v>0.45637583892617456</c:v>
                </c:pt>
                <c:pt idx="61">
                  <c:v>0.45819397993311028</c:v>
                </c:pt>
                <c:pt idx="62">
                  <c:v>0.46000000000000008</c:v>
                </c:pt>
                <c:pt idx="63">
                  <c:v>0.46179401993355484</c:v>
                </c:pt>
                <c:pt idx="64">
                  <c:v>0.46357615894039744</c:v>
                </c:pt>
                <c:pt idx="65">
                  <c:v>0.46534653465346532</c:v>
                </c:pt>
                <c:pt idx="66">
                  <c:v>0.46710526315789486</c:v>
                </c:pt>
                <c:pt idx="67">
                  <c:v>0.46885245901639355</c:v>
                </c:pt>
                <c:pt idx="68">
                  <c:v>0.47058823529411775</c:v>
                </c:pt>
                <c:pt idx="69">
                  <c:v>0.47231270358306199</c:v>
                </c:pt>
                <c:pt idx="70">
                  <c:v>0.47402597402597413</c:v>
                </c:pt>
                <c:pt idx="71">
                  <c:v>0.47572815533980589</c:v>
                </c:pt>
                <c:pt idx="72">
                  <c:v>0.47741935483870979</c:v>
                </c:pt>
                <c:pt idx="73">
                  <c:v>0.47909967845659179</c:v>
                </c:pt>
                <c:pt idx="74">
                  <c:v>0.48076923076923084</c:v>
                </c:pt>
                <c:pt idx="75">
                  <c:v>0.48242811501597443</c:v>
                </c:pt>
                <c:pt idx="76">
                  <c:v>0.48407643312101917</c:v>
                </c:pt>
                <c:pt idx="77">
                  <c:v>0.48571428571428582</c:v>
                </c:pt>
                <c:pt idx="78">
                  <c:v>0.48734177215189883</c:v>
                </c:pt>
                <c:pt idx="79">
                  <c:v>0.48895899053627767</c:v>
                </c:pt>
                <c:pt idx="80">
                  <c:v>0.4905660377358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Bollinger Special Cuvée Brut 750ml (1.2%)</c:v>
                </c:pt>
                <c:pt idx="5">
                  <c:v>Champagne Laurent-Perrier Blanc La Cuvée 750ml (2.7%)</c:v>
                </c:pt>
                <c:pt idx="6">
                  <c:v>Champagne Vranken Demoiselle Rosé Prestige 750ml (2.0%)</c:v>
                </c:pt>
                <c:pt idx="7">
                  <c:v>Champagne Ayala Brut Majeur 750ml (1.7%)</c:v>
                </c:pt>
                <c:pt idx="8">
                  <c:v>Champagne Canard-Duchêne Blanc Cuvée Léonie Brut 750ml (2.6%)</c:v>
                </c:pt>
                <c:pt idx="9">
                  <c:v>Champagne Ruinart Brut (étui) 750ml (1.2%)</c:v>
                </c:pt>
              </c:strCache>
            </c:strRef>
          </c:cat>
          <c:val>
            <c:numRef>
              <c:f>Sheet1!$B$2:$B$11</c:f>
              <c:numCache>
                <c:formatCode>General</c:formatCode>
                <c:ptCount val="10"/>
                <c:pt idx="0">
                  <c:v>0.12290037725364976</c:v>
                </c:pt>
                <c:pt idx="1">
                  <c:v>5.5620212562588443E-2</c:v>
                </c:pt>
                <c:pt idx="2">
                  <c:v>4.371234755218173E-2</c:v>
                </c:pt>
                <c:pt idx="3">
                  <c:v>4.2911382336719622E-2</c:v>
                </c:pt>
                <c:pt idx="4">
                  <c:v>3.3768507209366826E-2</c:v>
                </c:pt>
                <c:pt idx="5">
                  <c:v>3.1532120497530097E-2</c:v>
                </c:pt>
                <c:pt idx="6">
                  <c:v>3.108354500607256E-2</c:v>
                </c:pt>
                <c:pt idx="7">
                  <c:v>3.0047117041068199E-2</c:v>
                </c:pt>
                <c:pt idx="8">
                  <c:v>2.8384980919577259E-2</c:v>
                </c:pt>
                <c:pt idx="9">
                  <c:v>2.65147453528030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Laurent-Perrier Blanc La Cuvée 750ml (2.7%)</c:v>
                </c:pt>
                <c:pt idx="5">
                  <c:v>Champagne Ruinart Brut (étui) 750ml (1.2%)</c:v>
                </c:pt>
                <c:pt idx="6">
                  <c:v>Champagne Bollinger Special Cuvée Brut 750ml (1.2%)</c:v>
                </c:pt>
                <c:pt idx="7">
                  <c:v>Champagne Laurent-Perrier Blanc La Cuvée 1500ml (0.8%)</c:v>
                </c:pt>
                <c:pt idx="8">
                  <c:v>Champagne Canard-Duchêne Blanc Cuvée Léonie Brut 750ml (2.6%)</c:v>
                </c:pt>
                <c:pt idx="9">
                  <c:v>Champagne Ayala Brut Majeur 750ml (1.7%)</c:v>
                </c:pt>
              </c:strCache>
            </c:strRef>
          </c:cat>
          <c:val>
            <c:numRef>
              <c:f>Sheet1!$B$2:$B$11</c:f>
              <c:numCache>
                <c:formatCode>General</c:formatCode>
                <c:ptCount val="10"/>
                <c:pt idx="0">
                  <c:v>0.15276271314369455</c:v>
                </c:pt>
                <c:pt idx="1">
                  <c:v>5.2683857335863241E-2</c:v>
                </c:pt>
                <c:pt idx="2">
                  <c:v>4.4433232465482253E-2</c:v>
                </c:pt>
                <c:pt idx="3">
                  <c:v>3.7599030025320897E-2</c:v>
                </c:pt>
                <c:pt idx="4">
                  <c:v>3.3301185123448596E-2</c:v>
                </c:pt>
                <c:pt idx="5">
                  <c:v>3.1791104865376577E-2</c:v>
                </c:pt>
                <c:pt idx="6">
                  <c:v>3.1208496750745569E-2</c:v>
                </c:pt>
                <c:pt idx="7">
                  <c:v>3.117707450602852E-2</c:v>
                </c:pt>
                <c:pt idx="8">
                  <c:v>3.0394924316365098E-2</c:v>
                </c:pt>
                <c:pt idx="9">
                  <c:v>2.9859165252801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esserat de Bellefon Blanc de Blanc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c:v>
                </c:pt>
                <c:pt idx="3">
                  <c:v>65</c:v>
                </c:pt>
                <c:pt idx="4">
                  <c:v>69</c:v>
                </c:pt>
              </c:numCache>
            </c:numRef>
          </c:xVal>
          <c:yVal>
            <c:numRef>
              <c:f>Sheet1!$B$2:$B$6</c:f>
              <c:numCache>
                <c:formatCode>General</c:formatCode>
                <c:ptCount val="5"/>
                <c:pt idx="0">
                  <c:v>0.36409625436030174</c:v>
                </c:pt>
                <c:pt idx="1">
                  <c:v>7.6318018839991758E-2</c:v>
                </c:pt>
                <c:pt idx="2">
                  <c:v>0</c:v>
                </c:pt>
                <c:pt idx="3">
                  <c:v>-0.19165487485793098</c:v>
                </c:pt>
                <c:pt idx="4">
                  <c:v>-0.2881001964973786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esserat de Bellef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0000000000003</c:v>
                </c:pt>
                <c:pt idx="2">
                  <c:v>39.950000000000003</c:v>
                </c:pt>
                <c:pt idx="3">
                  <c:v>42.95</c:v>
                </c:pt>
                <c:pt idx="4">
                  <c:v>47.95</c:v>
                </c:pt>
              </c:numCache>
            </c:numRef>
          </c:xVal>
          <c:yVal>
            <c:numRef>
              <c:f>Sheet1!$B$9:$B$13</c:f>
              <c:numCache>
                <c:formatCode>General</c:formatCode>
                <c:ptCount val="5"/>
                <c:pt idx="0">
                  <c:v>1.0940372765507453</c:v>
                </c:pt>
                <c:pt idx="1">
                  <c:v>0.57418282906995777</c:v>
                </c:pt>
                <c:pt idx="2">
                  <c:v>0</c:v>
                </c:pt>
                <c:pt idx="3">
                  <c:v>-0.35607508778931068</c:v>
                </c:pt>
                <c:pt idx="4">
                  <c:v>-0.592520894427552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41.51016555703899</c:v>
                </c:pt>
                <c:pt idx="1">
                  <c:v>139.35838964565943</c:v>
                </c:pt>
                <c:pt idx="2">
                  <c:v>137.28221090819693</c:v>
                </c:pt>
                <c:pt idx="3">
                  <c:v>135.27785555177121</c:v>
                </c:pt>
                <c:pt idx="4">
                  <c:v>133.27158248315962</c:v>
                </c:pt>
                <c:pt idx="5">
                  <c:v>130.72042307421839</c:v>
                </c:pt>
                <c:pt idx="6">
                  <c:v>128.268657853668</c:v>
                </c:pt>
                <c:pt idx="7">
                  <c:v>125.91011011512016</c:v>
                </c:pt>
                <c:pt idx="8">
                  <c:v>123.63916872911223</c:v>
                </c:pt>
                <c:pt idx="9">
                  <c:v>121.45072191803096</c:v>
                </c:pt>
                <c:pt idx="10">
                  <c:v>119.34009974760266</c:v>
                </c:pt>
                <c:pt idx="11">
                  <c:v>117.30302413966693</c:v>
                </c:pt>
                <c:pt idx="12">
                  <c:v>115.33556537463777</c:v>
                </c:pt>
                <c:pt idx="13">
                  <c:v>113.43410419394078</c:v>
                </c:pt>
                <c:pt idx="14">
                  <c:v>111.6717636206979</c:v>
                </c:pt>
                <c:pt idx="15">
                  <c:v>110.63458889598077</c:v>
                </c:pt>
                <c:pt idx="16">
                  <c:v>109.61468223605458</c:v>
                </c:pt>
                <c:pt idx="17">
                  <c:v>108.6115693650237</c:v>
                </c:pt>
                <c:pt idx="18">
                  <c:v>107.62479709987609</c:v>
                </c:pt>
                <c:pt idx="19">
                  <c:v>106.65393197160287</c:v>
                </c:pt>
                <c:pt idx="20">
                  <c:v>105.69855896061497</c:v>
                </c:pt>
                <c:pt idx="21">
                  <c:v>104.7582803356792</c:v>
                </c:pt>
                <c:pt idx="22">
                  <c:v>103.83271458669006</c:v>
                </c:pt>
                <c:pt idx="23">
                  <c:v>101.88678337374959</c:v>
                </c:pt>
                <c:pt idx="24">
                  <c:v>100</c:v>
                </c:pt>
                <c:pt idx="25">
                  <c:v>98.17003300050493</c:v>
                </c:pt>
                <c:pt idx="26">
                  <c:v>96.394644005594316</c:v>
                </c:pt>
                <c:pt idx="27">
                  <c:v>94.671683248412663</c:v>
                </c:pt>
                <c:pt idx="28">
                  <c:v>92.999086005989113</c:v>
                </c:pt>
                <c:pt idx="29">
                  <c:v>91.374869717601086</c:v>
                </c:pt>
                <c:pt idx="30">
                  <c:v>89.797131562628579</c:v>
                </c:pt>
                <c:pt idx="31">
                  <c:v>88.264046320946406</c:v>
                </c:pt>
                <c:pt idx="32">
                  <c:v>86.773864378947806</c:v>
                </c:pt>
                <c:pt idx="33">
                  <c:v>85.324909781156393</c:v>
                </c:pt>
                <c:pt idx="34">
                  <c:v>83.915578259581451</c:v>
                </c:pt>
                <c:pt idx="35">
                  <c:v>82.54433519974171</c:v>
                </c:pt>
                <c:pt idx="36">
                  <c:v>81.209713523527142</c:v>
                </c:pt>
                <c:pt idx="37">
                  <c:v>79.910311485060816</c:v>
                </c:pt>
                <c:pt idx="38">
                  <c:v>78.644790387049696</c:v>
                </c:pt>
                <c:pt idx="39">
                  <c:v>77.411872232520636</c:v>
                </c:pt>
                <c:pt idx="40">
                  <c:v>76.210337331045395</c:v>
                </c:pt>
                <c:pt idx="41">
                  <c:v>75.039021880335412</c:v>
                </c:pt>
                <c:pt idx="42">
                  <c:v>73.89681554407449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13.29763074985773</c:v>
                </c:pt>
                <c:pt idx="1">
                  <c:v>112.73270950560052</c:v>
                </c:pt>
                <c:pt idx="2">
                  <c:v>112.19381958815804</c:v>
                </c:pt>
                <c:pt idx="3">
                  <c:v>111.67972795878612</c:v>
                </c:pt>
                <c:pt idx="4">
                  <c:v>111.13071116207331</c:v>
                </c:pt>
                <c:pt idx="5">
                  <c:v>110.08930768474126</c:v>
                </c:pt>
                <c:pt idx="6">
                  <c:v>109.09010653363758</c:v>
                </c:pt>
                <c:pt idx="7">
                  <c:v>108.13027375088306</c:v>
                </c:pt>
                <c:pt idx="8">
                  <c:v>107.20726132294061</c:v>
                </c:pt>
                <c:pt idx="9">
                  <c:v>106.31877258847166</c:v>
                </c:pt>
                <c:pt idx="10">
                  <c:v>105.46273206640177</c:v>
                </c:pt>
                <c:pt idx="11">
                  <c:v>104.63725914158164</c:v>
                </c:pt>
                <c:pt idx="12">
                  <c:v>103.84064511398338</c:v>
                </c:pt>
                <c:pt idx="13">
                  <c:v>103.07133317822803</c:v>
                </c:pt>
                <c:pt idx="14">
                  <c:v>102.39792604100084</c:v>
                </c:pt>
                <c:pt idx="15">
                  <c:v>102.36541310005478</c:v>
                </c:pt>
                <c:pt idx="16">
                  <c:v>102.33180002559989</c:v>
                </c:pt>
                <c:pt idx="17">
                  <c:v>102.29707034809579</c:v>
                </c:pt>
                <c:pt idx="18">
                  <c:v>102.2612118836302</c:v>
                </c:pt>
                <c:pt idx="19">
                  <c:v>102.22421628762636</c:v>
                </c:pt>
                <c:pt idx="20">
                  <c:v>102.18607865045377</c:v>
                </c:pt>
                <c:pt idx="21">
                  <c:v>102.1467971310616</c:v>
                </c:pt>
                <c:pt idx="22">
                  <c:v>102.10637262511335</c:v>
                </c:pt>
                <c:pt idx="23">
                  <c:v>101.03976227840248</c:v>
                </c:pt>
                <c:pt idx="24">
                  <c:v>100</c:v>
                </c:pt>
                <c:pt idx="25">
                  <c:v>98.986205027830593</c:v>
                </c:pt>
                <c:pt idx="26">
                  <c:v>97.99751414710579</c:v>
                </c:pt>
                <c:pt idx="27">
                  <c:v>97.033080921940453</c:v>
                </c:pt>
                <c:pt idx="28">
                  <c:v>96.092075669438088</c:v>
                </c:pt>
                <c:pt idx="29">
                  <c:v>95.173685963563358</c:v>
                </c:pt>
                <c:pt idx="30">
                  <c:v>94.277117479473802</c:v>
                </c:pt>
                <c:pt idx="31">
                  <c:v>93.401595017761196</c:v>
                </c:pt>
                <c:pt idx="32">
                  <c:v>92.546363579003796</c:v>
                </c:pt>
                <c:pt idx="33">
                  <c:v>91.71068938955257</c:v>
                </c:pt>
                <c:pt idx="34">
                  <c:v>90.893860807687275</c:v>
                </c:pt>
                <c:pt idx="35">
                  <c:v>90.09518906397409</c:v>
                </c:pt>
                <c:pt idx="36">
                  <c:v>89.31400881027686</c:v>
                </c:pt>
                <c:pt idx="37">
                  <c:v>88.549678468262641</c:v>
                </c:pt>
                <c:pt idx="38">
                  <c:v>87.801580380624259</c:v>
                </c:pt>
                <c:pt idx="39">
                  <c:v>87.069120777062608</c:v>
                </c:pt>
                <c:pt idx="40">
                  <c:v>86.351729572824581</c:v>
                </c:pt>
                <c:pt idx="41">
                  <c:v>85.648860020888279</c:v>
                </c:pt>
                <c:pt idx="42">
                  <c:v>84.9599882402631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74.119804767683405</c:v>
                </c:pt>
                <c:pt idx="1">
                  <c:v>75.757988346350089</c:v>
                </c:pt>
                <c:pt idx="2">
                  <c:v>77.353374374846467</c:v>
                </c:pt>
                <c:pt idx="3">
                  <c:v>78.908261717373477</c:v>
                </c:pt>
                <c:pt idx="4">
                  <c:v>80.382449093843761</c:v>
                </c:pt>
                <c:pt idx="5">
                  <c:v>81.437558147810918</c:v>
                </c:pt>
                <c:pt idx="6">
                  <c:v>82.455317712880188</c:v>
                </c:pt>
                <c:pt idx="7">
                  <c:v>83.437551358522654</c:v>
                </c:pt>
                <c:pt idx="8">
                  <c:v>84.385978422712455</c:v>
                </c:pt>
                <c:pt idx="9">
                  <c:v>85.302223610656739</c:v>
                </c:pt>
                <c:pt idx="10">
                  <c:v>86.187825004185854</c:v>
                </c:pt>
                <c:pt idx="11">
                  <c:v>87.044240805567753</c:v>
                </c:pt>
                <c:pt idx="12">
                  <c:v>87.872855074478238</c:v>
                </c:pt>
                <c:pt idx="13">
                  <c:v>88.674982664015673</c:v>
                </c:pt>
                <c:pt idx="14">
                  <c:v>89.51316577144695</c:v>
                </c:pt>
                <c:pt idx="15">
                  <c:v>90.877073158152953</c:v>
                </c:pt>
                <c:pt idx="16">
                  <c:v>92.214346944192258</c:v>
                </c:pt>
                <c:pt idx="17">
                  <c:v>93.525606660458109</c:v>
                </c:pt>
                <c:pt idx="18">
                  <c:v>94.811452776004259</c:v>
                </c:pt>
                <c:pt idx="19">
                  <c:v>96.072467548656832</c:v>
                </c:pt>
                <c:pt idx="20">
                  <c:v>97.309215816688805</c:v>
                </c:pt>
                <c:pt idx="21">
                  <c:v>98.522245737295236</c:v>
                </c:pt>
                <c:pt idx="22">
                  <c:v>99.712089476949075</c:v>
                </c:pt>
                <c:pt idx="23">
                  <c:v>99.865083182284039</c:v>
                </c:pt>
                <c:pt idx="24">
                  <c:v>100</c:v>
                </c:pt>
                <c:pt idx="25">
                  <c:v>100.11798314616082</c:v>
                </c:pt>
                <c:pt idx="26">
                  <c:v>100.22008757716119</c:v>
                </c:pt>
                <c:pt idx="27">
                  <c:v>100.30728446611683</c:v>
                </c:pt>
                <c:pt idx="28">
                  <c:v>100.38046615201802</c:v>
                </c:pt>
                <c:pt idx="29">
                  <c:v>100.44045140966263</c:v>
                </c:pt>
                <c:pt idx="30">
                  <c:v>100.48799089070913</c:v>
                </c:pt>
                <c:pt idx="31">
                  <c:v>100.52377259814212</c:v>
                </c:pt>
                <c:pt idx="32">
                  <c:v>100.54842727475346</c:v>
                </c:pt>
                <c:pt idx="33">
                  <c:v>100.56253360795932</c:v>
                </c:pt>
                <c:pt idx="34">
                  <c:v>100.56662317597763</c:v>
                </c:pt>
                <c:pt idx="35">
                  <c:v>100.5611850822345</c:v>
                </c:pt>
                <c:pt idx="36">
                  <c:v>100.54667024464972</c:v>
                </c:pt>
                <c:pt idx="37">
                  <c:v>100.52349532342335</c:v>
                </c:pt>
                <c:pt idx="38">
                  <c:v>100.49204628480821</c:v>
                </c:pt>
                <c:pt idx="39">
                  <c:v>100.45268160915471</c:v>
                </c:pt>
                <c:pt idx="40">
                  <c:v>100.4057351594204</c:v>
                </c:pt>
                <c:pt idx="41">
                  <c:v>100.35151873174929</c:v>
                </c:pt>
                <c:pt idx="42">
                  <c:v>100.290324313020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749644159027515</c:v>
                </c:pt>
                <c:pt idx="1">
                  <c:v>0.28243900955323881</c:v>
                </c:pt>
                <c:pt idx="2">
                  <c:v>0.28976106047616457</c:v>
                </c:pt>
                <c:pt idx="3">
                  <c:v>0.29693519117842576</c:v>
                </c:pt>
                <c:pt idx="4">
                  <c:v>0.30396583926664145</c:v>
                </c:pt>
                <c:pt idx="5">
                  <c:v>0.31085726660063517</c:v>
                </c:pt>
                <c:pt idx="6">
                  <c:v>0.31761356790847184</c:v>
                </c:pt>
                <c:pt idx="7">
                  <c:v>0.32423867889965186</c:v>
                </c:pt>
                <c:pt idx="8">
                  <c:v>0.33073638391023219</c:v>
                </c:pt>
                <c:pt idx="9">
                  <c:v>0.33711032311108713</c:v>
                </c:pt>
                <c:pt idx="10">
                  <c:v>0.34336399930815237</c:v>
                </c:pt>
                <c:pt idx="11">
                  <c:v>0.34950078436134696</c:v>
                </c:pt>
                <c:pt idx="12">
                  <c:v>0.35552392524689019</c:v>
                </c:pt>
                <c:pt idx="13">
                  <c:v>0.3614365497859095</c:v>
                </c:pt>
                <c:pt idx="14">
                  <c:v>0.36724167206058322</c:v>
                </c:pt>
                <c:pt idx="15">
                  <c:v>0.37294219753751467</c:v>
                </c:pt>
                <c:pt idx="16">
                  <c:v>0.37854092791664423</c:v>
                </c:pt>
                <c:pt idx="17">
                  <c:v>0.38404056572269163</c:v>
                </c:pt>
                <c:pt idx="18">
                  <c:v>0.38944371865494876</c:v>
                </c:pt>
                <c:pt idx="19">
                  <c:v>0.394752903710123</c:v>
                </c:pt>
                <c:pt idx="20">
                  <c:v>0.3999705510919323</c:v>
                </c:pt>
                <c:pt idx="21">
                  <c:v>0.40509900792020631</c:v>
                </c:pt>
                <c:pt idx="22">
                  <c:v>0.41014054175139103</c:v>
                </c:pt>
                <c:pt idx="23">
                  <c:v>0.41509734392154751</c:v>
                </c:pt>
                <c:pt idx="24">
                  <c:v>0.41997153272220111</c:v>
                </c:pt>
                <c:pt idx="25">
                  <c:v>0.42476515641871193</c:v>
                </c:pt>
                <c:pt idx="26">
                  <c:v>0.42948019612019789</c:v>
                </c:pt>
                <c:pt idx="27">
                  <c:v>0.43411856850946451</c:v>
                </c:pt>
                <c:pt idx="28">
                  <c:v>0.43868212844083987</c:v>
                </c:pt>
                <c:pt idx="29">
                  <c:v>0.44317267141331312</c:v>
                </c:pt>
                <c:pt idx="30">
                  <c:v>0.4475919359259059</c:v>
                </c:pt>
                <c:pt idx="31">
                  <c:v>0.45194160572176489</c:v>
                </c:pt>
                <c:pt idx="32">
                  <c:v>0.45622331192706367</c:v>
                </c:pt>
                <c:pt idx="33">
                  <c:v>0.46043863509041971</c:v>
                </c:pt>
                <c:pt idx="34">
                  <c:v>0.46458910712818569</c:v>
                </c:pt>
                <c:pt idx="35">
                  <c:v>0.46867621318064234</c:v>
                </c:pt>
                <c:pt idx="36">
                  <c:v>0.47270139338381922</c:v>
                </c:pt>
                <c:pt idx="37">
                  <c:v>0.47666604456138456</c:v>
                </c:pt>
                <c:pt idx="38">
                  <c:v>0.48057152184077723</c:v>
                </c:pt>
                <c:pt idx="39">
                  <c:v>0.4844191401975122</c:v>
                </c:pt>
                <c:pt idx="40">
                  <c:v>0.48821017593135396</c:v>
                </c:pt>
                <c:pt idx="41">
                  <c:v>0.49194586807784046</c:v>
                </c:pt>
                <c:pt idx="42">
                  <c:v>0.495627419758435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Vranken Demoiselle Rosé Prestige 750ml (2.0%)</c:v>
                </c:pt>
                <c:pt idx="3">
                  <c:v>Champagne Ruinart Blanc de Blancs 750ml (2.0%)</c:v>
                </c:pt>
                <c:pt idx="4">
                  <c:v>Champagne Ayala Brut Majeur 750ml (1.7%)</c:v>
                </c:pt>
                <c:pt idx="5">
                  <c:v>Champagne E.Nicolas Brut 750ml (11.6%)</c:v>
                </c:pt>
                <c:pt idx="6">
                  <c:v>Champagne Laurent-Perrier Blanc La Cuvée 750ml (2.7%)</c:v>
                </c:pt>
                <c:pt idx="7">
                  <c:v>Champagne Pol Roger Brut 750ml (0.8%)</c:v>
                </c:pt>
                <c:pt idx="8">
                  <c:v>Champagne Bollinger Special Cuvée Brut 750ml (1.2%)</c:v>
                </c:pt>
                <c:pt idx="9">
                  <c:v>Champagne Ruinart Blanc de Blancs (étui) 750ml (0.8%)</c:v>
                </c:pt>
              </c:strCache>
            </c:strRef>
          </c:cat>
          <c:val>
            <c:numRef>
              <c:f>Sheet1!$B$2:$B$11</c:f>
              <c:numCache>
                <c:formatCode>General</c:formatCode>
                <c:ptCount val="10"/>
                <c:pt idx="0">
                  <c:v>5.5752725407046316E-2</c:v>
                </c:pt>
                <c:pt idx="1">
                  <c:v>5.4643473744452289E-2</c:v>
                </c:pt>
                <c:pt idx="2">
                  <c:v>4.3113918481722725E-2</c:v>
                </c:pt>
                <c:pt idx="3">
                  <c:v>4.0665474647948993E-2</c:v>
                </c:pt>
                <c:pt idx="4">
                  <c:v>3.7173867076372477E-2</c:v>
                </c:pt>
                <c:pt idx="5">
                  <c:v>3.6359275567761237E-2</c:v>
                </c:pt>
                <c:pt idx="6">
                  <c:v>3.5762719314552466E-2</c:v>
                </c:pt>
                <c:pt idx="7">
                  <c:v>2.937014778223139E-2</c:v>
                </c:pt>
                <c:pt idx="8">
                  <c:v>2.7287421310295105E-2</c:v>
                </c:pt>
                <c:pt idx="9">
                  <c:v>2.72225239070158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Champagne Deutz Brut Classique 750ml (3.4%)</c:v>
                </c:pt>
                <c:pt idx="4">
                  <c:v>Mousseux French Bloom Blanc Bio Sans Alcool 750ml (0.7%)</c:v>
                </c:pt>
                <c:pt idx="5">
                  <c:v>Champagne Ruinart Blanc de Blancs (étui) 750ml (0.8%)</c:v>
                </c:pt>
                <c:pt idx="6">
                  <c:v>Champagne Laurent-Perrier Blanc La Cuvée 750ml (2.7%)</c:v>
                </c:pt>
                <c:pt idx="7">
                  <c:v>Champagne Pol Roger Brut 750ml (0.8%)</c:v>
                </c:pt>
                <c:pt idx="8">
                  <c:v>Champagne Ayala Brut Majeur 750ml (1.7%)</c:v>
                </c:pt>
                <c:pt idx="9">
                  <c:v>Champagne Bollinger Special Cuvée Brut 750ml (1.2%)</c:v>
                </c:pt>
              </c:strCache>
            </c:strRef>
          </c:cat>
          <c:val>
            <c:numRef>
              <c:f>Sheet1!$B$2:$B$11</c:f>
              <c:numCache>
                <c:formatCode>General</c:formatCode>
                <c:ptCount val="10"/>
                <c:pt idx="0">
                  <c:v>6.0953363272914715E-2</c:v>
                </c:pt>
                <c:pt idx="1">
                  <c:v>5.4779348634414568E-2</c:v>
                </c:pt>
                <c:pt idx="2">
                  <c:v>5.3966489788064308E-2</c:v>
                </c:pt>
                <c:pt idx="3">
                  <c:v>4.8362514480828303E-2</c:v>
                </c:pt>
                <c:pt idx="4">
                  <c:v>4.2991892872888189E-2</c:v>
                </c:pt>
                <c:pt idx="5">
                  <c:v>3.8249331578013857E-2</c:v>
                </c:pt>
                <c:pt idx="6">
                  <c:v>3.0557147300374961E-2</c:v>
                </c:pt>
                <c:pt idx="7">
                  <c:v>3.0503393286391893E-2</c:v>
                </c:pt>
                <c:pt idx="8">
                  <c:v>3.0140212945397243E-2</c:v>
                </c:pt>
                <c:pt idx="9">
                  <c:v>3.009602279292963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84.20189958105638</c:v>
                </c:pt>
                <c:pt idx="1">
                  <c:v>175.1686967232263</c:v>
                </c:pt>
                <c:pt idx="2">
                  <c:v>166.89625082361562</c:v>
                </c:pt>
                <c:pt idx="3">
                  <c:v>159.30421137592762</c:v>
                </c:pt>
                <c:pt idx="4">
                  <c:v>152.31870303000716</c:v>
                </c:pt>
                <c:pt idx="5">
                  <c:v>145.87300175537601</c:v>
                </c:pt>
                <c:pt idx="6">
                  <c:v>138.52324693234445</c:v>
                </c:pt>
                <c:pt idx="7">
                  <c:v>131.61803717921396</c:v>
                </c:pt>
                <c:pt idx="8">
                  <c:v>125.26119810600198</c:v>
                </c:pt>
                <c:pt idx="9">
                  <c:v>119.39888879878562</c:v>
                </c:pt>
                <c:pt idx="10">
                  <c:v>113.98267970589795</c:v>
                </c:pt>
                <c:pt idx="11">
                  <c:v>108.96922111906424</c:v>
                </c:pt>
                <c:pt idx="12">
                  <c:v>104.31982191610811</c:v>
                </c:pt>
                <c:pt idx="13">
                  <c:v>100</c:v>
                </c:pt>
                <c:pt idx="14">
                  <c:v>95.979040344490045</c:v>
                </c:pt>
                <c:pt idx="15">
                  <c:v>92.22957947687479</c:v>
                </c:pt>
                <c:pt idx="16">
                  <c:v>85.493449987211775</c:v>
                </c:pt>
                <c:pt idx="17">
                  <c:v>79.110401107768197</c:v>
                </c:pt>
                <c:pt idx="18">
                  <c:v>73.381060685321074</c:v>
                </c:pt>
                <c:pt idx="19">
                  <c:v>68.229804966681442</c:v>
                </c:pt>
                <c:pt idx="20">
                  <c:v>63.590383211629344</c:v>
                </c:pt>
                <c:pt idx="21">
                  <c:v>59.404449483244889</c:v>
                </c:pt>
                <c:pt idx="22">
                  <c:v>55.620413560825455</c:v>
                </c:pt>
                <c:pt idx="23">
                  <c:v>52.192553924501219</c:v>
                </c:pt>
                <c:pt idx="24">
                  <c:v>49.080327496121363</c:v>
                </c:pt>
                <c:pt idx="25">
                  <c:v>46.247815924131139</c:v>
                </c:pt>
                <c:pt idx="26">
                  <c:v>44.476327935632881</c:v>
                </c:pt>
                <c:pt idx="27">
                  <c:v>42.896773499986473</c:v>
                </c:pt>
                <c:pt idx="28">
                  <c:v>41.405156819817506</c:v>
                </c:pt>
                <c:pt idx="29">
                  <c:v>39.9951717317335</c:v>
                </c:pt>
                <c:pt idx="30">
                  <c:v>38.660955811580294</c:v>
                </c:pt>
                <c:pt idx="31">
                  <c:v>37.3970750284442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53.86183730451631</c:v>
                </c:pt>
                <c:pt idx="1">
                  <c:v>148.52607934660796</c:v>
                </c:pt>
                <c:pt idx="2">
                  <c:v>143.61881690754791</c:v>
                </c:pt>
                <c:pt idx="3">
                  <c:v>139.09827156126931</c:v>
                </c:pt>
                <c:pt idx="4">
                  <c:v>134.9244458906378</c:v>
                </c:pt>
                <c:pt idx="5">
                  <c:v>131.06011482497567</c:v>
                </c:pt>
                <c:pt idx="6">
                  <c:v>126.20978115197114</c:v>
                </c:pt>
                <c:pt idx="7">
                  <c:v>121.58576830198629</c:v>
                </c:pt>
                <c:pt idx="8">
                  <c:v>117.30182088484047</c:v>
                </c:pt>
                <c:pt idx="9">
                  <c:v>113.32731601417943</c:v>
                </c:pt>
                <c:pt idx="10">
                  <c:v>109.63418481333096</c:v>
                </c:pt>
                <c:pt idx="11">
                  <c:v>106.19691544996958</c:v>
                </c:pt>
                <c:pt idx="12">
                  <c:v>102.99244602781586</c:v>
                </c:pt>
                <c:pt idx="13">
                  <c:v>100</c:v>
                </c:pt>
                <c:pt idx="14">
                  <c:v>97.20089731650441</c:v>
                </c:pt>
                <c:pt idx="15">
                  <c:v>94.5783607925827</c:v>
                </c:pt>
                <c:pt idx="16">
                  <c:v>88.768761560104608</c:v>
                </c:pt>
                <c:pt idx="17">
                  <c:v>83.158469692523482</c:v>
                </c:pt>
                <c:pt idx="18">
                  <c:v>78.079783549503773</c:v>
                </c:pt>
                <c:pt idx="19">
                  <c:v>73.476381538613666</c:v>
                </c:pt>
                <c:pt idx="20">
                  <c:v>69.298300451203843</c:v>
                </c:pt>
                <c:pt idx="21">
                  <c:v>65.500910251884136</c:v>
                </c:pt>
                <c:pt idx="22">
                  <c:v>62.044133631055587</c:v>
                </c:pt>
                <c:pt idx="23">
                  <c:v>58.891874155810832</c:v>
                </c:pt>
                <c:pt idx="24">
                  <c:v>56.011601751130783</c:v>
                </c:pt>
                <c:pt idx="25">
                  <c:v>53.374043511956927</c:v>
                </c:pt>
                <c:pt idx="26">
                  <c:v>51.899726248359158</c:v>
                </c:pt>
                <c:pt idx="27">
                  <c:v>50.606291649313484</c:v>
                </c:pt>
                <c:pt idx="28">
                  <c:v>49.377321609210611</c:v>
                </c:pt>
                <c:pt idx="29">
                  <c:v>48.208580874415759</c:v>
                </c:pt>
                <c:pt idx="30">
                  <c:v>47.0960541336106</c:v>
                </c:pt>
                <c:pt idx="31">
                  <c:v>46.035955098115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5.05916158796485</c:v>
                </c:pt>
                <c:pt idx="1">
                  <c:v>114.47454287270406</c:v>
                </c:pt>
                <c:pt idx="2">
                  <c:v>113.88740085280719</c:v>
                </c:pt>
                <c:pt idx="3">
                  <c:v>113.30648416041289</c:v>
                </c:pt>
                <c:pt idx="4">
                  <c:v>112.73605369416786</c:v>
                </c:pt>
                <c:pt idx="5">
                  <c:v>112.17733741656851</c:v>
                </c:pt>
                <c:pt idx="6">
                  <c:v>110.52506578410299</c:v>
                </c:pt>
                <c:pt idx="7">
                  <c:v>108.81588831502211</c:v>
                </c:pt>
                <c:pt idx="8">
                  <c:v>107.17714881626961</c:v>
                </c:pt>
                <c:pt idx="9">
                  <c:v>105.60872601685671</c:v>
                </c:pt>
                <c:pt idx="10">
                  <c:v>104.10922282151047</c:v>
                </c:pt>
                <c:pt idx="11">
                  <c:v>102.67643517871809</c:v>
                </c:pt>
                <c:pt idx="12">
                  <c:v>101.30767636752327</c:v>
                </c:pt>
                <c:pt idx="13">
                  <c:v>100</c:v>
                </c:pt>
                <c:pt idx="14">
                  <c:v>98.750352965820937</c:v>
                </c:pt>
                <c:pt idx="15">
                  <c:v>97.55567977433364</c:v>
                </c:pt>
                <c:pt idx="16">
                  <c:v>92.899100516961539</c:v>
                </c:pt>
                <c:pt idx="17">
                  <c:v>88.247381526893392</c:v>
                </c:pt>
                <c:pt idx="18">
                  <c:v>83.975137210464922</c:v>
                </c:pt>
                <c:pt idx="19">
                  <c:v>80.050268203848987</c:v>
                </c:pt>
                <c:pt idx="20">
                  <c:v>76.44320833573903</c:v>
                </c:pt>
                <c:pt idx="21">
                  <c:v>73.126470459928441</c:v>
                </c:pt>
                <c:pt idx="22">
                  <c:v>70.074339980214646</c:v>
                </c:pt>
                <c:pt idx="23">
                  <c:v>67.262707044527431</c:v>
                </c:pt>
                <c:pt idx="24">
                  <c:v>64.669004317325985</c:v>
                </c:pt>
                <c:pt idx="25">
                  <c:v>62.272209023230204</c:v>
                </c:pt>
                <c:pt idx="26">
                  <c:v>61.17113453829257</c:v>
                </c:pt>
                <c:pt idx="27">
                  <c:v>60.237280046361263</c:v>
                </c:pt>
                <c:pt idx="28">
                  <c:v>59.338233656868809</c:v>
                </c:pt>
                <c:pt idx="29">
                  <c:v>58.472393227530752</c:v>
                </c:pt>
                <c:pt idx="30">
                  <c:v>57.638089829064739</c:v>
                </c:pt>
                <c:pt idx="31">
                  <c:v>56.8336284862998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3384354107757624</c:v>
                </c:pt>
                <c:pt idx="1">
                  <c:v>0.34396749941986221</c:v>
                </c:pt>
                <c:pt idx="2">
                  <c:v>0.35378834523693026</c:v>
                </c:pt>
                <c:pt idx="3">
                  <c:v>0.36331949058741814</c:v>
                </c:pt>
                <c:pt idx="4">
                  <c:v>0.37257356775911238</c:v>
                </c:pt>
                <c:pt idx="5">
                  <c:v>0.3815624851264604</c:v>
                </c:pt>
                <c:pt idx="6">
                  <c:v>0.39029747827439182</c:v>
                </c:pt>
                <c:pt idx="7">
                  <c:v>0.39878915684995725</c:v>
                </c:pt>
                <c:pt idx="8">
                  <c:v>0.40704754755256795</c:v>
                </c:pt>
                <c:pt idx="9">
                  <c:v>0.41508213362909119</c:v>
                </c:pt>
                <c:pt idx="10">
                  <c:v>0.42290189120089494</c:v>
                </c:pt>
                <c:pt idx="11">
                  <c:v>0.43051532271539505</c:v>
                </c:pt>
                <c:pt idx="12">
                  <c:v>0.43793048778420496</c:v>
                </c:pt>
                <c:pt idx="13">
                  <c:v>0.44515503164301978</c:v>
                </c:pt>
                <c:pt idx="14">
                  <c:v>0.45219621144450428</c:v>
                </c:pt>
                <c:pt idx="15">
                  <c:v>0.45906092057427239</c:v>
                </c:pt>
                <c:pt idx="16">
                  <c:v>0.46575571116122449</c:v>
                </c:pt>
                <c:pt idx="17">
                  <c:v>0.47228681493675967</c:v>
                </c:pt>
                <c:pt idx="18">
                  <c:v>0.47866016258245092</c:v>
                </c:pt>
                <c:pt idx="19">
                  <c:v>0.48488140169244554</c:v>
                </c:pt>
                <c:pt idx="20">
                  <c:v>0.49095591346494022</c:v>
                </c:pt>
                <c:pt idx="21">
                  <c:v>0.49688882822642133</c:v>
                </c:pt>
                <c:pt idx="22">
                  <c:v>0.50268503988279889</c:v>
                </c:pt>
                <c:pt idx="23">
                  <c:v>0.50834921938299482</c:v>
                </c:pt>
                <c:pt idx="24">
                  <c:v>0.51388582727282583</c:v>
                </c:pt>
                <c:pt idx="25">
                  <c:v>0.51929912541009948</c:v>
                </c:pt>
                <c:pt idx="26">
                  <c:v>0.52459318790558296</c:v>
                </c:pt>
                <c:pt idx="27">
                  <c:v>0.52977191134887736</c:v>
                </c:pt>
                <c:pt idx="28">
                  <c:v>0.53483902437313502</c:v>
                </c:pt>
                <c:pt idx="29">
                  <c:v>0.53979809660796307</c:v>
                </c:pt>
                <c:pt idx="30">
                  <c:v>0.54465254706568511</c:v>
                </c:pt>
                <c:pt idx="31">
                  <c:v>0.54940565200236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2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Ayala Brut Majeur 750ml (1.7%)</c:v>
                </c:pt>
                <c:pt idx="7">
                  <c:v>Champagne Château de Bligny 750ml (1.3%)</c:v>
                </c:pt>
                <c:pt idx="8">
                  <c:v>Champagne Louis Martin Brut 1er Cru 750ml (0.5%)</c:v>
                </c:pt>
                <c:pt idx="9">
                  <c:v>Champagne Laurent-Perrier Blanc La Cuvée 750ml (2.7%)</c:v>
                </c:pt>
              </c:strCache>
            </c:strRef>
          </c:cat>
          <c:val>
            <c:numRef>
              <c:f>Sheet1!$B$2:$B$11</c:f>
              <c:numCache>
                <c:formatCode>General</c:formatCode>
                <c:ptCount val="10"/>
                <c:pt idx="0">
                  <c:v>0.13120130363489252</c:v>
                </c:pt>
                <c:pt idx="1">
                  <c:v>0.11939681870101458</c:v>
                </c:pt>
                <c:pt idx="2">
                  <c:v>0.11448363060826229</c:v>
                </c:pt>
                <c:pt idx="3">
                  <c:v>4.6573962023479951E-2</c:v>
                </c:pt>
                <c:pt idx="4">
                  <c:v>4.3935302634352164E-2</c:v>
                </c:pt>
                <c:pt idx="5">
                  <c:v>3.7173126181003262E-2</c:v>
                </c:pt>
                <c:pt idx="6">
                  <c:v>3.6438965647432701E-2</c:v>
                </c:pt>
                <c:pt idx="7">
                  <c:v>3.5616565469265157E-2</c:v>
                </c:pt>
                <c:pt idx="8">
                  <c:v>2.377596259502197E-2</c:v>
                </c:pt>
                <c:pt idx="9">
                  <c:v>2.06855761894542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Château de Bligny 750ml (1.3%)</c:v>
                </c:pt>
                <c:pt idx="4">
                  <c:v>Champagne Georges Vesselle Grand Cru Brut 750ml (1.0%)</c:v>
                </c:pt>
                <c:pt idx="5">
                  <c:v>Champagne Laurent-Perrier Blanc La Cuvée 750ml (2.7%)</c:v>
                </c:pt>
                <c:pt idx="6">
                  <c:v>Champagne Ayala Brut Majeur 750ml (1.7%)</c:v>
                </c:pt>
                <c:pt idx="7">
                  <c:v>Champagne Nicolas Feuillatte Réserve Exclusive Brut 750ml (3.0%)</c:v>
                </c:pt>
                <c:pt idx="8">
                  <c:v>Champagne Canard-Duchêne Blanc Cuvée Léonie Brut 750ml (2.6%)</c:v>
                </c:pt>
                <c:pt idx="9">
                  <c:v>Champagne Deutz Brut Classique 750ml (3.4%)</c:v>
                </c:pt>
              </c:strCache>
            </c:strRef>
          </c:cat>
          <c:val>
            <c:numRef>
              <c:f>Sheet1!$B$2:$B$11</c:f>
              <c:numCache>
                <c:formatCode>General</c:formatCode>
                <c:ptCount val="10"/>
                <c:pt idx="0">
                  <c:v>9.8720432589726848E-2</c:v>
                </c:pt>
                <c:pt idx="1">
                  <c:v>9.7161103176591865E-2</c:v>
                </c:pt>
                <c:pt idx="2">
                  <c:v>7.9197560041952358E-2</c:v>
                </c:pt>
                <c:pt idx="3">
                  <c:v>4.1461268509938434E-2</c:v>
                </c:pt>
                <c:pt idx="4">
                  <c:v>3.6021303746326533E-2</c:v>
                </c:pt>
                <c:pt idx="5">
                  <c:v>3.5418868952947047E-2</c:v>
                </c:pt>
                <c:pt idx="6">
                  <c:v>3.4838807159666599E-2</c:v>
                </c:pt>
                <c:pt idx="7">
                  <c:v>3.280633263271189E-2</c:v>
                </c:pt>
                <c:pt idx="8">
                  <c:v>3.242626153673929E-2</c:v>
                </c:pt>
                <c:pt idx="9">
                  <c:v>3.215742519799677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Patriarche (2.6%)</c:v>
                </c:pt>
                <c:pt idx="5">
                  <c:v>Les Grumes  (1.0%)</c:v>
                </c:pt>
                <c:pt idx="6">
                  <c:v>Muré (1.3%)</c:v>
                </c:pt>
                <c:pt idx="7">
                  <c:v>Château Moncontour  (1.5%)</c:v>
                </c:pt>
                <c:pt idx="8">
                  <c:v>Malard (6.0%)</c:v>
                </c:pt>
                <c:pt idx="9">
                  <c:v>Dea Augusta (0.5%)</c:v>
                </c:pt>
              </c:strCache>
            </c:strRef>
          </c:cat>
          <c:val>
            <c:numRef>
              <c:f>Sheet1!$B$2:$B$11</c:f>
              <c:numCache>
                <c:formatCode>General</c:formatCode>
                <c:ptCount val="10"/>
                <c:pt idx="0">
                  <c:v>0.22124575293110788</c:v>
                </c:pt>
                <c:pt idx="1">
                  <c:v>0.12987042288957595</c:v>
                </c:pt>
                <c:pt idx="2">
                  <c:v>8.2348970167274937E-2</c:v>
                </c:pt>
                <c:pt idx="3">
                  <c:v>7.171452841190433E-2</c:v>
                </c:pt>
                <c:pt idx="4">
                  <c:v>6.9865520180884086E-2</c:v>
                </c:pt>
                <c:pt idx="5">
                  <c:v>5.772512050554434E-2</c:v>
                </c:pt>
                <c:pt idx="6">
                  <c:v>3.5368094259711609E-2</c:v>
                </c:pt>
                <c:pt idx="7">
                  <c:v>3.3563497918672296E-2</c:v>
                </c:pt>
                <c:pt idx="8">
                  <c:v>2.9980486052822792E-2</c:v>
                </c:pt>
                <c:pt idx="9">
                  <c:v>2.836833954202706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Ayala Brut Majeu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0000000000003</c:v>
                </c:pt>
                <c:pt idx="2">
                  <c:v>39.950000000000003</c:v>
                </c:pt>
                <c:pt idx="3">
                  <c:v>42.95</c:v>
                </c:pt>
                <c:pt idx="4">
                  <c:v>47.95</c:v>
                </c:pt>
              </c:numCache>
            </c:numRef>
          </c:xVal>
          <c:yVal>
            <c:numRef>
              <c:f>Sheet1!$B$2:$B$6</c:f>
              <c:numCache>
                <c:formatCode>General</c:formatCode>
                <c:ptCount val="5"/>
                <c:pt idx="0">
                  <c:v>0.5962771306533422</c:v>
                </c:pt>
                <c:pt idx="1">
                  <c:v>0.36809073216751176</c:v>
                </c:pt>
                <c:pt idx="2">
                  <c:v>0</c:v>
                </c:pt>
                <c:pt idx="3">
                  <c:v>-0.23211833764004217</c:v>
                </c:pt>
                <c:pt idx="4">
                  <c:v>-0.3904539050917074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5.36449156372291</c:v>
                </c:pt>
                <c:pt idx="1">
                  <c:v>151.15439491987505</c:v>
                </c:pt>
                <c:pt idx="2">
                  <c:v>147.24392581897524</c:v>
                </c:pt>
                <c:pt idx="3">
                  <c:v>143.59890109284794</c:v>
                </c:pt>
                <c:pt idx="4">
                  <c:v>140.18962308508571</c:v>
                </c:pt>
                <c:pt idx="5">
                  <c:v>136.99032339494687</c:v>
                </c:pt>
                <c:pt idx="6">
                  <c:v>132.38370578409823</c:v>
                </c:pt>
                <c:pt idx="7">
                  <c:v>127.89797345134401</c:v>
                </c:pt>
                <c:pt idx="8">
                  <c:v>123.68501455118522</c:v>
                </c:pt>
                <c:pt idx="9">
                  <c:v>119.71722192520066</c:v>
                </c:pt>
                <c:pt idx="10">
                  <c:v>115.97152257038192</c:v>
                </c:pt>
                <c:pt idx="11">
                  <c:v>112.42868712931558</c:v>
                </c:pt>
                <c:pt idx="12">
                  <c:v>109.07265290248489</c:v>
                </c:pt>
                <c:pt idx="13">
                  <c:v>105.88991173844224</c:v>
                </c:pt>
                <c:pt idx="14">
                  <c:v>102.86898686552159</c:v>
                </c:pt>
                <c:pt idx="15">
                  <c:v>100</c:v>
                </c:pt>
                <c:pt idx="16">
                  <c:v>95.437523966231126</c:v>
                </c:pt>
                <c:pt idx="17">
                  <c:v>91.044093076479399</c:v>
                </c:pt>
                <c:pt idx="18">
                  <c:v>87.006590743288854</c:v>
                </c:pt>
                <c:pt idx="19">
                  <c:v>83.297786857735503</c:v>
                </c:pt>
                <c:pt idx="20">
                  <c:v>79.892202093806475</c:v>
                </c:pt>
                <c:pt idx="21">
                  <c:v>76.765191368186123</c:v>
                </c:pt>
                <c:pt idx="22">
                  <c:v>73.892630655434019</c:v>
                </c:pt>
                <c:pt idx="23">
                  <c:v>71.251017049072715</c:v>
                </c:pt>
                <c:pt idx="24">
                  <c:v>68.817776672812997</c:v>
                </c:pt>
                <c:pt idx="25">
                  <c:v>66.571615500444054</c:v>
                </c:pt>
                <c:pt idx="26">
                  <c:v>65.417174416912061</c:v>
                </c:pt>
                <c:pt idx="27">
                  <c:v>64.410991387331819</c:v>
                </c:pt>
                <c:pt idx="28">
                  <c:v>63.44178940845012</c:v>
                </c:pt>
                <c:pt idx="29">
                  <c:v>62.507158667387763</c:v>
                </c:pt>
                <c:pt idx="30">
                  <c:v>61.604878963219953</c:v>
                </c:pt>
                <c:pt idx="31">
                  <c:v>60.732905326782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6.7065104030483</c:v>
                </c:pt>
                <c:pt idx="1">
                  <c:v>125.12748913707112</c:v>
                </c:pt>
                <c:pt idx="2">
                  <c:v>123.6971519949672</c:v>
                </c:pt>
                <c:pt idx="3">
                  <c:v>122.39732221258978</c:v>
                </c:pt>
                <c:pt idx="4">
                  <c:v>121.21204073535432</c:v>
                </c:pt>
                <c:pt idx="5">
                  <c:v>120.1273495118005</c:v>
                </c:pt>
                <c:pt idx="6">
                  <c:v>117.71395583801019</c:v>
                </c:pt>
                <c:pt idx="7">
                  <c:v>115.29731106909418</c:v>
                </c:pt>
                <c:pt idx="8">
                  <c:v>113.020428866119</c:v>
                </c:pt>
                <c:pt idx="9">
                  <c:v>110.86767178460279</c:v>
                </c:pt>
                <c:pt idx="10">
                  <c:v>108.82631930049823</c:v>
                </c:pt>
                <c:pt idx="11">
                  <c:v>106.88618555051252</c:v>
                </c:pt>
                <c:pt idx="12">
                  <c:v>105.03920063642786</c:v>
                </c:pt>
                <c:pt idx="13">
                  <c:v>103.27900627297799</c:v>
                </c:pt>
                <c:pt idx="14">
                  <c:v>101.60059475725159</c:v>
                </c:pt>
                <c:pt idx="15">
                  <c:v>100</c:v>
                </c:pt>
                <c:pt idx="16">
                  <c:v>96.617698800226194</c:v>
                </c:pt>
                <c:pt idx="17">
                  <c:v>93.296528649658399</c:v>
                </c:pt>
                <c:pt idx="18">
                  <c:v>90.236091449699828</c:v>
                </c:pt>
                <c:pt idx="19">
                  <c:v>87.42090647517459</c:v>
                </c:pt>
                <c:pt idx="20">
                  <c:v>84.836030443034531</c:v>
                </c:pt>
                <c:pt idx="21">
                  <c:v>82.466179457102001</c:v>
                </c:pt>
                <c:pt idx="22">
                  <c:v>80.295437301806913</c:v>
                </c:pt>
                <c:pt idx="23">
                  <c:v>78.307393790657088</c:v>
                </c:pt>
                <c:pt idx="24">
                  <c:v>76.48552127288859</c:v>
                </c:pt>
                <c:pt idx="25">
                  <c:v>74.813622465429034</c:v>
                </c:pt>
                <c:pt idx="26">
                  <c:v>74.324997569741384</c:v>
                </c:pt>
                <c:pt idx="27">
                  <c:v>73.977952023881784</c:v>
                </c:pt>
                <c:pt idx="28">
                  <c:v>73.648969738923299</c:v>
                </c:pt>
                <c:pt idx="29">
                  <c:v>73.336592803825582</c:v>
                </c:pt>
                <c:pt idx="30">
                  <c:v>73.039469497944864</c:v>
                </c:pt>
                <c:pt idx="31">
                  <c:v>72.75634869123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8.981493918401526</c:v>
                </c:pt>
                <c:pt idx="1">
                  <c:v>90.875865647726783</c:v>
                </c:pt>
                <c:pt idx="2">
                  <c:v>92.719064068327128</c:v>
                </c:pt>
                <c:pt idx="3">
                  <c:v>94.514194968952339</c:v>
                </c:pt>
                <c:pt idx="4">
                  <c:v>96.263549381289877</c:v>
                </c:pt>
                <c:pt idx="5">
                  <c:v>97.968844618037963</c:v>
                </c:pt>
                <c:pt idx="6">
                  <c:v>98.445343906576326</c:v>
                </c:pt>
                <c:pt idx="7">
                  <c:v>98.752743727327569</c:v>
                </c:pt>
                <c:pt idx="8">
                  <c:v>99.022976857534971</c:v>
                </c:pt>
                <c:pt idx="9">
                  <c:v>99.256464177590146</c:v>
                </c:pt>
                <c:pt idx="10">
                  <c:v>99.454369407456824</c:v>
                </c:pt>
                <c:pt idx="11">
                  <c:v>99.618633046636774</c:v>
                </c:pt>
                <c:pt idx="12">
                  <c:v>99.751900666347481</c:v>
                </c:pt>
                <c:pt idx="13">
                  <c:v>99.857396680166573</c:v>
                </c:pt>
                <c:pt idx="14">
                  <c:v>99.938779907616734</c:v>
                </c:pt>
                <c:pt idx="15">
                  <c:v>100</c:v>
                </c:pt>
                <c:pt idx="16">
                  <c:v>98.156046868927149</c:v>
                </c:pt>
                <c:pt idx="17">
                  <c:v>96.230846502127235</c:v>
                </c:pt>
                <c:pt idx="18">
                  <c:v>94.441698019484193</c:v>
                </c:pt>
                <c:pt idx="19">
                  <c:v>92.788684437885323</c:v>
                </c:pt>
                <c:pt idx="20">
                  <c:v>91.270786329483073</c:v>
                </c:pt>
                <c:pt idx="21">
                  <c:v>89.88505799033986</c:v>
                </c:pt>
                <c:pt idx="22">
                  <c:v>88.626370624823281</c:v>
                </c:pt>
                <c:pt idx="23">
                  <c:v>87.48760941974885</c:v>
                </c:pt>
                <c:pt idx="24">
                  <c:v>86.460148855213092</c:v>
                </c:pt>
                <c:pt idx="25">
                  <c:v>85.5344357713752</c:v>
                </c:pt>
                <c:pt idx="26">
                  <c:v>85.914551909590742</c:v>
                </c:pt>
                <c:pt idx="27">
                  <c:v>86.427835244317379</c:v>
                </c:pt>
                <c:pt idx="28">
                  <c:v>86.934471890729384</c:v>
                </c:pt>
                <c:pt idx="29">
                  <c:v>87.434251230248549</c:v>
                </c:pt>
                <c:pt idx="30">
                  <c:v>87.926958699685457</c:v>
                </c:pt>
                <c:pt idx="31">
                  <c:v>88.4123818624972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1028378903161413</c:v>
                </c:pt>
                <c:pt idx="1">
                  <c:v>0.32076579831684809</c:v>
                </c:pt>
                <c:pt idx="2">
                  <c:v>0.33093397498875138</c:v>
                </c:pt>
                <c:pt idx="3">
                  <c:v>0.34080220544614459</c:v>
                </c:pt>
                <c:pt idx="4">
                  <c:v>0.35038356873907855</c:v>
                </c:pt>
                <c:pt idx="5">
                  <c:v>0.35969039440184225</c:v>
                </c:pt>
                <c:pt idx="6">
                  <c:v>0.36873431538486728</c:v>
                </c:pt>
                <c:pt idx="7">
                  <c:v>0.37752631656335084</c:v>
                </c:pt>
                <c:pt idx="8">
                  <c:v>0.38607677924792022</c:v>
                </c:pt>
                <c:pt idx="9">
                  <c:v>0.39439552207653927</c:v>
                </c:pt>
                <c:pt idx="10">
                  <c:v>0.40249183862631804</c:v>
                </c:pt>
                <c:pt idx="11">
                  <c:v>0.41037453204813445</c:v>
                </c:pt>
                <c:pt idx="12">
                  <c:v>0.41805194699542436</c:v>
                </c:pt>
                <c:pt idx="13">
                  <c:v>0.42553199909059891</c:v>
                </c:pt>
                <c:pt idx="14">
                  <c:v>0.43282220214782485</c:v>
                </c:pt>
                <c:pt idx="15">
                  <c:v>0.43992969334897986</c:v>
                </c:pt>
                <c:pt idx="16">
                  <c:v>0.44686125655010633</c:v>
                </c:pt>
                <c:pt idx="17">
                  <c:v>0.45362334387834469</c:v>
                </c:pt>
                <c:pt idx="18">
                  <c:v>0.46022209576387185</c:v>
                </c:pt>
                <c:pt idx="19">
                  <c:v>0.46666335953757276</c:v>
                </c:pt>
                <c:pt idx="20">
                  <c:v>0.47295270671283723</c:v>
                </c:pt>
                <c:pt idx="21">
                  <c:v>0.47909544905884144</c:v>
                </c:pt>
                <c:pt idx="22">
                  <c:v>0.48509665356277182</c:v>
                </c:pt>
                <c:pt idx="23">
                  <c:v>0.49096115636957394</c:v>
                </c:pt>
                <c:pt idx="24">
                  <c:v>0.49669357577982653</c:v>
                </c:pt>
                <c:pt idx="25">
                  <c:v>0.50229832437916033</c:v>
                </c:pt>
                <c:pt idx="26">
                  <c:v>0.50777962036617397</c:v>
                </c:pt>
                <c:pt idx="27">
                  <c:v>0.5131414981399629</c:v>
                </c:pt>
                <c:pt idx="28">
                  <c:v>0.51838781820310986</c:v>
                </c:pt>
                <c:pt idx="29">
                  <c:v>0.52352227643122173</c:v>
                </c:pt>
                <c:pt idx="30">
                  <c:v>0.5285484127557869</c:v>
                </c:pt>
                <c:pt idx="31">
                  <c:v>0.5334696193032212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Deutz Brut Classique 750ml (3.4%)</c:v>
                </c:pt>
                <c:pt idx="3">
                  <c:v>Champagne Canard-Duchêne Blanc Cuvée Léonie Brut 750ml (2.6%)</c:v>
                </c:pt>
                <c:pt idx="4">
                  <c:v>Champagne Besserat de Bellefon Bleu Brut 750ml (1.7%)</c:v>
                </c:pt>
                <c:pt idx="5">
                  <c:v>Champagne E.Nicolas Brut 750ml (11.6%)</c:v>
                </c:pt>
                <c:pt idx="6">
                  <c:v>Champagne Nicolas Feuillatte Réserve Exclusive Brut 750ml (3.0%)</c:v>
                </c:pt>
                <c:pt idx="7">
                  <c:v>Champagne Château de Bligny 750ml (1.3%)</c:v>
                </c:pt>
                <c:pt idx="8">
                  <c:v>Champagne Ruinart Brut 750ml (7.3%)</c:v>
                </c:pt>
                <c:pt idx="9">
                  <c:v>Champagne Vranken Demoiselle Tête de Cuvée 750ml (1.4%)</c:v>
                </c:pt>
              </c:strCache>
            </c:strRef>
          </c:cat>
          <c:val>
            <c:numRef>
              <c:f>Sheet1!$B$2:$B$11</c:f>
              <c:numCache>
                <c:formatCode>General</c:formatCode>
                <c:ptCount val="10"/>
                <c:pt idx="0">
                  <c:v>0.15768674984968795</c:v>
                </c:pt>
                <c:pt idx="1">
                  <c:v>0.15096531370638336</c:v>
                </c:pt>
                <c:pt idx="2">
                  <c:v>9.4558201685953081E-2</c:v>
                </c:pt>
                <c:pt idx="3">
                  <c:v>9.3904804852418117E-2</c:v>
                </c:pt>
                <c:pt idx="4">
                  <c:v>5.3477164075343211E-2</c:v>
                </c:pt>
                <c:pt idx="5">
                  <c:v>5.0534870798090513E-2</c:v>
                </c:pt>
                <c:pt idx="6">
                  <c:v>2.6135739215241597E-2</c:v>
                </c:pt>
                <c:pt idx="7">
                  <c:v>2.4367939944112665E-2</c:v>
                </c:pt>
                <c:pt idx="8">
                  <c:v>2.2924784159255765E-2</c:v>
                </c:pt>
                <c:pt idx="9">
                  <c:v>2.06940700397516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Malard Brut 1er Cru 750ml (4.1%)</c:v>
                </c:pt>
                <c:pt idx="3">
                  <c:v>Champagne Canard-Duchêne Blanc Cuvée Léonie Brut 750ml (2.6%)</c:v>
                </c:pt>
                <c:pt idx="4">
                  <c:v>Champagne Besserat de Bellefon Bleu Brut 750ml (1.7%)</c:v>
                </c:pt>
                <c:pt idx="5">
                  <c:v>Champagne E.Nicolas Brut 750ml (11.6%)</c:v>
                </c:pt>
                <c:pt idx="6">
                  <c:v>Champagne Ruinart Brut 750ml (7.3%)</c:v>
                </c:pt>
                <c:pt idx="7">
                  <c:v>Champagne Laurent-Perrier Blanc La Cuvée 750ml (2.7%)</c:v>
                </c:pt>
                <c:pt idx="8">
                  <c:v>Champagne Château de Bligny 750ml (1.3%)</c:v>
                </c:pt>
                <c:pt idx="9">
                  <c:v>Champagne Taittinger Prestige Brut 750ml (1.6%)</c:v>
                </c:pt>
              </c:strCache>
            </c:strRef>
          </c:cat>
          <c:val>
            <c:numRef>
              <c:f>Sheet1!$B$2:$B$11</c:f>
              <c:numCache>
                <c:formatCode>General</c:formatCode>
                <c:ptCount val="10"/>
                <c:pt idx="0">
                  <c:v>0.14999491381579402</c:v>
                </c:pt>
                <c:pt idx="1">
                  <c:v>0.12718957490715654</c:v>
                </c:pt>
                <c:pt idx="2">
                  <c:v>9.5806248706030758E-2</c:v>
                </c:pt>
                <c:pt idx="3">
                  <c:v>7.8254467397919608E-2</c:v>
                </c:pt>
                <c:pt idx="4">
                  <c:v>5.647074400545226E-2</c:v>
                </c:pt>
                <c:pt idx="5">
                  <c:v>3.8043797597262952E-2</c:v>
                </c:pt>
                <c:pt idx="6">
                  <c:v>3.5192102813172893E-2</c:v>
                </c:pt>
                <c:pt idx="7">
                  <c:v>2.6101360062449057E-2</c:v>
                </c:pt>
                <c:pt idx="8">
                  <c:v>2.502163981202787E-2</c:v>
                </c:pt>
                <c:pt idx="9">
                  <c:v>2.22466426942083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ollinger Special Cuvé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c:v>
                </c:pt>
                <c:pt idx="3">
                  <c:v>65</c:v>
                </c:pt>
                <c:pt idx="4">
                  <c:v>69</c:v>
                </c:pt>
              </c:numCache>
            </c:numRef>
          </c:xVal>
          <c:yVal>
            <c:numRef>
              <c:f>Sheet1!$B$2:$B$6</c:f>
              <c:numCache>
                <c:formatCode>General</c:formatCode>
                <c:ptCount val="5"/>
                <c:pt idx="0">
                  <c:v>0.74032346358680057</c:v>
                </c:pt>
                <c:pt idx="1">
                  <c:v>0.1458106302235152</c:v>
                </c:pt>
                <c:pt idx="2">
                  <c:v>0</c:v>
                </c:pt>
                <c:pt idx="3">
                  <c:v>-0.29495396964166332</c:v>
                </c:pt>
                <c:pt idx="4">
                  <c:v>-0.4214796844564428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ollinger 1846 Special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9</c:v>
                </c:pt>
                <c:pt idx="1">
                  <c:v>119</c:v>
                </c:pt>
                <c:pt idx="2">
                  <c:v>129</c:v>
                </c:pt>
                <c:pt idx="3">
                  <c:v>149</c:v>
                </c:pt>
                <c:pt idx="4">
                  <c:v>159</c:v>
                </c:pt>
              </c:numCache>
            </c:numRef>
          </c:xVal>
          <c:yVal>
            <c:numRef>
              <c:f>Sheet1!$B$9:$B$13</c:f>
              <c:numCache>
                <c:formatCode>General</c:formatCode>
                <c:ptCount val="5"/>
                <c:pt idx="0">
                  <c:v>0.70977103870933889</c:v>
                </c:pt>
                <c:pt idx="1">
                  <c:v>0.12259041853041101</c:v>
                </c:pt>
                <c:pt idx="2">
                  <c:v>0</c:v>
                </c:pt>
                <c:pt idx="3">
                  <c:v>-0.16071282989707489</c:v>
                </c:pt>
                <c:pt idx="4">
                  <c:v>-0.3382946490262272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
          <c:min val="4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70.73335869083635</c:v>
                </c:pt>
                <c:pt idx="1">
                  <c:v>167.39212864883172</c:v>
                </c:pt>
                <c:pt idx="2">
                  <c:v>164.1831827133031</c:v>
                </c:pt>
                <c:pt idx="3">
                  <c:v>161.09898400805079</c:v>
                </c:pt>
                <c:pt idx="4">
                  <c:v>155.33030964186966</c:v>
                </c:pt>
                <c:pt idx="5">
                  <c:v>149.63072184627063</c:v>
                </c:pt>
                <c:pt idx="6">
                  <c:v>144.29194315985171</c:v>
                </c:pt>
                <c:pt idx="7">
                  <c:v>139.28193663107425</c:v>
                </c:pt>
                <c:pt idx="8">
                  <c:v>134.57170528091555</c:v>
                </c:pt>
                <c:pt idx="9">
                  <c:v>130.13530303321696</c:v>
                </c:pt>
                <c:pt idx="10">
                  <c:v>125.94966972427912</c:v>
                </c:pt>
                <c:pt idx="11">
                  <c:v>121.99436626097801</c:v>
                </c:pt>
                <c:pt idx="12">
                  <c:v>118.25126900099896</c:v>
                </c:pt>
                <c:pt idx="13">
                  <c:v>114.70426295987136</c:v>
                </c:pt>
                <c:pt idx="14">
                  <c:v>112.54883965792106</c:v>
                </c:pt>
                <c:pt idx="15">
                  <c:v>110.59471731127036</c:v>
                </c:pt>
                <c:pt idx="16">
                  <c:v>108.69878536491481</c:v>
                </c:pt>
                <c:pt idx="17">
                  <c:v>106.85823821547571</c:v>
                </c:pt>
                <c:pt idx="18">
                  <c:v>105.07045499880414</c:v>
                </c:pt>
                <c:pt idx="19">
                  <c:v>103.3329875347553</c:v>
                </c:pt>
                <c:pt idx="20">
                  <c:v>101.6435485016372</c:v>
                </c:pt>
                <c:pt idx="21">
                  <c:v>100</c:v>
                </c:pt>
                <c:pt idx="22">
                  <c:v>97.157207875948842</c:v>
                </c:pt>
                <c:pt idx="23">
                  <c:v>94.139192488905579</c:v>
                </c:pt>
                <c:pt idx="24">
                  <c:v>91.260438652512548</c:v>
                </c:pt>
                <c:pt idx="25">
                  <c:v>88.514042626644112</c:v>
                </c:pt>
                <c:pt idx="26">
                  <c:v>85.893274104605169</c:v>
                </c:pt>
                <c:pt idx="27">
                  <c:v>83.39160370865261</c:v>
                </c:pt>
                <c:pt idx="28">
                  <c:v>81.002725614375493</c:v>
                </c:pt>
                <c:pt idx="29">
                  <c:v>78.720575330028524</c:v>
                </c:pt>
                <c:pt idx="30">
                  <c:v>76.53934281909865</c:v>
                </c:pt>
                <c:pt idx="31">
                  <c:v>74.453481276584739</c:v>
                </c:pt>
                <c:pt idx="32">
                  <c:v>72.457711954394156</c:v>
                </c:pt>
                <c:pt idx="33">
                  <c:v>70.54702548314188</c:v>
                </c:pt>
                <c:pt idx="34">
                  <c:v>68.716680161567965</c:v>
                </c:pt>
                <c:pt idx="35">
                  <c:v>66.962197686127922</c:v>
                </c:pt>
                <c:pt idx="36">
                  <c:v>65.279356777280086</c:v>
                </c:pt>
                <c:pt idx="37">
                  <c:v>63.664185130387274</c:v>
                </c:pt>
                <c:pt idx="38">
                  <c:v>62.112950082144778</c:v>
                </c:pt>
                <c:pt idx="39">
                  <c:v>60.622148341601367</c:v>
                </c:pt>
                <c:pt idx="40">
                  <c:v>59.188495090954632</c:v>
                </c:pt>
                <c:pt idx="41">
                  <c:v>57.8089127176191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40.63655442645137</c:v>
                </c:pt>
                <c:pt idx="1">
                  <c:v>139.2854403808376</c:v>
                </c:pt>
                <c:pt idx="2">
                  <c:v>137.98977196374639</c:v>
                </c:pt>
                <c:pt idx="3">
                  <c:v>136.74644966438888</c:v>
                </c:pt>
                <c:pt idx="4">
                  <c:v>133.15190792334474</c:v>
                </c:pt>
                <c:pt idx="5">
                  <c:v>129.52156697999467</c:v>
                </c:pt>
                <c:pt idx="6">
                  <c:v>126.11181392096358</c:v>
                </c:pt>
                <c:pt idx="7">
                  <c:v>122.90329364296156</c:v>
                </c:pt>
                <c:pt idx="8">
                  <c:v>119.87831447085536</c:v>
                </c:pt>
                <c:pt idx="9">
                  <c:v>117.02097949457806</c:v>
                </c:pt>
                <c:pt idx="10">
                  <c:v>114.31715989244688</c:v>
                </c:pt>
                <c:pt idx="11">
                  <c:v>111.75436950122833</c:v>
                </c:pt>
                <c:pt idx="12">
                  <c:v>109.32158921919985</c:v>
                </c:pt>
                <c:pt idx="13">
                  <c:v>107.00907561838618</c:v>
                </c:pt>
                <c:pt idx="14">
                  <c:v>105.9417193642789</c:v>
                </c:pt>
                <c:pt idx="15">
                  <c:v>105.02907989577588</c:v>
                </c:pt>
                <c:pt idx="16">
                  <c:v>104.13968987653435</c:v>
                </c:pt>
                <c:pt idx="17">
                  <c:v>103.27227870895442</c:v>
                </c:pt>
                <c:pt idx="18">
                  <c:v>102.42566387042227</c:v>
                </c:pt>
                <c:pt idx="19">
                  <c:v>101.59874658373499</c:v>
                </c:pt>
                <c:pt idx="20">
                  <c:v>100.79050713361414</c:v>
                </c:pt>
                <c:pt idx="21">
                  <c:v>100</c:v>
                </c:pt>
                <c:pt idx="22">
                  <c:v>97.977193438637428</c:v>
                </c:pt>
                <c:pt idx="23">
                  <c:v>95.729637136841703</c:v>
                </c:pt>
                <c:pt idx="24">
                  <c:v>93.574166237564398</c:v>
                </c:pt>
                <c:pt idx="25">
                  <c:v>91.507119583985499</c:v>
                </c:pt>
                <c:pt idx="26">
                  <c:v>89.524791266326801</c:v>
                </c:pt>
                <c:pt idx="27">
                  <c:v>87.623465872777501</c:v>
                </c:pt>
                <c:pt idx="28">
                  <c:v>85.799450063034925</c:v>
                </c:pt>
                <c:pt idx="29">
                  <c:v>84.049100203062366</c:v>
                </c:pt>
                <c:pt idx="30">
                  <c:v>82.368845974194798</c:v>
                </c:pt>
                <c:pt idx="31">
                  <c:v>80.755210013635875</c:v>
                </c:pt>
                <c:pt idx="32">
                  <c:v>79.204823756251784</c:v>
                </c:pt>
                <c:pt idx="33">
                  <c:v>77.714439730838208</c:v>
                </c:pt>
                <c:pt idx="34">
                  <c:v>76.280940620531453</c:v>
                </c:pt>
                <c:pt idx="35">
                  <c:v>74.90134543032147</c:v>
                </c:pt>
                <c:pt idx="36">
                  <c:v>73.572813118631316</c:v>
                </c:pt>
                <c:pt idx="37">
                  <c:v>72.292644048576761</c:v>
                </c:pt>
                <c:pt idx="38">
                  <c:v>71.058279601481644</c:v>
                </c:pt>
                <c:pt idx="39">
                  <c:v>69.867300273856642</c:v>
                </c:pt>
                <c:pt idx="40">
                  <c:v>68.717422552162361</c:v>
                </c:pt>
                <c:pt idx="41">
                  <c:v>67.6064948296953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6.27005136885947</c:v>
                </c:pt>
                <c:pt idx="1">
                  <c:v>97.862538267807437</c:v>
                </c:pt>
                <c:pt idx="2">
                  <c:v>99.396325308648855</c:v>
                </c:pt>
                <c:pt idx="3">
                  <c:v>100.87493516319839</c:v>
                </c:pt>
                <c:pt idx="4">
                  <c:v>100.48875313151586</c:v>
                </c:pt>
                <c:pt idx="5">
                  <c:v>99.909087347128832</c:v>
                </c:pt>
                <c:pt idx="6">
                  <c:v>99.341085326057041</c:v>
                </c:pt>
                <c:pt idx="7">
                  <c:v>98.784505504993859</c:v>
                </c:pt>
                <c:pt idx="8">
                  <c:v>98.23866409564755</c:v>
                </c:pt>
                <c:pt idx="9">
                  <c:v>97.702758969001692</c:v>
                </c:pt>
                <c:pt idx="10">
                  <c:v>97.176059170527779</c:v>
                </c:pt>
                <c:pt idx="11">
                  <c:v>96.657994761953944</c:v>
                </c:pt>
                <c:pt idx="12">
                  <c:v>96.148180505027867</c:v>
                </c:pt>
                <c:pt idx="13">
                  <c:v>95.646400483461903</c:v>
                </c:pt>
                <c:pt idx="14">
                  <c:v>96.186564001028557</c:v>
                </c:pt>
                <c:pt idx="15">
                  <c:v>96.813414471595593</c:v>
                </c:pt>
                <c:pt idx="16">
                  <c:v>97.411244423857966</c:v>
                </c:pt>
                <c:pt idx="17">
                  <c:v>97.981106904783331</c:v>
                </c:pt>
                <c:pt idx="18">
                  <c:v>98.523995117879252</c:v>
                </c:pt>
                <c:pt idx="19">
                  <c:v>99.040850052465615</c:v>
                </c:pt>
                <c:pt idx="20">
                  <c:v>99.532566835641816</c:v>
                </c:pt>
                <c:pt idx="21">
                  <c:v>100</c:v>
                </c:pt>
                <c:pt idx="22">
                  <c:v>99.175015081313532</c:v>
                </c:pt>
                <c:pt idx="23">
                  <c:v>98.049447735307055</c:v>
                </c:pt>
                <c:pt idx="24">
                  <c:v>96.946459526421236</c:v>
                </c:pt>
                <c:pt idx="25">
                  <c:v>95.867249944665758</c:v>
                </c:pt>
                <c:pt idx="26">
                  <c:v>94.81263640255851</c:v>
                </c:pt>
                <c:pt idx="27">
                  <c:v>93.783103166628607</c:v>
                </c:pt>
                <c:pt idx="28">
                  <c:v>92.778848135855029</c:v>
                </c:pt>
                <c:pt idx="29">
                  <c:v>91.799826789308213</c:v>
                </c:pt>
                <c:pt idx="30">
                  <c:v>90.845792822097792</c:v>
                </c:pt>
                <c:pt idx="31">
                  <c:v>89.916335167589054</c:v>
                </c:pt>
                <c:pt idx="32">
                  <c:v>89.010911259765066</c:v>
                </c:pt>
                <c:pt idx="33">
                  <c:v>88.128876520114503</c:v>
                </c:pt>
                <c:pt idx="34">
                  <c:v>87.269510158136399</c:v>
                </c:pt>
                <c:pt idx="35">
                  <c:v>86.432037454567336</c:v>
                </c:pt>
                <c:pt idx="36">
                  <c:v>85.615648753931012</c:v>
                </c:pt>
                <c:pt idx="37">
                  <c:v>84.819515430745</c:v>
                </c:pt>
                <c:pt idx="38">
                  <c:v>84.042803114746633</c:v>
                </c:pt>
                <c:pt idx="39">
                  <c:v>83.284682467962028</c:v>
                </c:pt>
                <c:pt idx="40">
                  <c:v>82.544337803236516</c:v>
                </c:pt>
                <c:pt idx="41">
                  <c:v>81.82097382271862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28047413627387763</c:v>
                </c:pt>
                <c:pt idx="1">
                  <c:v>0.28783125144490135</c:v>
                </c:pt>
                <c:pt idx="2">
                  <c:v>0.29503943715902176</c:v>
                </c:pt>
                <c:pt idx="3">
                  <c:v>0.30210317025362077</c:v>
                </c:pt>
                <c:pt idx="4">
                  <c:v>0.30902674991380319</c:v>
                </c:pt>
                <c:pt idx="5">
                  <c:v>0.31581430639795049</c:v>
                </c:pt>
                <c:pt idx="6">
                  <c:v>0.32246980925400143</c:v>
                </c:pt>
                <c:pt idx="7">
                  <c:v>0.32899707506080322</c:v>
                </c:pt>
                <c:pt idx="8">
                  <c:v>0.33539977472625343</c:v>
                </c:pt>
                <c:pt idx="9">
                  <c:v>0.34168144037156289</c:v>
                </c:pt>
                <c:pt idx="10">
                  <c:v>0.34784547182875808</c:v>
                </c:pt>
                <c:pt idx="11">
                  <c:v>0.35389514277654321</c:v>
                </c:pt>
                <c:pt idx="12">
                  <c:v>0.35983360653778818</c:v>
                </c:pt>
                <c:pt idx="13">
                  <c:v>0.36566390156021278</c:v>
                </c:pt>
                <c:pt idx="14">
                  <c:v>0.37138895660028298</c:v>
                </c:pt>
                <c:pt idx="15">
                  <c:v>0.37701159562890307</c:v>
                </c:pt>
                <c:pt idx="16">
                  <c:v>0.38253454247616453</c:v>
                </c:pt>
                <c:pt idx="17">
                  <c:v>0.38796042523120694</c:v>
                </c:pt>
                <c:pt idx="18">
                  <c:v>0.39329178041211993</c:v>
                </c:pt>
                <c:pt idx="19">
                  <c:v>0.39853105691978707</c:v>
                </c:pt>
                <c:pt idx="20">
                  <c:v>0.40368061978862474</c:v>
                </c:pt>
                <c:pt idx="21">
                  <c:v>0.40874275374627644</c:v>
                </c:pt>
                <c:pt idx="22">
                  <c:v>0.41371966659352999</c:v>
                </c:pt>
                <c:pt idx="23">
                  <c:v>0.41861349241495288</c:v>
                </c:pt>
                <c:pt idx="24">
                  <c:v>0.42342629463006087</c:v>
                </c:pt>
                <c:pt idx="25">
                  <c:v>0.4281600688941819</c:v>
                </c:pt>
                <c:pt idx="26">
                  <c:v>0.43281674585758423</c:v>
                </c:pt>
                <c:pt idx="27">
                  <c:v>0.43739819379088341</c:v>
                </c:pt>
                <c:pt idx="28">
                  <c:v>0.44190622108422567</c:v>
                </c:pt>
                <c:pt idx="29">
                  <c:v>0.44634257862727622</c:v>
                </c:pt>
                <c:pt idx="30">
                  <c:v>0.45070896207658795</c:v>
                </c:pt>
                <c:pt idx="31">
                  <c:v>0.45500701401652083</c:v>
                </c:pt>
                <c:pt idx="32">
                  <c:v>0.45923832601949816</c:v>
                </c:pt>
                <c:pt idx="33">
                  <c:v>0.46340444061102748</c:v>
                </c:pt>
                <c:pt idx="34">
                  <c:v>0.46750685314458235</c:v>
                </c:pt>
                <c:pt idx="35">
                  <c:v>0.47154701359113321</c:v>
                </c:pt>
                <c:pt idx="36">
                  <c:v>0.47552632824782659</c:v>
                </c:pt>
                <c:pt idx="37">
                  <c:v>0.4794461613700402</c:v>
                </c:pt>
                <c:pt idx="38">
                  <c:v>0.48330783673079647</c:v>
                </c:pt>
                <c:pt idx="39">
                  <c:v>0.48711263911127661</c:v>
                </c:pt>
                <c:pt idx="40">
                  <c:v>0.49086181572596027</c:v>
                </c:pt>
                <c:pt idx="41">
                  <c:v>0.494556577585713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euve Clicquot Réserve Cuvée 750ml (1.7%)</c:v>
                </c:pt>
                <c:pt idx="4">
                  <c:v>Champagne E.Nicolas Brut 750ml (11.6%)</c:v>
                </c:pt>
                <c:pt idx="5">
                  <c:v>Champagne Ayala Brut Majeur 750ml (1.7%)</c:v>
                </c:pt>
                <c:pt idx="6">
                  <c:v>Champagne Vranken Demoiselle Rosé Prestige 750ml (2.0%)</c:v>
                </c:pt>
                <c:pt idx="7">
                  <c:v>Champagne Malard Brut 1er Cru 750ml (4.1%)</c:v>
                </c:pt>
                <c:pt idx="8">
                  <c:v>Champagne Laurent-Perrier Blanc La Cuvée 750ml (2.7%)</c:v>
                </c:pt>
                <c:pt idx="9">
                  <c:v>Champagne Ruinart Brut (étui) 750ml (1.2%)</c:v>
                </c:pt>
              </c:strCache>
            </c:strRef>
          </c:cat>
          <c:val>
            <c:numRef>
              <c:f>Sheet1!$B$2:$B$11</c:f>
              <c:numCache>
                <c:formatCode>General</c:formatCode>
                <c:ptCount val="10"/>
                <c:pt idx="0">
                  <c:v>0.14907755588531404</c:v>
                </c:pt>
                <c:pt idx="1">
                  <c:v>0.106906974806126</c:v>
                </c:pt>
                <c:pt idx="2">
                  <c:v>5.3467524213182606E-2</c:v>
                </c:pt>
                <c:pt idx="3">
                  <c:v>3.7731562653871169E-2</c:v>
                </c:pt>
                <c:pt idx="4">
                  <c:v>3.7442290627103469E-2</c:v>
                </c:pt>
                <c:pt idx="5">
                  <c:v>3.5280607321886495E-2</c:v>
                </c:pt>
                <c:pt idx="6">
                  <c:v>3.275024447291755E-2</c:v>
                </c:pt>
                <c:pt idx="7">
                  <c:v>2.9906953845576657E-2</c:v>
                </c:pt>
                <c:pt idx="8">
                  <c:v>2.8516485757795498E-2</c:v>
                </c:pt>
                <c:pt idx="9">
                  <c:v>2.405428595203773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ranken Demoiselle Rosé Prestige 750ml (2.0%)</c:v>
                </c:pt>
                <c:pt idx="4">
                  <c:v>Champagne Veuve Clicquot Réserve Cuvée 750ml (1.7%)</c:v>
                </c:pt>
                <c:pt idx="5">
                  <c:v>Champagne Perrier-Jouët Blanc Grand Brut 750ml (0.9%)</c:v>
                </c:pt>
                <c:pt idx="6">
                  <c:v>Champagne E.Nicolas Brut 750ml (11.6%)</c:v>
                </c:pt>
                <c:pt idx="7">
                  <c:v>Champagne Ruinart Blanc de Blancs 750ml (2.0%)</c:v>
                </c:pt>
                <c:pt idx="8">
                  <c:v>Champagne Ruinart Brut (étui) 750ml (1.2%)</c:v>
                </c:pt>
                <c:pt idx="9">
                  <c:v>Champagne Malard Brut 1er Cru 750ml (4.1%)</c:v>
                </c:pt>
              </c:strCache>
            </c:strRef>
          </c:cat>
          <c:val>
            <c:numRef>
              <c:f>Sheet1!$B$2:$B$11</c:f>
              <c:numCache>
                <c:formatCode>General</c:formatCode>
                <c:ptCount val="10"/>
                <c:pt idx="0">
                  <c:v>0.14447835842013682</c:v>
                </c:pt>
                <c:pt idx="1">
                  <c:v>0.11461744197005042</c:v>
                </c:pt>
                <c:pt idx="2">
                  <c:v>5.165247634672622E-2</c:v>
                </c:pt>
                <c:pt idx="3">
                  <c:v>4.5865864051463277E-2</c:v>
                </c:pt>
                <c:pt idx="4">
                  <c:v>3.3192183334302745E-2</c:v>
                </c:pt>
                <c:pt idx="5">
                  <c:v>3.1589865857145287E-2</c:v>
                </c:pt>
                <c:pt idx="6">
                  <c:v>2.9604233555511644E-2</c:v>
                </c:pt>
                <c:pt idx="7">
                  <c:v>2.931195681681955E-2</c:v>
                </c:pt>
                <c:pt idx="8">
                  <c:v>2.8203010770159288E-2</c:v>
                </c:pt>
                <c:pt idx="9">
                  <c:v>2.57109190000009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B$2:$B$121</c:f>
              <c:numCache>
                <c:formatCode>General</c:formatCode>
                <c:ptCount val="120"/>
                <c:pt idx="0">
                  <c:v>168.00777859518638</c:v>
                </c:pt>
                <c:pt idx="1">
                  <c:v>166.81990904204122</c:v>
                </c:pt>
                <c:pt idx="2">
                  <c:v>165.64663679098277</c:v>
                </c:pt>
                <c:pt idx="3">
                  <c:v>164.48771721088659</c:v>
                </c:pt>
                <c:pt idx="4">
                  <c:v>163.34291052761469</c:v>
                </c:pt>
                <c:pt idx="5">
                  <c:v>162.21198171660453</c:v>
                </c:pt>
                <c:pt idx="6">
                  <c:v>161.09470039798126</c:v>
                </c:pt>
                <c:pt idx="7">
                  <c:v>159.99084073416211</c:v>
                </c:pt>
                <c:pt idx="8">
                  <c:v>158.90018132987424</c:v>
                </c:pt>
                <c:pt idx="9">
                  <c:v>157.82250513453221</c:v>
                </c:pt>
                <c:pt idx="10">
                  <c:v>156.75759934692729</c:v>
                </c:pt>
                <c:pt idx="11">
                  <c:v>155.70525532216112</c:v>
                </c:pt>
                <c:pt idx="12">
                  <c:v>154.66526848077874</c:v>
                </c:pt>
                <c:pt idx="13">
                  <c:v>153.63743822004432</c:v>
                </c:pt>
                <c:pt idx="14">
                  <c:v>152.62156782730708</c:v>
                </c:pt>
                <c:pt idx="15">
                  <c:v>151.61746439540678</c:v>
                </c:pt>
                <c:pt idx="16">
                  <c:v>150.62493874007211</c:v>
                </c:pt>
                <c:pt idx="17">
                  <c:v>149.64380531926</c:v>
                </c:pt>
                <c:pt idx="18">
                  <c:v>148.67388215438606</c:v>
                </c:pt>
                <c:pt idx="19">
                  <c:v>147.71499075340867</c:v>
                </c:pt>
                <c:pt idx="20">
                  <c:v>145.79945491674204</c:v>
                </c:pt>
                <c:pt idx="21">
                  <c:v>143.67736296683495</c:v>
                </c:pt>
                <c:pt idx="22">
                  <c:v>141.59260545364671</c:v>
                </c:pt>
                <c:pt idx="23">
                  <c:v>139.54443610357873</c:v>
                </c:pt>
                <c:pt idx="24">
                  <c:v>137.53212402786167</c:v>
                </c:pt>
                <c:pt idx="25">
                  <c:v>135.55495335687084</c:v>
                </c:pt>
                <c:pt idx="26">
                  <c:v>133.61222288509364</c:v>
                </c:pt>
                <c:pt idx="27">
                  <c:v>131.70324572736484</c:v>
                </c:pt>
                <c:pt idx="28">
                  <c:v>129.82734898675639</c:v>
                </c:pt>
                <c:pt idx="29">
                  <c:v>127.98387343435245</c:v>
                </c:pt>
                <c:pt idx="30">
                  <c:v>126.17217320094088</c:v>
                </c:pt>
                <c:pt idx="31">
                  <c:v>124.3916154805508</c:v>
                </c:pt>
                <c:pt idx="32">
                  <c:v>122.64158024562222</c:v>
                </c:pt>
                <c:pt idx="33">
                  <c:v>120.9214599735128</c:v>
                </c:pt>
                <c:pt idx="34">
                  <c:v>119.23065938397177</c:v>
                </c:pt>
                <c:pt idx="35">
                  <c:v>117.56859518712682</c:v>
                </c:pt>
                <c:pt idx="36">
                  <c:v>115.93469584151546</c:v>
                </c:pt>
                <c:pt idx="37">
                  <c:v>114.32840132162545</c:v>
                </c:pt>
                <c:pt idx="38">
                  <c:v>112.74916289440952</c:v>
                </c:pt>
                <c:pt idx="39">
                  <c:v>111.19644290421276</c:v>
                </c:pt>
                <c:pt idx="40">
                  <c:v>110.36139618963057</c:v>
                </c:pt>
                <c:pt idx="41">
                  <c:v>109.70724550435156</c:v>
                </c:pt>
                <c:pt idx="42">
                  <c:v>109.05902298288277</c:v>
                </c:pt>
                <c:pt idx="43">
                  <c:v>108.41665589009786</c:v>
                </c:pt>
                <c:pt idx="44">
                  <c:v>107.78007253810451</c:v>
                </c:pt>
                <c:pt idx="45">
                  <c:v>107.14920227001899</c:v>
                </c:pt>
                <c:pt idx="46">
                  <c:v>106.5239754439897</c:v>
                </c:pt>
                <c:pt idx="47">
                  <c:v>105.90432341747361</c:v>
                </c:pt>
                <c:pt idx="48">
                  <c:v>105.29017853175908</c:v>
                </c:pt>
                <c:pt idx="49">
                  <c:v>104.68147409672683</c:v>
                </c:pt>
                <c:pt idx="50">
                  <c:v>104.07814437585532</c:v>
                </c:pt>
                <c:pt idx="51">
                  <c:v>103.48012457145765</c:v>
                </c:pt>
                <c:pt idx="52">
                  <c:v>102.88735081015218</c:v>
                </c:pt>
                <c:pt idx="53">
                  <c:v>102.29976012856295</c:v>
                </c:pt>
                <c:pt idx="54">
                  <c:v>101.7172904592436</c:v>
                </c:pt>
                <c:pt idx="55">
                  <c:v>101.13988061682433</c:v>
                </c:pt>
                <c:pt idx="56">
                  <c:v>100.56747028437738</c:v>
                </c:pt>
                <c:pt idx="57">
                  <c:v>100</c:v>
                </c:pt>
                <c:pt idx="58">
                  <c:v>99.43741114360563</c:v>
                </c:pt>
                <c:pt idx="59">
                  <c:v>98.8796459239299</c:v>
                </c:pt>
                <c:pt idx="60">
                  <c:v>98.403269998100967</c:v>
                </c:pt>
                <c:pt idx="61">
                  <c:v>97.949575577314548</c:v>
                </c:pt>
                <c:pt idx="62">
                  <c:v>97.499240965478464</c:v>
                </c:pt>
                <c:pt idx="63">
                  <c:v>97.052233660096149</c:v>
                </c:pt>
                <c:pt idx="64">
                  <c:v>96.608521543990918</c:v>
                </c:pt>
                <c:pt idx="65">
                  <c:v>96.168072879658752</c:v>
                </c:pt>
                <c:pt idx="66">
                  <c:v>95.730856303722874</c:v>
                </c:pt>
                <c:pt idx="67">
                  <c:v>95.296840821482462</c:v>
                </c:pt>
                <c:pt idx="68">
                  <c:v>94.865995801561482</c:v>
                </c:pt>
                <c:pt idx="69">
                  <c:v>94.438290970648296</c:v>
                </c:pt>
                <c:pt idx="70">
                  <c:v>94.0136964083283</c:v>
                </c:pt>
                <c:pt idx="71">
                  <c:v>93.592182542006753</c:v>
                </c:pt>
                <c:pt idx="72">
                  <c:v>93.173720141921152</c:v>
                </c:pt>
                <c:pt idx="73">
                  <c:v>92.758280316236778</c:v>
                </c:pt>
                <c:pt idx="74">
                  <c:v>92.345834506233203</c:v>
                </c:pt>
                <c:pt idx="75">
                  <c:v>91.936354481567449</c:v>
                </c:pt>
                <c:pt idx="76">
                  <c:v>91.529812335623845</c:v>
                </c:pt>
                <c:pt idx="77">
                  <c:v>91.126180480941727</c:v>
                </c:pt>
                <c:pt idx="78">
                  <c:v>90.725431644722207</c:v>
                </c:pt>
                <c:pt idx="79">
                  <c:v>90.327538864411466</c:v>
                </c:pt>
                <c:pt idx="80">
                  <c:v>89.93247548336069</c:v>
                </c:pt>
                <c:pt idx="81">
                  <c:v>89.540215146557856</c:v>
                </c:pt>
                <c:pt idx="82">
                  <c:v>89.150731796435011</c:v>
                </c:pt>
                <c:pt idx="83">
                  <c:v>88.763999668744503</c:v>
                </c:pt>
                <c:pt idx="84">
                  <c:v>88.379993288504949</c:v>
                </c:pt>
                <c:pt idx="85">
                  <c:v>87.998687466017429</c:v>
                </c:pt>
                <c:pt idx="86">
                  <c:v>87.620057292947024</c:v>
                </c:pt>
                <c:pt idx="87">
                  <c:v>87.244078138470599</c:v>
                </c:pt>
                <c:pt idx="88">
                  <c:v>86.870725645490026</c:v>
                </c:pt>
                <c:pt idx="89">
                  <c:v>86.499975726906342</c:v>
                </c:pt>
                <c:pt idx="90">
                  <c:v>86.131804561959697</c:v>
                </c:pt>
                <c:pt idx="91">
                  <c:v>85.766188592625909</c:v>
                </c:pt>
                <c:pt idx="92">
                  <c:v>85.4031045200758</c:v>
                </c:pt>
                <c:pt idx="93">
                  <c:v>85.04252930119172</c:v>
                </c:pt>
                <c:pt idx="94">
                  <c:v>84.684440145141778</c:v>
                </c:pt>
                <c:pt idx="95">
                  <c:v>84.328814510011199</c:v>
                </c:pt>
                <c:pt idx="96">
                  <c:v>83.97563009948567</c:v>
                </c:pt>
                <c:pt idx="97">
                  <c:v>83.624864859593842</c:v>
                </c:pt>
                <c:pt idx="98">
                  <c:v>83.276496975499867</c:v>
                </c:pt>
                <c:pt idx="99">
                  <c:v>82.930504868346844</c:v>
                </c:pt>
                <c:pt idx="100">
                  <c:v>82.040501672658479</c:v>
                </c:pt>
                <c:pt idx="101">
                  <c:v>81.03013277980763</c:v>
                </c:pt>
                <c:pt idx="102">
                  <c:v>80.037118483274782</c:v>
                </c:pt>
                <c:pt idx="103">
                  <c:v>79.061029611351955</c:v>
                </c:pt>
                <c:pt idx="104">
                  <c:v>78.101450830129693</c:v>
                </c:pt>
                <c:pt idx="105">
                  <c:v>77.157980133735578</c:v>
                </c:pt>
                <c:pt idx="106">
                  <c:v>76.230228353465648</c:v>
                </c:pt>
                <c:pt idx="107">
                  <c:v>75.317818685280074</c:v>
                </c:pt>
                <c:pt idx="108">
                  <c:v>74.42038623512002</c:v>
                </c:pt>
                <c:pt idx="109">
                  <c:v>73.537577581498468</c:v>
                </c:pt>
                <c:pt idx="110">
                  <c:v>72.669050354810821</c:v>
                </c:pt>
                <c:pt idx="111">
                  <c:v>71.814472832820826</c:v>
                </c:pt>
                <c:pt idx="112">
                  <c:v>70.973523551774193</c:v>
                </c:pt>
                <c:pt idx="113">
                  <c:v>70.14589093259535</c:v>
                </c:pt>
                <c:pt idx="114">
                  <c:v>69.331272921639027</c:v>
                </c:pt>
                <c:pt idx="115">
                  <c:v>68.529376645469455</c:v>
                </c:pt>
                <c:pt idx="116">
                  <c:v>67.739918079148367</c:v>
                </c:pt>
                <c:pt idx="117">
                  <c:v>66.962621727534867</c:v>
                </c:pt>
                <c:pt idx="118">
                  <c:v>66.197220319097553</c:v>
                </c:pt>
                <c:pt idx="119">
                  <c:v>65.4434545117644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C$2:$C$121</c:f>
              <c:numCache>
                <c:formatCode>General</c:formatCode>
                <c:ptCount val="120"/>
                <c:pt idx="0">
                  <c:v>130.64812816726692</c:v>
                </c:pt>
                <c:pt idx="1">
                  <c:v>130.37461687263445</c:v>
                </c:pt>
                <c:pt idx="2">
                  <c:v>130.10331976382244</c:v>
                </c:pt>
                <c:pt idx="3">
                  <c:v>129.83421411257785</c:v>
                </c:pt>
                <c:pt idx="4">
                  <c:v>129.56727724002829</c:v>
                </c:pt>
                <c:pt idx="5">
                  <c:v>129.30248652536829</c:v>
                </c:pt>
                <c:pt idx="6">
                  <c:v>129.0398194140696</c:v>
                </c:pt>
                <c:pt idx="7">
                  <c:v>128.7792534256518</c:v>
                </c:pt>
                <c:pt idx="8">
                  <c:v>128.52076616102264</c:v>
                </c:pt>
                <c:pt idx="9">
                  <c:v>128.26433530940778</c:v>
                </c:pt>
                <c:pt idx="10">
                  <c:v>128.00993865489437</c:v>
                </c:pt>
                <c:pt idx="11">
                  <c:v>127.75755408259701</c:v>
                </c:pt>
                <c:pt idx="12">
                  <c:v>127.50715958447087</c:v>
                </c:pt>
                <c:pt idx="13">
                  <c:v>127.25873326478079</c:v>
                </c:pt>
                <c:pt idx="14">
                  <c:v>127.01225334524582</c:v>
                </c:pt>
                <c:pt idx="15">
                  <c:v>126.76769816987101</c:v>
                </c:pt>
                <c:pt idx="16">
                  <c:v>126.52504620948206</c:v>
                </c:pt>
                <c:pt idx="17">
                  <c:v>126.28427606597438</c:v>
                </c:pt>
                <c:pt idx="18">
                  <c:v>126.0453664762877</c:v>
                </c:pt>
                <c:pt idx="19">
                  <c:v>125.80829631612337</c:v>
                </c:pt>
                <c:pt idx="20">
                  <c:v>124.74567918153842</c:v>
                </c:pt>
                <c:pt idx="21">
                  <c:v>123.49071208411999</c:v>
                </c:pt>
                <c:pt idx="22">
                  <c:v>122.25144591935739</c:v>
                </c:pt>
                <c:pt idx="23">
                  <c:v>121.02766871377028</c:v>
                </c:pt>
                <c:pt idx="24">
                  <c:v>119.81917033459533</c:v>
                </c:pt>
                <c:pt idx="25">
                  <c:v>118.62574246627722</c:v>
                </c:pt>
                <c:pt idx="26">
                  <c:v>117.44717858790783</c:v>
                </c:pt>
                <c:pt idx="27">
                  <c:v>116.28327395244231</c:v>
                </c:pt>
                <c:pt idx="28">
                  <c:v>115.133825568337</c:v>
                </c:pt>
                <c:pt idx="29">
                  <c:v>113.99863218412672</c:v>
                </c:pt>
                <c:pt idx="30">
                  <c:v>112.87749427628768</c:v>
                </c:pt>
                <c:pt idx="31">
                  <c:v>111.77021404064426</c:v>
                </c:pt>
                <c:pt idx="32">
                  <c:v>110.67659538744424</c:v>
                </c:pt>
                <c:pt idx="33">
                  <c:v>109.59644394014987</c:v>
                </c:pt>
                <c:pt idx="34">
                  <c:v>108.52956703790983</c:v>
                </c:pt>
                <c:pt idx="35">
                  <c:v>107.47577374159853</c:v>
                </c:pt>
                <c:pt idx="36">
                  <c:v>106.43487484326744</c:v>
                </c:pt>
                <c:pt idx="37">
                  <c:v>105.40668287879514</c:v>
                </c:pt>
                <c:pt idx="38">
                  <c:v>104.39101214348969</c:v>
                </c:pt>
                <c:pt idx="39">
                  <c:v>103.38767871036663</c:v>
                </c:pt>
                <c:pt idx="40">
                  <c:v>103.04189990078719</c:v>
                </c:pt>
                <c:pt idx="41">
                  <c:v>102.85911169992758</c:v>
                </c:pt>
                <c:pt idx="42">
                  <c:v>102.67680465463896</c:v>
                </c:pt>
                <c:pt idx="43">
                  <c:v>102.49497930164431</c:v>
                </c:pt>
                <c:pt idx="44">
                  <c:v>102.31363603838317</c:v>
                </c:pt>
                <c:pt idx="45">
                  <c:v>102.13277512794437</c:v>
                </c:pt>
                <c:pt idx="46">
                  <c:v>101.95239670385638</c:v>
                </c:pt>
                <c:pt idx="47">
                  <c:v>101.77250077474859</c:v>
                </c:pt>
                <c:pt idx="48">
                  <c:v>101.5930872288816</c:v>
                </c:pt>
                <c:pt idx="49">
                  <c:v>101.41415583854645</c:v>
                </c:pt>
                <c:pt idx="50">
                  <c:v>101.23570626434567</c:v>
                </c:pt>
                <c:pt idx="51">
                  <c:v>101.05773805934956</c:v>
                </c:pt>
                <c:pt idx="52">
                  <c:v>100.88025067313622</c:v>
                </c:pt>
                <c:pt idx="53">
                  <c:v>100.70324345571822</c:v>
                </c:pt>
                <c:pt idx="54">
                  <c:v>100.52671566135598</c:v>
                </c:pt>
                <c:pt idx="55">
                  <c:v>100.3506664522631</c:v>
                </c:pt>
                <c:pt idx="56">
                  <c:v>100.17509490220564</c:v>
                </c:pt>
                <c:pt idx="57">
                  <c:v>100</c:v>
                </c:pt>
                <c:pt idx="58">
                  <c:v>99.825380652906148</c:v>
                </c:pt>
                <c:pt idx="59">
                  <c:v>99.651235689928725</c:v>
                </c:pt>
                <c:pt idx="60">
                  <c:v>99.555040879138033</c:v>
                </c:pt>
                <c:pt idx="61">
                  <c:v>99.47815565852197</c:v>
                </c:pt>
                <c:pt idx="62">
                  <c:v>99.401157367836831</c:v>
                </c:pt>
                <c:pt idx="63">
                  <c:v>99.324052045832417</c:v>
                </c:pt>
                <c:pt idx="64">
                  <c:v>99.246845620007321</c:v>
                </c:pt>
                <c:pt idx="65">
                  <c:v>99.169543908306736</c:v>
                </c:pt>
                <c:pt idx="66">
                  <c:v>99.092152620791865</c:v>
                </c:pt>
                <c:pt idx="67">
                  <c:v>99.014677361278274</c:v>
                </c:pt>
                <c:pt idx="68">
                  <c:v>98.937123628949735</c:v>
                </c:pt>
                <c:pt idx="69">
                  <c:v>98.859496819942834</c:v>
                </c:pt>
                <c:pt idx="70">
                  <c:v>98.781802228905065</c:v>
                </c:pt>
                <c:pt idx="71">
                  <c:v>98.704045050527142</c:v>
                </c:pt>
                <c:pt idx="72">
                  <c:v>98.62623038105113</c:v>
                </c:pt>
                <c:pt idx="73">
                  <c:v>98.548363219750485</c:v>
                </c:pt>
                <c:pt idx="74">
                  <c:v>98.47044847039092</c:v>
                </c:pt>
                <c:pt idx="75">
                  <c:v>98.392490942661453</c:v>
                </c:pt>
                <c:pt idx="76">
                  <c:v>98.314495353587745</c:v>
                </c:pt>
                <c:pt idx="77">
                  <c:v>98.23646632891915</c:v>
                </c:pt>
                <c:pt idx="78">
                  <c:v>98.158408404495319</c:v>
                </c:pt>
                <c:pt idx="79">
                  <c:v>98.080326027590118</c:v>
                </c:pt>
                <c:pt idx="80">
                  <c:v>98.002223558235087</c:v>
                </c:pt>
                <c:pt idx="81">
                  <c:v>97.924105270520982</c:v>
                </c:pt>
                <c:pt idx="82">
                  <c:v>97.845975353880817</c:v>
                </c:pt>
                <c:pt idx="83">
                  <c:v>97.767837914351119</c:v>
                </c:pt>
                <c:pt idx="84">
                  <c:v>97.689696975814044</c:v>
                </c:pt>
                <c:pt idx="85">
                  <c:v>97.611556481221669</c:v>
                </c:pt>
                <c:pt idx="86">
                  <c:v>97.533420293799949</c:v>
                </c:pt>
                <c:pt idx="87">
                  <c:v>97.455292198235028</c:v>
                </c:pt>
                <c:pt idx="88">
                  <c:v>97.377175901842534</c:v>
                </c:pt>
                <c:pt idx="89">
                  <c:v>97.299075035716172</c:v>
                </c:pt>
                <c:pt idx="90">
                  <c:v>97.220993155864434</c:v>
                </c:pt>
                <c:pt idx="91">
                  <c:v>97.142933744323997</c:v>
                </c:pt>
                <c:pt idx="92">
                  <c:v>97.064900210262039</c:v>
                </c:pt>
                <c:pt idx="93">
                  <c:v>96.986895891058751</c:v>
                </c:pt>
                <c:pt idx="94">
                  <c:v>96.908924053376211</c:v>
                </c:pt>
                <c:pt idx="95">
                  <c:v>96.830987894210736</c:v>
                </c:pt>
                <c:pt idx="96">
                  <c:v>96.75309054192779</c:v>
                </c:pt>
                <c:pt idx="97">
                  <c:v>96.675235057286784</c:v>
                </c:pt>
                <c:pt idx="98">
                  <c:v>96.597424434447205</c:v>
                </c:pt>
                <c:pt idx="99">
                  <c:v>96.519661601960095</c:v>
                </c:pt>
                <c:pt idx="100">
                  <c:v>95.80452773804528</c:v>
                </c:pt>
                <c:pt idx="101">
                  <c:v>94.941557642844202</c:v>
                </c:pt>
                <c:pt idx="102">
                  <c:v>94.091089481949282</c:v>
                </c:pt>
                <c:pt idx="103">
                  <c:v>93.252820527738649</c:v>
                </c:pt>
                <c:pt idx="104">
                  <c:v>92.426457720451523</c:v>
                </c:pt>
                <c:pt idx="105">
                  <c:v>91.611717333193639</c:v>
                </c:pt>
                <c:pt idx="106">
                  <c:v>90.808324647511569</c:v>
                </c:pt>
                <c:pt idx="107">
                  <c:v>90.016013639418034</c:v>
                </c:pt>
                <c:pt idx="108">
                  <c:v>89.234526675719053</c:v>
                </c:pt>
                <c:pt idx="109">
                  <c:v>88.463614220469751</c:v>
                </c:pt>
                <c:pt idx="110">
                  <c:v>87.703034551363217</c:v>
                </c:pt>
                <c:pt idx="111">
                  <c:v>86.95255348584719</c:v>
                </c:pt>
                <c:pt idx="112">
                  <c:v>86.211944116747134</c:v>
                </c:pt>
                <c:pt idx="113">
                  <c:v>85.48098655715755</c:v>
                </c:pt>
                <c:pt idx="114">
                  <c:v>84.75946769436807</c:v>
                </c:pt>
                <c:pt idx="115">
                  <c:v>84.047180952573967</c:v>
                </c:pt>
                <c:pt idx="116">
                  <c:v>83.343926064118904</c:v>
                </c:pt>
                <c:pt idx="117">
                  <c:v>82.649508849021714</c:v>
                </c:pt>
                <c:pt idx="118">
                  <c:v>81.963741002527186</c:v>
                </c:pt>
                <c:pt idx="119">
                  <c:v>81.2864398904321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D$2:$D$121</c:f>
              <c:numCache>
                <c:formatCode>General</c:formatCode>
                <c:ptCount val="120"/>
                <c:pt idx="0">
                  <c:v>68.473582220276711</c:v>
                </c:pt>
                <c:pt idx="1">
                  <c:v>69.723319429667981</c:v>
                </c:pt>
                <c:pt idx="2">
                  <c:v>70.954616783145724</c:v>
                </c:pt>
                <c:pt idx="3">
                  <c:v>72.167822108261021</c:v>
                </c:pt>
                <c:pt idx="4">
                  <c:v>73.363275243575416</c:v>
                </c:pt>
                <c:pt idx="5">
                  <c:v>74.541308241709814</c:v>
                </c:pt>
                <c:pt idx="6">
                  <c:v>75.702245566883335</c:v>
                </c:pt>
                <c:pt idx="7">
                  <c:v>76.846404287106736</c:v>
                </c:pt>
                <c:pt idx="8">
                  <c:v>77.974094261175182</c:v>
                </c:pt>
                <c:pt idx="9">
                  <c:v>79.085618320608262</c:v>
                </c:pt>
                <c:pt idx="10">
                  <c:v>80.181272446684076</c:v>
                </c:pt>
                <c:pt idx="11">
                  <c:v>81.261345942701752</c:v>
                </c:pt>
                <c:pt idx="12">
                  <c:v>82.32612160161041</c:v>
                </c:pt>
                <c:pt idx="13">
                  <c:v>83.375875869134063</c:v>
                </c:pt>
                <c:pt idx="14">
                  <c:v>84.410879002519835</c:v>
                </c:pt>
                <c:pt idx="15">
                  <c:v>85.431395225032631</c:v>
                </c:pt>
                <c:pt idx="16">
                  <c:v>86.437682876318462</c:v>
                </c:pt>
                <c:pt idx="17">
                  <c:v>87.4299945587492</c:v>
                </c:pt>
                <c:pt idx="18">
                  <c:v>88.408577279863692</c:v>
                </c:pt>
                <c:pt idx="19">
                  <c:v>89.373672591016515</c:v>
                </c:pt>
                <c:pt idx="20">
                  <c:v>89.730082703258603</c:v>
                </c:pt>
                <c:pt idx="21">
                  <c:v>89.917405272590884</c:v>
                </c:pt>
                <c:pt idx="22">
                  <c:v>90.084368281792365</c:v>
                </c:pt>
                <c:pt idx="23">
                  <c:v>90.231653301630388</c:v>
                </c:pt>
                <c:pt idx="24">
                  <c:v>90.359920984827454</c:v>
                </c:pt>
                <c:pt idx="25">
                  <c:v>90.46981162152457</c:v>
                </c:pt>
                <c:pt idx="26">
                  <c:v>90.561945679159933</c:v>
                </c:pt>
                <c:pt idx="27">
                  <c:v>90.636924327961296</c:v>
                </c:pt>
                <c:pt idx="28">
                  <c:v>90.695329953142959</c:v>
                </c:pt>
                <c:pt idx="29">
                  <c:v>90.737726654816981</c:v>
                </c:pt>
                <c:pt idx="30">
                  <c:v>90.764660736507864</c:v>
                </c:pt>
                <c:pt idx="31">
                  <c:v>90.776661183085011</c:v>
                </c:pt>
                <c:pt idx="32">
                  <c:v>90.774240128816047</c:v>
                </c:pt>
                <c:pt idx="33">
                  <c:v>90.75789331616896</c:v>
                </c:pt>
                <c:pt idx="34">
                  <c:v>90.728100545900531</c:v>
                </c:pt>
                <c:pt idx="35">
                  <c:v>90.68532611888638</c:v>
                </c:pt>
                <c:pt idx="36">
                  <c:v>90.630019270083181</c:v>
                </c:pt>
                <c:pt idx="37">
                  <c:v>90.562614594936548</c:v>
                </c:pt>
                <c:pt idx="38">
                  <c:v>90.483532468493038</c:v>
                </c:pt>
                <c:pt idx="39">
                  <c:v>90.393179457413524</c:v>
                </c:pt>
                <c:pt idx="40">
                  <c:v>90.861415710367879</c:v>
                </c:pt>
                <c:pt idx="41">
                  <c:v>91.463106907894144</c:v>
                </c:pt>
                <c:pt idx="42">
                  <c:v>92.056204014430179</c:v>
                </c:pt>
                <c:pt idx="43">
                  <c:v>92.640829724388524</c:v>
                </c:pt>
                <c:pt idx="44">
                  <c:v>93.217104613982599</c:v>
                </c:pt>
                <c:pt idx="45">
                  <c:v>93.785147181447911</c:v>
                </c:pt>
                <c:pt idx="46">
                  <c:v>94.345073886471596</c:v>
                </c:pt>
                <c:pt idx="47">
                  <c:v>94.896999188853044</c:v>
                </c:pt>
                <c:pt idx="48">
                  <c:v>95.441035586406272</c:v>
                </c:pt>
                <c:pt idx="49">
                  <c:v>95.977293652116231</c:v>
                </c:pt>
                <c:pt idx="50">
                  <c:v>96.505882070571275</c:v>
                </c:pt>
                <c:pt idx="51">
                  <c:v>97.026907673677201</c:v>
                </c:pt>
                <c:pt idx="52">
                  <c:v>97.540475475673148</c:v>
                </c:pt>
                <c:pt idx="53">
                  <c:v>98.046688707460191</c:v>
                </c:pt>
                <c:pt idx="54">
                  <c:v>98.545648850256313</c:v>
                </c:pt>
                <c:pt idx="55">
                  <c:v>99.037455668590852</c:v>
                </c:pt>
                <c:pt idx="56">
                  <c:v>99.522207242651859</c:v>
                </c:pt>
                <c:pt idx="57">
                  <c:v>100</c:v>
                </c:pt>
                <c:pt idx="58">
                  <c:v>100.47092874665726</c:v>
                </c:pt>
                <c:pt idx="59">
                  <c:v>100.93508669759012</c:v>
                </c:pt>
                <c:pt idx="60">
                  <c:v>101.47157730531757</c:v>
                </c:pt>
                <c:pt idx="61">
                  <c:v>102.02178982369669</c:v>
                </c:pt>
                <c:pt idx="62">
                  <c:v>102.56610567279003</c:v>
                </c:pt>
                <c:pt idx="63">
                  <c:v>103.10459508521386</c:v>
                </c:pt>
                <c:pt idx="64">
                  <c:v>103.63732735566036</c:v>
                </c:pt>
                <c:pt idx="65">
                  <c:v>104.16437085480526</c:v>
                </c:pt>
                <c:pt idx="66">
                  <c:v>104.68579304297423</c:v>
                </c:pt>
                <c:pt idx="67">
                  <c:v>105.20166048356828</c:v>
                </c:pt>
                <c:pt idx="68">
                  <c:v>105.71203885625972</c:v>
                </c:pt>
                <c:pt idx="69">
                  <c:v>106.21699296995732</c:v>
                </c:pt>
                <c:pt idx="70">
                  <c:v>106.71658677554876</c:v>
                </c:pt>
                <c:pt idx="71">
                  <c:v>107.21088337842393</c:v>
                </c:pt>
                <c:pt idx="72">
                  <c:v>107.69994505078525</c:v>
                </c:pt>
                <c:pt idx="73">
                  <c:v>108.18383324374446</c:v>
                </c:pt>
                <c:pt idx="74">
                  <c:v>108.66260859921961</c:v>
                </c:pt>
                <c:pt idx="75">
                  <c:v>109.13633096162347</c:v>
                </c:pt>
                <c:pt idx="76">
                  <c:v>109.60505938936076</c:v>
                </c:pt>
                <c:pt idx="77">
                  <c:v>110.06885216612832</c:v>
                </c:pt>
                <c:pt idx="78">
                  <c:v>110.52776681202738</c:v>
                </c:pt>
                <c:pt idx="79">
                  <c:v>110.98186009448942</c:v>
                </c:pt>
                <c:pt idx="80">
                  <c:v>111.43118803902119</c:v>
                </c:pt>
                <c:pt idx="81">
                  <c:v>111.87580593976945</c:v>
                </c:pt>
                <c:pt idx="82">
                  <c:v>112.31576836991441</c:v>
                </c:pt>
                <c:pt idx="83">
                  <c:v>112.75112919188864</c:v>
                </c:pt>
                <c:pt idx="84">
                  <c:v>113.18194156742938</c:v>
                </c:pt>
                <c:pt idx="85">
                  <c:v>113.60825796746776</c:v>
                </c:pt>
                <c:pt idx="86">
                  <c:v>114.03013018185477</c:v>
                </c:pt>
                <c:pt idx="87">
                  <c:v>114.44760932892987</c:v>
                </c:pt>
                <c:pt idx="88">
                  <c:v>114.8607458649364</c:v>
                </c:pt>
                <c:pt idx="89">
                  <c:v>115.26958959328067</c:v>
                </c:pt>
                <c:pt idx="90">
                  <c:v>115.67418967364884</c:v>
                </c:pt>
                <c:pt idx="91">
                  <c:v>116.07459463097038</c:v>
                </c:pt>
                <c:pt idx="92">
                  <c:v>116.47085236424419</c:v>
                </c:pt>
                <c:pt idx="93">
                  <c:v>116.86301015522085</c:v>
                </c:pt>
                <c:pt idx="94">
                  <c:v>117.25111467694876</c:v>
                </c:pt>
                <c:pt idx="95">
                  <c:v>117.63521200218558</c:v>
                </c:pt>
                <c:pt idx="96">
                  <c:v>118.01534761167345</c:v>
                </c:pt>
                <c:pt idx="97">
                  <c:v>118.39156640229021</c:v>
                </c:pt>
                <c:pt idx="98">
                  <c:v>118.76391269506854</c:v>
                </c:pt>
                <c:pt idx="99">
                  <c:v>119.13243024309101</c:v>
                </c:pt>
                <c:pt idx="100">
                  <c:v>118.70661125525102</c:v>
                </c:pt>
                <c:pt idx="101">
                  <c:v>118.08688009719555</c:v>
                </c:pt>
                <c:pt idx="102">
                  <c:v>117.47161768673715</c:v>
                </c:pt>
                <c:pt idx="103">
                  <c:v>116.86073079456902</c:v>
                </c:pt>
                <c:pt idx="104">
                  <c:v>116.2541289463279</c:v>
                </c:pt>
                <c:pt idx="105">
                  <c:v>115.65172437763967</c:v>
                </c:pt>
                <c:pt idx="106">
                  <c:v>115.05343198589301</c:v>
                </c:pt>
                <c:pt idx="107">
                  <c:v>114.45916927930779</c:v>
                </c:pt>
                <c:pt idx="108">
                  <c:v>113.86885632380441</c:v>
                </c:pt>
                <c:pt idx="109">
                  <c:v>113.28241568812972</c:v>
                </c:pt>
                <c:pt idx="110">
                  <c:v>112.6997723876346</c:v>
                </c:pt>
                <c:pt idx="111">
                  <c:v>112.12085382707035</c:v>
                </c:pt>
                <c:pt idx="112">
                  <c:v>111.54558974272</c:v>
                </c:pt>
                <c:pt idx="113">
                  <c:v>110.97391214414047</c:v>
                </c:pt>
                <c:pt idx="114">
                  <c:v>110.40575525577179</c:v>
                </c:pt>
                <c:pt idx="115">
                  <c:v>109.84105545862502</c:v>
                </c:pt>
                <c:pt idx="116">
                  <c:v>109.27975123223636</c:v>
                </c:pt>
                <c:pt idx="117">
                  <c:v>108.72178309705998</c:v>
                </c:pt>
                <c:pt idx="118">
                  <c:v>108.16709355743215</c:v>
                </c:pt>
                <c:pt idx="119">
                  <c:v>107.61562704523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E$2:$E$121</c:f>
              <c:numCache>
                <c:formatCode>General</c:formatCode>
                <c:ptCount val="120"/>
                <c:pt idx="0">
                  <c:v>0.19724645652492434</c:v>
                </c:pt>
                <c:pt idx="1">
                  <c:v>0.20126424202780233</c:v>
                </c:pt>
                <c:pt idx="2">
                  <c:v>0.20524200974678772</c:v>
                </c:pt>
                <c:pt idx="3">
                  <c:v>0.20918035459442486</c:v>
                </c:pt>
                <c:pt idx="4">
                  <c:v>0.2130798597492847</c:v>
                </c:pt>
                <c:pt idx="5">
                  <c:v>0.21694109694384173</c:v>
                </c:pt>
                <c:pt idx="6">
                  <c:v>0.22076462674392072</c:v>
                </c:pt>
                <c:pt idx="7">
                  <c:v>0.2245509988199948</c:v>
                </c:pt>
                <c:pt idx="8">
                  <c:v>0.22830075221061374</c:v>
                </c:pt>
                <c:pt idx="9">
                  <c:v>0.23201441557822403</c:v>
                </c:pt>
                <c:pt idx="10">
                  <c:v>0.23569250745763862</c:v>
                </c:pt>
                <c:pt idx="11">
                  <c:v>0.23933553649740202</c:v>
                </c:pt>
                <c:pt idx="12">
                  <c:v>0.24294400169428335</c:v>
                </c:pt>
                <c:pt idx="13">
                  <c:v>0.24651839262112807</c:v>
                </c:pt>
                <c:pt idx="14">
                  <c:v>0.25005918964828461</c:v>
                </c:pt>
                <c:pt idx="15">
                  <c:v>0.25356686415881641</c:v>
                </c:pt>
                <c:pt idx="16">
                  <c:v>0.25704187875770457</c:v>
                </c:pt>
                <c:pt idx="17">
                  <c:v>0.26048468747523146</c:v>
                </c:pt>
                <c:pt idx="18">
                  <c:v>0.26389573596473687</c:v>
                </c:pt>
                <c:pt idx="19">
                  <c:v>0.26727546169492628</c:v>
                </c:pt>
                <c:pt idx="20">
                  <c:v>0.27062429413690559</c:v>
                </c:pt>
                <c:pt idx="21">
                  <c:v>0.27394265494610981</c:v>
                </c:pt>
                <c:pt idx="22">
                  <c:v>0.27723095813928872</c:v>
                </c:pt>
                <c:pt idx="23">
                  <c:v>0.28048961026670405</c:v>
                </c:pt>
                <c:pt idx="24">
                  <c:v>0.28371901057968996</c:v>
                </c:pt>
                <c:pt idx="25">
                  <c:v>0.28691955119372176</c:v>
                </c:pt>
                <c:pt idx="26">
                  <c:v>0.29009161724713051</c:v>
                </c:pt>
                <c:pt idx="27">
                  <c:v>0.29323558705560199</c:v>
                </c:pt>
                <c:pt idx="28">
                  <c:v>0.29635183226258793</c:v>
                </c:pt>
                <c:pt idx="29">
                  <c:v>0.29944071798575478</c:v>
                </c:pt>
                <c:pt idx="30">
                  <c:v>0.30250260295959325</c:v>
                </c:pt>
                <c:pt idx="31">
                  <c:v>0.30553783967430354</c:v>
                </c:pt>
                <c:pt idx="32">
                  <c:v>0.30854677451106988</c:v>
                </c:pt>
                <c:pt idx="33">
                  <c:v>0.31152974787383497</c:v>
                </c:pt>
                <c:pt idx="34">
                  <c:v>0.31448709431767591</c:v>
                </c:pt>
                <c:pt idx="35">
                  <c:v>0.31741914267388777</c:v>
                </c:pt>
                <c:pt idx="36">
                  <c:v>0.3203262161718694</c:v>
                </c:pt>
                <c:pt idx="37">
                  <c:v>0.32320863255790894</c:v>
                </c:pt>
                <c:pt idx="38">
                  <c:v>0.32606670421095846</c:v>
                </c:pt>
                <c:pt idx="39">
                  <c:v>0.32890073825548749</c:v>
                </c:pt>
                <c:pt idx="40">
                  <c:v>0.3317110366715032</c:v>
                </c:pt>
                <c:pt idx="41">
                  <c:v>0.33449789640181371</c:v>
                </c:pt>
                <c:pt idx="42">
                  <c:v>0.33726160945662337</c:v>
                </c:pt>
                <c:pt idx="43">
                  <c:v>0.34000246301552906</c:v>
                </c:pt>
                <c:pt idx="44">
                  <c:v>0.34272073952699728</c:v>
                </c:pt>
                <c:pt idx="45">
                  <c:v>0.34541671680539365</c:v>
                </c:pt>
                <c:pt idx="46">
                  <c:v>0.34809066812563288</c:v>
                </c:pt>
                <c:pt idx="47">
                  <c:v>0.35074286231552049</c:v>
                </c:pt>
                <c:pt idx="48">
                  <c:v>0.35337356384584656</c:v>
                </c:pt>
                <c:pt idx="49">
                  <c:v>0.35598303291830075</c:v>
                </c:pt>
                <c:pt idx="50">
                  <c:v>0.35857152555126592</c:v>
                </c:pt>
                <c:pt idx="51">
                  <c:v>0.36113929366355058</c:v>
                </c:pt>
                <c:pt idx="52">
                  <c:v>0.36368658515612029</c:v>
                </c:pt>
                <c:pt idx="53">
                  <c:v>0.36621364399187817</c:v>
                </c:pt>
                <c:pt idx="54">
                  <c:v>0.3687207102735558</c:v>
                </c:pt>
                <c:pt idx="55">
                  <c:v>0.37120802031975936</c:v>
                </c:pt>
                <c:pt idx="56">
                  <c:v>0.37367580673922662</c:v>
                </c:pt>
                <c:pt idx="57">
                  <c:v>0.37612429850334228</c:v>
                </c:pt>
                <c:pt idx="58">
                  <c:v>0.37855372101695861</c:v>
                </c:pt>
                <c:pt idx="59">
                  <c:v>0.38096429618756777</c:v>
                </c:pt>
                <c:pt idx="60">
                  <c:v>0.3833562424928707</c:v>
                </c:pt>
                <c:pt idx="61">
                  <c:v>0.38572977504678574</c:v>
                </c:pt>
                <c:pt idx="62">
                  <c:v>0.38808510566393772</c:v>
                </c:pt>
                <c:pt idx="63">
                  <c:v>0.3904224429226697</c:v>
                </c:pt>
                <c:pt idx="64">
                  <c:v>0.39274199222661699</c:v>
                </c:pt>
                <c:pt idx="65">
                  <c:v>0.39504395586487845</c:v>
                </c:pt>
                <c:pt idx="66">
                  <c:v>0.39732853307082672</c:v>
                </c:pt>
                <c:pt idx="67">
                  <c:v>0.39959592007958966</c:v>
                </c:pt>
                <c:pt idx="68">
                  <c:v>0.40184631018423889</c:v>
                </c:pt>
                <c:pt idx="69">
                  <c:v>0.40407989379072051</c:v>
                </c:pt>
                <c:pt idx="70">
                  <c:v>0.4062968584715585</c:v>
                </c:pt>
                <c:pt idx="71">
                  <c:v>0.40849738901836524</c:v>
                </c:pt>
                <c:pt idx="72">
                  <c:v>0.41068166749318663</c:v>
                </c:pt>
                <c:pt idx="73">
                  <c:v>0.41284987327871575</c:v>
                </c:pt>
                <c:pt idx="74">
                  <c:v>0.41500218312740089</c:v>
                </c:pt>
                <c:pt idx="75">
                  <c:v>0.4171387712094774</c:v>
                </c:pt>
                <c:pt idx="76">
                  <c:v>0.41925980915995248</c:v>
                </c:pt>
                <c:pt idx="77">
                  <c:v>0.42136546612456466</c:v>
                </c:pt>
                <c:pt idx="78">
                  <c:v>0.42345590880475048</c:v>
                </c:pt>
                <c:pt idx="79">
                  <c:v>0.42553130150163765</c:v>
                </c:pt>
                <c:pt idx="80">
                  <c:v>0.42759180615909231</c:v>
                </c:pt>
                <c:pt idx="81">
                  <c:v>0.42963758240584321</c:v>
                </c:pt>
                <c:pt idx="82">
                  <c:v>0.43166878759670574</c:v>
                </c:pt>
                <c:pt idx="83">
                  <c:v>0.43368557685292736</c:v>
                </c:pt>
                <c:pt idx="84">
                  <c:v>0.43568810310167938</c:v>
                </c:pt>
                <c:pt idx="85">
                  <c:v>0.43767651711471084</c:v>
                </c:pt>
                <c:pt idx="86">
                  <c:v>0.4396509675461901</c:v>
                </c:pt>
                <c:pt idx="87">
                  <c:v>0.44161160096975127</c:v>
                </c:pt>
                <c:pt idx="88">
                  <c:v>0.44355856191476623</c:v>
                </c:pt>
                <c:pt idx="89">
                  <c:v>0.44549199290185865</c:v>
                </c:pt>
                <c:pt idx="90">
                  <c:v>0.44741203447768335</c:v>
                </c:pt>
                <c:pt idx="91">
                  <c:v>0.44931882524898187</c:v>
                </c:pt>
                <c:pt idx="92">
                  <c:v>0.45121250191593859</c:v>
                </c:pt>
                <c:pt idx="93">
                  <c:v>0.45309319930484904</c:v>
                </c:pt>
                <c:pt idx="94">
                  <c:v>0.4549610504001193</c:v>
                </c:pt>
                <c:pt idx="95">
                  <c:v>0.45681618637561239</c:v>
                </c:pt>
                <c:pt idx="96">
                  <c:v>0.45865873662535583</c:v>
                </c:pt>
                <c:pt idx="97">
                  <c:v>0.46048882879362735</c:v>
                </c:pt>
                <c:pt idx="98">
                  <c:v>0.46230658880443043</c:v>
                </c:pt>
                <c:pt idx="99">
                  <c:v>0.46411214089037928</c:v>
                </c:pt>
                <c:pt idx="100">
                  <c:v>0.46590560762100036</c:v>
                </c:pt>
                <c:pt idx="101">
                  <c:v>0.46768710993047008</c:v>
                </c:pt>
                <c:pt idx="102">
                  <c:v>0.469456767144797</c:v>
                </c:pt>
                <c:pt idx="103">
                  <c:v>0.47121469700846558</c:v>
                </c:pt>
                <c:pt idx="104">
                  <c:v>0.47296101571055132</c:v>
                </c:pt>
                <c:pt idx="105">
                  <c:v>0.47469583791031911</c:v>
                </c:pt>
                <c:pt idx="106">
                  <c:v>0.47641927676231921</c:v>
                </c:pt>
                <c:pt idx="107">
                  <c:v>0.47813144394099066</c:v>
                </c:pt>
                <c:pt idx="108">
                  <c:v>0.47983244966478145</c:v>
                </c:pt>
                <c:pt idx="109">
                  <c:v>0.48152240271980162</c:v>
                </c:pt>
                <c:pt idx="110">
                  <c:v>0.48320141048301479</c:v>
                </c:pt>
                <c:pt idx="111">
                  <c:v>0.48486957894498051</c:v>
                </c:pt>
                <c:pt idx="112">
                  <c:v>0.48652701273215881</c:v>
                </c:pt>
                <c:pt idx="113">
                  <c:v>0.48817381512878433</c:v>
                </c:pt>
                <c:pt idx="114">
                  <c:v>0.48981008809832144</c:v>
                </c:pt>
                <c:pt idx="115">
                  <c:v>0.4914359323045091</c:v>
                </c:pt>
                <c:pt idx="116">
                  <c:v>0.49305144713200422</c:v>
                </c:pt>
                <c:pt idx="117">
                  <c:v>0.49465673070663385</c:v>
                </c:pt>
                <c:pt idx="118">
                  <c:v>0.49625187991526176</c:v>
                </c:pt>
                <c:pt idx="119">
                  <c:v>0.497836990425282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Ruinart Blanc de Blancs 750ml (2.0%)</c:v>
                </c:pt>
                <c:pt idx="4">
                  <c:v>Champagne Ruinart Brut (étui) 750ml (1.2%)</c:v>
                </c:pt>
                <c:pt idx="5">
                  <c:v>Champagne Pol Roger Brut 750ml (0.8%)</c:v>
                </c:pt>
                <c:pt idx="6">
                  <c:v>Champagne E.Nicolas Brut 750ml (11.6%)</c:v>
                </c:pt>
                <c:pt idx="7">
                  <c:v>Champagne Ruinart Brut (étui) 1500ml (0.7%)</c:v>
                </c:pt>
                <c:pt idx="8">
                  <c:v>Champagne Deutz Brut Classique 1500ml (0.6%)</c:v>
                </c:pt>
                <c:pt idx="9">
                  <c:v>Champagne Laurent-Perrier Blanc La Cuvée 750ml (2.7%)</c:v>
                </c:pt>
              </c:strCache>
            </c:strRef>
          </c:cat>
          <c:val>
            <c:numRef>
              <c:f>Sheet1!$B$2:$B$11</c:f>
              <c:numCache>
                <c:formatCode>General</c:formatCode>
                <c:ptCount val="10"/>
                <c:pt idx="0">
                  <c:v>0.10260617528880951</c:v>
                </c:pt>
                <c:pt idx="1">
                  <c:v>6.1327073346612644E-2</c:v>
                </c:pt>
                <c:pt idx="2">
                  <c:v>4.4129391294727385E-2</c:v>
                </c:pt>
                <c:pt idx="3">
                  <c:v>4.0280471098734776E-2</c:v>
                </c:pt>
                <c:pt idx="4">
                  <c:v>3.641086770237225E-2</c:v>
                </c:pt>
                <c:pt idx="5">
                  <c:v>3.5403915727756412E-2</c:v>
                </c:pt>
                <c:pt idx="6">
                  <c:v>3.4312609040081057E-2</c:v>
                </c:pt>
                <c:pt idx="7">
                  <c:v>3.0881371191393898E-2</c:v>
                </c:pt>
                <c:pt idx="8">
                  <c:v>2.9251367092334866E-2</c:v>
                </c:pt>
                <c:pt idx="9">
                  <c:v>2.80958975782485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ttega (3.7%)</c:v>
                </c:pt>
                <c:pt idx="5">
                  <c:v>Les Grumes  (1.0%)</c:v>
                </c:pt>
                <c:pt idx="6">
                  <c:v>Château Moncontour  (1.5%)</c:v>
                </c:pt>
                <c:pt idx="7">
                  <c:v>Muré (1.3%)</c:v>
                </c:pt>
                <c:pt idx="8">
                  <c:v>Malard (6.0%)</c:v>
                </c:pt>
                <c:pt idx="9">
                  <c:v>Dea Augusta (0.5%)</c:v>
                </c:pt>
              </c:strCache>
            </c:strRef>
          </c:cat>
          <c:val>
            <c:numRef>
              <c:f>Sheet1!$B$2:$B$11</c:f>
              <c:numCache>
                <c:formatCode>General</c:formatCode>
                <c:ptCount val="10"/>
                <c:pt idx="0">
                  <c:v>0.15903274472388892</c:v>
                </c:pt>
                <c:pt idx="1">
                  <c:v>0.13604473428311162</c:v>
                </c:pt>
                <c:pt idx="2">
                  <c:v>9.3807076779712659E-2</c:v>
                </c:pt>
                <c:pt idx="3">
                  <c:v>7.2507833372796052E-2</c:v>
                </c:pt>
                <c:pt idx="4">
                  <c:v>6.8438588656798818E-2</c:v>
                </c:pt>
                <c:pt idx="5">
                  <c:v>5.536093964721301E-2</c:v>
                </c:pt>
                <c:pt idx="6">
                  <c:v>5.5077759557756102E-2</c:v>
                </c:pt>
                <c:pt idx="7">
                  <c:v>3.6341689954745272E-2</c:v>
                </c:pt>
                <c:pt idx="8">
                  <c:v>3.4007161374561667E-2</c:v>
                </c:pt>
                <c:pt idx="9">
                  <c:v>3.279420111173956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Pol Roger Brut 750ml (0.8%)</c:v>
                </c:pt>
                <c:pt idx="4">
                  <c:v>Champagne Ruinart Blanc de Blancs 750ml (2.0%)</c:v>
                </c:pt>
                <c:pt idx="5">
                  <c:v>Champagne Ruinart Brut (étui) 750ml (1.2%)</c:v>
                </c:pt>
                <c:pt idx="6">
                  <c:v>Champagne E.Nicolas Brut 750ml (11.6%)</c:v>
                </c:pt>
                <c:pt idx="7">
                  <c:v>Champagne Ruinart Brut (étui) 1500ml (0.7%)</c:v>
                </c:pt>
                <c:pt idx="8">
                  <c:v>Champagne Laurent-Perrier Blanc La Cuvée 750ml (2.7%)</c:v>
                </c:pt>
                <c:pt idx="9">
                  <c:v>Champagne Deutz Brut Classique 1500ml (0.6%)</c:v>
                </c:pt>
              </c:strCache>
            </c:strRef>
          </c:cat>
          <c:val>
            <c:numRef>
              <c:f>Sheet1!$B$2:$B$11</c:f>
              <c:numCache>
                <c:formatCode>General</c:formatCode>
                <c:ptCount val="10"/>
                <c:pt idx="0">
                  <c:v>9.6316242574534541E-2</c:v>
                </c:pt>
                <c:pt idx="1">
                  <c:v>6.0336320831383947E-2</c:v>
                </c:pt>
                <c:pt idx="2">
                  <c:v>4.0052026880220568E-2</c:v>
                </c:pt>
                <c:pt idx="3">
                  <c:v>3.7771655874720977E-2</c:v>
                </c:pt>
                <c:pt idx="4">
                  <c:v>3.6174826475927492E-2</c:v>
                </c:pt>
                <c:pt idx="5">
                  <c:v>3.615877987868709E-2</c:v>
                </c:pt>
                <c:pt idx="6">
                  <c:v>3.6055419073982534E-2</c:v>
                </c:pt>
                <c:pt idx="7">
                  <c:v>3.2579482992386014E-2</c:v>
                </c:pt>
                <c:pt idx="8">
                  <c:v>3.0557323920391267E-2</c:v>
                </c:pt>
                <c:pt idx="9">
                  <c:v>2.85623561002270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anard-Duchêne Blanc Cuvée Léonie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6.95</c:v>
                </c:pt>
                <c:pt idx="1">
                  <c:v>18.95</c:v>
                </c:pt>
                <c:pt idx="2">
                  <c:v>20.95</c:v>
                </c:pt>
                <c:pt idx="3">
                  <c:v>22.95</c:v>
                </c:pt>
                <c:pt idx="4">
                  <c:v>24.95</c:v>
                </c:pt>
              </c:numCache>
            </c:numRef>
          </c:xVal>
          <c:yVal>
            <c:numRef>
              <c:f>Sheet1!$B$2:$B$6</c:f>
              <c:numCache>
                <c:formatCode>General</c:formatCode>
                <c:ptCount val="5"/>
                <c:pt idx="0">
                  <c:v>0.51148423633613849</c:v>
                </c:pt>
                <c:pt idx="1">
                  <c:v>0.18530652703766495</c:v>
                </c:pt>
                <c:pt idx="2">
                  <c:v>0</c:v>
                </c:pt>
                <c:pt idx="3">
                  <c:v>-0.11687602599901561</c:v>
                </c:pt>
                <c:pt idx="4">
                  <c:v>-0.2156844373152677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0000000000003</c:v>
                </c:pt>
                <c:pt idx="3">
                  <c:v>39.950000000000003</c:v>
                </c:pt>
                <c:pt idx="4">
                  <c:v>42.95</c:v>
                </c:pt>
              </c:numCache>
            </c:numRef>
          </c:xVal>
          <c:yVal>
            <c:numRef>
              <c:f>Sheet1!$B$9:$B$13</c:f>
              <c:numCache>
                <c:formatCode>General</c:formatCode>
                <c:ptCount val="5"/>
                <c:pt idx="0">
                  <c:v>0.75597399385965691</c:v>
                </c:pt>
                <c:pt idx="1">
                  <c:v>0.25146576201934645</c:v>
                </c:pt>
                <c:pt idx="2">
                  <c:v>0</c:v>
                </c:pt>
                <c:pt idx="3">
                  <c:v>-0.3688583526629412</c:v>
                </c:pt>
                <c:pt idx="4">
                  <c:v>-0.5833866917666135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Canard-Duchêne Blanc Cuvée Léoni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c:v>
                </c:pt>
                <c:pt idx="2">
                  <c:v>69</c:v>
                </c:pt>
                <c:pt idx="3">
                  <c:v>75</c:v>
                </c:pt>
                <c:pt idx="4">
                  <c:v>85</c:v>
                </c:pt>
              </c:numCache>
            </c:numRef>
          </c:xVal>
          <c:yVal>
            <c:numRef>
              <c:f>Sheet1!$B$16:$B$20</c:f>
              <c:numCache>
                <c:formatCode>General</c:formatCode>
                <c:ptCount val="5"/>
                <c:pt idx="0">
                  <c:v>0.54039573198642454</c:v>
                </c:pt>
                <c:pt idx="1">
                  <c:v>0.39811615944378875</c:v>
                </c:pt>
                <c:pt idx="2">
                  <c:v>0</c:v>
                </c:pt>
                <c:pt idx="3">
                  <c:v>-0.19536043298781841</c:v>
                </c:pt>
                <c:pt idx="4">
                  <c:v>-0.32599338117209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
          <c:min val="16.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B$2:$B$17</c:f>
              <c:numCache>
                <c:formatCode>General</c:formatCode>
                <c:ptCount val="16"/>
                <c:pt idx="0">
                  <c:v>150.5736810807042</c:v>
                </c:pt>
                <c:pt idx="1">
                  <c:v>141.09145202538429</c:v>
                </c:pt>
                <c:pt idx="2">
                  <c:v>132.63798630982319</c:v>
                </c:pt>
                <c:pt idx="3">
                  <c:v>125.06280252447873</c:v>
                </c:pt>
                <c:pt idx="4">
                  <c:v>118.2397312246032</c:v>
                </c:pt>
                <c:pt idx="5">
                  <c:v>112.06343561533841</c:v>
                </c:pt>
                <c:pt idx="6">
                  <c:v>106.63705713389693</c:v>
                </c:pt>
                <c:pt idx="7">
                  <c:v>103.24422770832267</c:v>
                </c:pt>
                <c:pt idx="8">
                  <c:v>100</c:v>
                </c:pt>
                <c:pt idx="9">
                  <c:v>96.895908987451605</c:v>
                </c:pt>
                <c:pt idx="10">
                  <c:v>93.924061683081234</c:v>
                </c:pt>
                <c:pt idx="11">
                  <c:v>91.077097206370581</c:v>
                </c:pt>
                <c:pt idx="12">
                  <c:v>88.348149093640245</c:v>
                </c:pt>
                <c:pt idx="13">
                  <c:v>85.730809856081862</c:v>
                </c:pt>
                <c:pt idx="14">
                  <c:v>83.219097763320391</c:v>
                </c:pt>
                <c:pt idx="15">
                  <c:v>80.8074258031444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C$2:$C$17</c:f>
              <c:numCache>
                <c:formatCode>General</c:formatCode>
                <c:ptCount val="16"/>
                <c:pt idx="0">
                  <c:v>121.93718207917831</c:v>
                </c:pt>
                <c:pt idx="1">
                  <c:v>117.6130074269583</c:v>
                </c:pt>
                <c:pt idx="2">
                  <c:v>113.71997022653133</c:v>
                </c:pt>
                <c:pt idx="3">
                  <c:v>110.19885629357837</c:v>
                </c:pt>
                <c:pt idx="4">
                  <c:v>106.9981449215379</c:v>
                </c:pt>
                <c:pt idx="5">
                  <c:v>104.0736642294795</c:v>
                </c:pt>
                <c:pt idx="6">
                  <c:v>101.5695923363413</c:v>
                </c:pt>
                <c:pt idx="7">
                  <c:v>100.79105905732075</c:v>
                </c:pt>
                <c:pt idx="8">
                  <c:v>100</c:v>
                </c:pt>
                <c:pt idx="9">
                  <c:v>99.198334955730814</c:v>
                </c:pt>
                <c:pt idx="10">
                  <c:v>98.387778494592183</c:v>
                </c:pt>
                <c:pt idx="11">
                  <c:v>97.569865200062964</c:v>
                </c:pt>
                <c:pt idx="12">
                  <c:v>96.745971647380486</c:v>
                </c:pt>
                <c:pt idx="13">
                  <c:v>95.917335513755376</c:v>
                </c:pt>
                <c:pt idx="14">
                  <c:v>95.085072170799251</c:v>
                </c:pt>
                <c:pt idx="15">
                  <c:v>94.25018907360784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D$2:$D$17</c:f>
              <c:numCache>
                <c:formatCode>General</c:formatCode>
                <c:ptCount val="16"/>
                <c:pt idx="0">
                  <c:v>92.736744347891729</c:v>
                </c:pt>
                <c:pt idx="1">
                  <c:v>93.671078424607558</c:v>
                </c:pt>
                <c:pt idx="2">
                  <c:v>94.427250704289889</c:v>
                </c:pt>
                <c:pt idx="3">
                  <c:v>95.039090273930952</c:v>
                </c:pt>
                <c:pt idx="4">
                  <c:v>95.531168197321009</c:v>
                </c:pt>
                <c:pt idx="5">
                  <c:v>95.921655916786563</c:v>
                </c:pt>
                <c:pt idx="6">
                  <c:v>96.396952949419941</c:v>
                </c:pt>
                <c:pt idx="7">
                  <c:v>98.287078305504863</c:v>
                </c:pt>
                <c:pt idx="8">
                  <c:v>100</c:v>
                </c:pt>
                <c:pt idx="9">
                  <c:v>101.5482513801868</c:v>
                </c:pt>
                <c:pt idx="10">
                  <c:v>102.94336700633615</c:v>
                </c:pt>
                <c:pt idx="11">
                  <c:v>104.19597430143969</c:v>
                </c:pt>
                <c:pt idx="12">
                  <c:v>105.31587636481991</c:v>
                </c:pt>
                <c:pt idx="13">
                  <c:v>106.31212671583812</c:v>
                </c:pt>
                <c:pt idx="14">
                  <c:v>107.19309669404564</c:v>
                </c:pt>
                <c:pt idx="15">
                  <c:v>107.966536197817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E$2:$E$17</c:f>
              <c:numCache>
                <c:formatCode>General</c:formatCode>
                <c:ptCount val="16"/>
                <c:pt idx="0">
                  <c:v>0.37727465642935282</c:v>
                </c:pt>
                <c:pt idx="1">
                  <c:v>0.39506680910279995</c:v>
                </c:pt>
                <c:pt idx="2">
                  <c:v>0.41187050884994431</c:v>
                </c:pt>
                <c:pt idx="3">
                  <c:v>0.42776590050264862</c:v>
                </c:pt>
                <c:pt idx="4">
                  <c:v>0.44282469259468427</c:v>
                </c:pt>
                <c:pt idx="5">
                  <c:v>0.45711123893841016</c:v>
                </c:pt>
                <c:pt idx="6">
                  <c:v>0.47068345796495004</c:v>
                </c:pt>
                <c:pt idx="7">
                  <c:v>0.48359361752678037</c:v>
                </c:pt>
                <c:pt idx="8">
                  <c:v>0.49588900758566662</c:v>
                </c:pt>
                <c:pt idx="9">
                  <c:v>0.50761251903716287</c:v>
                </c:pt>
                <c:pt idx="10">
                  <c:v>0.51880314360449997</c:v>
                </c:pt>
                <c:pt idx="11">
                  <c:v>0.5294964070799556</c:v>
                </c:pt>
                <c:pt idx="12">
                  <c:v>0.53972474605647824</c:v>
                </c:pt>
                <c:pt idx="13">
                  <c:v>0.5495178365659148</c:v>
                </c:pt>
                <c:pt idx="14">
                  <c:v>0.55890288163745827</c:v>
                </c:pt>
                <c:pt idx="15">
                  <c:v>0.5679048636448571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Heidsieck Monopole Silver Top 750ml (4.2%)</c:v>
                </c:pt>
                <c:pt idx="4">
                  <c:v>Prosecco Bottega 750ml (2.6%)</c:v>
                </c:pt>
                <c:pt idx="5">
                  <c:v>Crémant Saumur Bouvet Cuvée Saphir Brut 750ml (1.5%)</c:v>
                </c:pt>
                <c:pt idx="6">
                  <c:v>Champagne Malard Brut 1er Cru 750ml (4.1%)</c:v>
                </c:pt>
                <c:pt idx="7">
                  <c:v>Champagne Nicolas Feuillatte Réserve Exclusive Brut 750ml (3.0%)</c:v>
                </c:pt>
                <c:pt idx="8">
                  <c:v>Champagne Canard-Duchêne Blanc Cuvée Léonie Brut 750ml (2.6%)</c:v>
                </c:pt>
                <c:pt idx="9">
                  <c:v>Crémant d'Alsace Muré Prestige Bio 750ml (1.3%)</c:v>
                </c:pt>
              </c:strCache>
            </c:strRef>
          </c:cat>
          <c:val>
            <c:numRef>
              <c:f>Sheet1!$B$2:$B$11</c:f>
              <c:numCache>
                <c:formatCode>General</c:formatCode>
                <c:ptCount val="10"/>
                <c:pt idx="0">
                  <c:v>0.17305159621641064</c:v>
                </c:pt>
                <c:pt idx="1">
                  <c:v>0.12907015378975542</c:v>
                </c:pt>
                <c:pt idx="2">
                  <c:v>4.9817363806664419E-2</c:v>
                </c:pt>
                <c:pt idx="3">
                  <c:v>4.8706785643073368E-2</c:v>
                </c:pt>
                <c:pt idx="4">
                  <c:v>3.8644889673896829E-2</c:v>
                </c:pt>
                <c:pt idx="5">
                  <c:v>3.3748354095612325E-2</c:v>
                </c:pt>
                <c:pt idx="6">
                  <c:v>2.847886094633199E-2</c:v>
                </c:pt>
                <c:pt idx="7">
                  <c:v>2.4729402052677263E-2</c:v>
                </c:pt>
                <c:pt idx="8">
                  <c:v>2.4500551430182683E-2</c:v>
                </c:pt>
                <c:pt idx="9">
                  <c:v>2.30259739967540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Saumur Bouvet Cuvée Saphir Brut 750ml (1.5%)</c:v>
                </c:pt>
                <c:pt idx="3">
                  <c:v>Prosecco Savian Extra Dry Bio 750ml (2.1%)</c:v>
                </c:pt>
                <c:pt idx="4">
                  <c:v>Prosecco Bottega 750ml (2.6%)</c:v>
                </c:pt>
                <c:pt idx="5">
                  <c:v>Champagne Heidsieck Monopole Silver Top 750ml (4.2%)</c:v>
                </c:pt>
                <c:pt idx="6">
                  <c:v>Crémant d'Alsace Muré Prestige Bio 750ml (1.3%)</c:v>
                </c:pt>
                <c:pt idx="7">
                  <c:v>Crémant de Bourgogne Patriarche Brut 750ml (1.8%)</c:v>
                </c:pt>
                <c:pt idx="8">
                  <c:v>Champagne Nicolas Feuillatte Réserve Exclusive Brut 750ml (3.0%)</c:v>
                </c:pt>
                <c:pt idx="9">
                  <c:v>Champagne Ruinart Brut 750ml (7.3%)</c:v>
                </c:pt>
              </c:strCache>
            </c:strRef>
          </c:cat>
          <c:val>
            <c:numRef>
              <c:f>Sheet1!$B$2:$B$11</c:f>
              <c:numCache>
                <c:formatCode>General</c:formatCode>
                <c:ptCount val="10"/>
                <c:pt idx="0">
                  <c:v>0.19199937530143682</c:v>
                </c:pt>
                <c:pt idx="1">
                  <c:v>0.10186414144714084</c:v>
                </c:pt>
                <c:pt idx="2">
                  <c:v>3.9150457131772218E-2</c:v>
                </c:pt>
                <c:pt idx="3">
                  <c:v>3.9079330621585737E-2</c:v>
                </c:pt>
                <c:pt idx="4">
                  <c:v>3.7560977114345265E-2</c:v>
                </c:pt>
                <c:pt idx="5">
                  <c:v>3.5141409723407464E-2</c:v>
                </c:pt>
                <c:pt idx="6">
                  <c:v>2.4871178994684363E-2</c:v>
                </c:pt>
                <c:pt idx="7">
                  <c:v>2.4765291290334512E-2</c:v>
                </c:pt>
                <c:pt idx="8">
                  <c:v>2.4523558000238158E-2</c:v>
                </c:pt>
                <c:pt idx="9">
                  <c:v>2.426045967662463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B$2:$B$31</c:f>
              <c:numCache>
                <c:formatCode>General</c:formatCode>
                <c:ptCount val="30"/>
                <c:pt idx="0">
                  <c:v>194.72749631428573</c:v>
                </c:pt>
                <c:pt idx="1">
                  <c:v>187.03048108225826</c:v>
                </c:pt>
                <c:pt idx="2">
                  <c:v>179.76401817279807</c:v>
                </c:pt>
                <c:pt idx="3">
                  <c:v>172.90040963366894</c:v>
                </c:pt>
                <c:pt idx="4">
                  <c:v>165.63128121434835</c:v>
                </c:pt>
                <c:pt idx="5">
                  <c:v>158.13170039986332</c:v>
                </c:pt>
                <c:pt idx="6">
                  <c:v>151.21312638072499</c:v>
                </c:pt>
                <c:pt idx="7">
                  <c:v>144.83245629418596</c:v>
                </c:pt>
                <c:pt idx="8">
                  <c:v>138.94407668419052</c:v>
                </c:pt>
                <c:pt idx="9">
                  <c:v>133.50191256966758</c:v>
                </c:pt>
                <c:pt idx="10">
                  <c:v>128.46137812090049</c:v>
                </c:pt>
                <c:pt idx="11">
                  <c:v>123.78080287586215</c:v>
                </c:pt>
                <c:pt idx="12">
                  <c:v>119.42224301035449</c:v>
                </c:pt>
                <c:pt idx="13">
                  <c:v>115.35177927558264</c:v>
                </c:pt>
                <c:pt idx="14">
                  <c:v>110.53860881660135</c:v>
                </c:pt>
                <c:pt idx="15">
                  <c:v>105.0818348331733</c:v>
                </c:pt>
                <c:pt idx="16">
                  <c:v>100</c:v>
                </c:pt>
                <c:pt idx="17">
                  <c:v>95.268947835096512</c:v>
                </c:pt>
                <c:pt idx="18">
                  <c:v>90.864862022976723</c:v>
                </c:pt>
                <c:pt idx="19">
                  <c:v>86.764735212886862</c:v>
                </c:pt>
                <c:pt idx="20">
                  <c:v>82.946636781493424</c:v>
                </c:pt>
                <c:pt idx="21">
                  <c:v>79.389824718189956</c:v>
                </c:pt>
                <c:pt idx="22">
                  <c:v>76.074758534756867</c:v>
                </c:pt>
                <c:pt idx="23">
                  <c:v>72.98306505792533</c:v>
                </c:pt>
                <c:pt idx="24">
                  <c:v>68.829102203578472</c:v>
                </c:pt>
                <c:pt idx="25">
                  <c:v>63.884177505290765</c:v>
                </c:pt>
                <c:pt idx="26">
                  <c:v>59.454997261109533</c:v>
                </c:pt>
                <c:pt idx="27">
                  <c:v>55.481049871263963</c:v>
                </c:pt>
                <c:pt idx="28">
                  <c:v>51.907994078176458</c:v>
                </c:pt>
                <c:pt idx="29">
                  <c:v>48.6875339191237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C$2:$C$31</c:f>
              <c:numCache>
                <c:formatCode>General</c:formatCode>
                <c:ptCount val="30"/>
                <c:pt idx="0">
                  <c:v>153.0208453309086</c:v>
                </c:pt>
                <c:pt idx="1">
                  <c:v>149.44859606712004</c:v>
                </c:pt>
                <c:pt idx="2">
                  <c:v>146.02572809769347</c:v>
                </c:pt>
                <c:pt idx="3">
                  <c:v>142.74592197904326</c:v>
                </c:pt>
                <c:pt idx="4">
                  <c:v>138.94874300983352</c:v>
                </c:pt>
                <c:pt idx="5">
                  <c:v>134.76705256234263</c:v>
                </c:pt>
                <c:pt idx="6">
                  <c:v>130.89119969537356</c:v>
                </c:pt>
                <c:pt idx="7">
                  <c:v>127.30586136398345</c:v>
                </c:pt>
                <c:pt idx="8">
                  <c:v>123.99130681846742</c:v>
                </c:pt>
                <c:pt idx="9">
                  <c:v>120.92507096220204</c:v>
                </c:pt>
                <c:pt idx="10">
                  <c:v>118.08369768586182</c:v>
                </c:pt>
                <c:pt idx="11">
                  <c:v>115.44414972167314</c:v>
                </c:pt>
                <c:pt idx="12">
                  <c:v>112.98475273252694</c:v>
                </c:pt>
                <c:pt idx="13">
                  <c:v>110.68571479334884</c:v>
                </c:pt>
                <c:pt idx="14">
                  <c:v>107.55561005975764</c:v>
                </c:pt>
                <c:pt idx="15">
                  <c:v>103.66295909988222</c:v>
                </c:pt>
                <c:pt idx="16">
                  <c:v>100</c:v>
                </c:pt>
                <c:pt idx="17">
                  <c:v>96.556986361505338</c:v>
                </c:pt>
                <c:pt idx="18">
                  <c:v>93.323296140085645</c:v>
                </c:pt>
                <c:pt idx="19">
                  <c:v>90.287930283406098</c:v>
                </c:pt>
                <c:pt idx="20">
                  <c:v>87.439838676677283</c:v>
                </c:pt>
                <c:pt idx="21">
                  <c:v>84.768102836975913</c:v>
                </c:pt>
                <c:pt idx="22">
                  <c:v>82.262022120032825</c:v>
                </c:pt>
                <c:pt idx="23">
                  <c:v>79.911150682097627</c:v>
                </c:pt>
                <c:pt idx="24">
                  <c:v>76.301918385789619</c:v>
                </c:pt>
                <c:pt idx="25">
                  <c:v>71.694858949151723</c:v>
                </c:pt>
                <c:pt idx="26">
                  <c:v>67.538833921673302</c:v>
                </c:pt>
                <c:pt idx="27">
                  <c:v>63.785250796336065</c:v>
                </c:pt>
                <c:pt idx="28">
                  <c:v>60.389445756866834</c:v>
                </c:pt>
                <c:pt idx="29">
                  <c:v>57.31094019936718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D$2:$D$31</c:f>
              <c:numCache>
                <c:formatCode>General</c:formatCode>
                <c:ptCount val="30"/>
                <c:pt idx="0">
                  <c:v>107.56417795403372</c:v>
                </c:pt>
                <c:pt idx="1">
                  <c:v>108.54485209011881</c:v>
                </c:pt>
                <c:pt idx="2">
                  <c:v>109.35678210187612</c:v>
                </c:pt>
                <c:pt idx="3">
                  <c:v>110.01847893822134</c:v>
                </c:pt>
                <c:pt idx="4">
                  <c:v>110.02676066065466</c:v>
                </c:pt>
                <c:pt idx="5">
                  <c:v>109.46878553725546</c:v>
                </c:pt>
                <c:pt idx="6">
                  <c:v>108.90965703111542</c:v>
                </c:pt>
                <c:pt idx="7">
                  <c:v>108.36588774894568</c:v>
                </c:pt>
                <c:pt idx="8">
                  <c:v>107.84721820368918</c:v>
                </c:pt>
                <c:pt idx="9">
                  <c:v>107.35791342636598</c:v>
                </c:pt>
                <c:pt idx="10">
                  <c:v>106.89832165080225</c:v>
                </c:pt>
                <c:pt idx="11">
                  <c:v>106.4663093333341</c:v>
                </c:pt>
                <c:pt idx="12">
                  <c:v>106.05838944084287</c:v>
                </c:pt>
                <c:pt idx="13">
                  <c:v>105.67051566612346</c:v>
                </c:pt>
                <c:pt idx="14">
                  <c:v>104.35374013232077</c:v>
                </c:pt>
                <c:pt idx="15">
                  <c:v>102.1420595071388</c:v>
                </c:pt>
                <c:pt idx="16">
                  <c:v>100</c:v>
                </c:pt>
                <c:pt idx="17">
                  <c:v>97.934197282134789</c:v>
                </c:pt>
                <c:pt idx="18">
                  <c:v>95.948943011907971</c:v>
                </c:pt>
                <c:pt idx="19">
                  <c:v>94.046740561014843</c:v>
                </c:pt>
                <c:pt idx="20">
                  <c:v>92.228715899160235</c:v>
                </c:pt>
                <c:pt idx="21">
                  <c:v>90.494895742847106</c:v>
                </c:pt>
                <c:pt idx="22">
                  <c:v>88.844388895488251</c:v>
                </c:pt>
                <c:pt idx="23">
                  <c:v>87.27551341033525</c:v>
                </c:pt>
                <c:pt idx="24">
                  <c:v>84.233636903028341</c:v>
                </c:pt>
                <c:pt idx="25">
                  <c:v>79.96922361692333</c:v>
                </c:pt>
                <c:pt idx="26">
                  <c:v>76.088160760314011</c:v>
                </c:pt>
                <c:pt idx="27">
                  <c:v>72.554600585929848</c:v>
                </c:pt>
                <c:pt idx="28">
                  <c:v>69.334165647094608</c:v>
                </c:pt>
                <c:pt idx="29">
                  <c:v>66.39464138128212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E$2:$E$31</c:f>
              <c:numCache>
                <c:formatCode>General</c:formatCode>
                <c:ptCount val="30"/>
                <c:pt idx="0">
                  <c:v>0.35008603374154068</c:v>
                </c:pt>
                <c:pt idx="1">
                  <c:v>0.36140857670771598</c:v>
                </c:pt>
                <c:pt idx="2">
                  <c:v>0.37234336135313184</c:v>
                </c:pt>
                <c:pt idx="3">
                  <c:v>0.38290997143136191</c:v>
                </c:pt>
                <c:pt idx="4">
                  <c:v>0.39312669375865716</c:v>
                </c:pt>
                <c:pt idx="5">
                  <c:v>0.40301062382773445</c:v>
                </c:pt>
                <c:pt idx="6">
                  <c:v>0.41257776126639267</c:v>
                </c:pt>
                <c:pt idx="7">
                  <c:v>0.42184309626219091</c:v>
                </c:pt>
                <c:pt idx="8">
                  <c:v>0.43082068793513822</c:v>
                </c:pt>
                <c:pt idx="9">
                  <c:v>0.43952373552022778</c:v>
                </c:pt>
                <c:pt idx="10">
                  <c:v>0.44796464311781464</c:v>
                </c:pt>
                <c:pt idx="11">
                  <c:v>0.45615507867986493</c:v>
                </c:pt>
                <c:pt idx="12">
                  <c:v>0.46410602782197224</c:v>
                </c:pt>
                <c:pt idx="13">
                  <c:v>0.47182784298303881</c:v>
                </c:pt>
                <c:pt idx="14">
                  <c:v>0.47933028839521175</c:v>
                </c:pt>
                <c:pt idx="15">
                  <c:v>0.48662258127483043</c:v>
                </c:pt>
                <c:pt idx="16">
                  <c:v>0.49371342959976372</c:v>
                </c:pt>
                <c:pt idx="17">
                  <c:v>0.50061106679867706</c:v>
                </c:pt>
                <c:pt idx="18">
                  <c:v>0.5073232836427809</c:v>
                </c:pt>
                <c:pt idx="19">
                  <c:v>0.51385745759977319</c:v>
                </c:pt>
                <c:pt idx="20">
                  <c:v>0.52022057988249859</c:v>
                </c:pt>
                <c:pt idx="21">
                  <c:v>0.52641928040081265</c:v>
                </c:pt>
                <c:pt idx="22">
                  <c:v>0.53245985080386349</c:v>
                </c:pt>
                <c:pt idx="23">
                  <c:v>0.53834826578114481</c:v>
                </c:pt>
                <c:pt idx="24">
                  <c:v>0.54409020277391651</c:v>
                </c:pt>
                <c:pt idx="25">
                  <c:v>0.54969106023369652</c:v>
                </c:pt>
                <c:pt idx="26">
                  <c:v>0.55515597455124877</c:v>
                </c:pt>
                <c:pt idx="27">
                  <c:v>0.56048983576766065</c:v>
                </c:pt>
                <c:pt idx="28">
                  <c:v>0.56569730216851777</c:v>
                </c:pt>
                <c:pt idx="29">
                  <c:v>0.5707828138527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Nicolas Feuillatte Réserve Exclusive Brut 750ml (3.0%)</c:v>
                </c:pt>
                <c:pt idx="4">
                  <c:v>Champagne Vranken Demoiselle Tête de Cuvée 750ml (1.4%)</c:v>
                </c:pt>
                <c:pt idx="5">
                  <c:v>Champagne Ayala Brut Majeur 750ml (1.7%)</c:v>
                </c:pt>
                <c:pt idx="6">
                  <c:v>Champagne Château de Bligny 750ml (1.3%)</c:v>
                </c:pt>
                <c:pt idx="7">
                  <c:v>Prosecco Carlo V Cuvée Del Imperator 750ml (5.4%)</c:v>
                </c:pt>
                <c:pt idx="8">
                  <c:v>Champagne Ruinart Brut 750ml (7.3%)</c:v>
                </c:pt>
                <c:pt idx="9">
                  <c:v>Champagne Besserat de Bellefon Bleu Brut 750ml (1.7%)</c:v>
                </c:pt>
              </c:strCache>
            </c:strRef>
          </c:cat>
          <c:val>
            <c:numRef>
              <c:f>Sheet1!$B$2:$B$11</c:f>
              <c:numCache>
                <c:formatCode>General</c:formatCode>
                <c:ptCount val="10"/>
                <c:pt idx="0">
                  <c:v>0.14672492360422565</c:v>
                </c:pt>
                <c:pt idx="1">
                  <c:v>0.14244905923811876</c:v>
                </c:pt>
                <c:pt idx="2">
                  <c:v>0.12551356266920644</c:v>
                </c:pt>
                <c:pt idx="3">
                  <c:v>8.1773095051515143E-2</c:v>
                </c:pt>
                <c:pt idx="4">
                  <c:v>3.2110991692687843E-2</c:v>
                </c:pt>
                <c:pt idx="5">
                  <c:v>2.5370812770638244E-2</c:v>
                </c:pt>
                <c:pt idx="6">
                  <c:v>2.4995653472807786E-2</c:v>
                </c:pt>
                <c:pt idx="7">
                  <c:v>2.3373068819973784E-2</c:v>
                </c:pt>
                <c:pt idx="8">
                  <c:v>2.1988206557473359E-2</c:v>
                </c:pt>
                <c:pt idx="9">
                  <c:v>1.956477612245223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E.Nicolas Brut 750ml (11.6%)</c:v>
                </c:pt>
                <c:pt idx="4">
                  <c:v>Champagne Vranken Demoiselle Tête de Cuvée 750ml (1.4%)</c:v>
                </c:pt>
                <c:pt idx="5">
                  <c:v>Champagne Ayala Brut Majeur 750ml (1.7%)</c:v>
                </c:pt>
                <c:pt idx="6">
                  <c:v>Champagne Château de Bligny 750ml (1.3%)</c:v>
                </c:pt>
                <c:pt idx="7">
                  <c:v>Champagne Ruinart Brut 750ml (7.3%)</c:v>
                </c:pt>
                <c:pt idx="8">
                  <c:v>Champagne Besserat de Bellefon Bleu Brut 750ml (1.7%)</c:v>
                </c:pt>
                <c:pt idx="9">
                  <c:v>Champagne Deutz Brut Classique 750ml (3.4%)</c:v>
                </c:pt>
              </c:strCache>
            </c:strRef>
          </c:cat>
          <c:val>
            <c:numRef>
              <c:f>Sheet1!$B$2:$B$11</c:f>
              <c:numCache>
                <c:formatCode>General</c:formatCode>
                <c:ptCount val="10"/>
                <c:pt idx="0">
                  <c:v>0.17050235393564525</c:v>
                </c:pt>
                <c:pt idx="1">
                  <c:v>0.13078638778736607</c:v>
                </c:pt>
                <c:pt idx="2">
                  <c:v>9.1087503889527202E-2</c:v>
                </c:pt>
                <c:pt idx="3">
                  <c:v>7.6060439717366563E-2</c:v>
                </c:pt>
                <c:pt idx="4">
                  <c:v>4.1637744559194126E-2</c:v>
                </c:pt>
                <c:pt idx="5">
                  <c:v>3.2680520177247652E-2</c:v>
                </c:pt>
                <c:pt idx="6">
                  <c:v>2.8653790057525018E-2</c:v>
                </c:pt>
                <c:pt idx="7">
                  <c:v>2.5297332271120097E-2</c:v>
                </c:pt>
                <c:pt idx="8">
                  <c:v>2.2727360719019551E-2</c:v>
                </c:pt>
                <c:pt idx="9">
                  <c:v>2.198098227077504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B$2:$B$62</c:f>
              <c:numCache>
                <c:formatCode>General</c:formatCode>
                <c:ptCount val="61"/>
                <c:pt idx="0">
                  <c:v>172.76644022729073</c:v>
                </c:pt>
                <c:pt idx="1">
                  <c:v>170.63598976081315</c:v>
                </c:pt>
                <c:pt idx="2">
                  <c:v>168.55320383947966</c:v>
                </c:pt>
                <c:pt idx="3">
                  <c:v>166.51638776802025</c:v>
                </c:pt>
                <c:pt idx="4">
                  <c:v>164.5239389782565</c:v>
                </c:pt>
                <c:pt idx="5">
                  <c:v>162.57433983357703</c:v>
                </c:pt>
                <c:pt idx="6">
                  <c:v>160.66615115684974</c:v>
                </c:pt>
                <c:pt idx="7">
                  <c:v>158.79800639761496</c:v>
                </c:pt>
                <c:pt idx="8">
                  <c:v>156.96860636484104</c:v>
                </c:pt>
                <c:pt idx="9">
                  <c:v>153.99269450271785</c:v>
                </c:pt>
                <c:pt idx="10">
                  <c:v>151.11790356298152</c:v>
                </c:pt>
                <c:pt idx="11">
                  <c:v>148.33930903530904</c:v>
                </c:pt>
                <c:pt idx="12">
                  <c:v>145.65228988041551</c:v>
                </c:pt>
                <c:pt idx="13">
                  <c:v>143.05250670960658</c:v>
                </c:pt>
                <c:pt idx="14">
                  <c:v>140.5358816811025</c:v>
                </c:pt>
                <c:pt idx="15">
                  <c:v>138.09857997290038</c:v>
                </c:pt>
                <c:pt idx="16">
                  <c:v>135.73699270320233</c:v>
                </c:pt>
                <c:pt idx="17">
                  <c:v>133.44772117995046</c:v>
                </c:pt>
                <c:pt idx="18">
                  <c:v>131.227562370659</c:v>
                </c:pt>
                <c:pt idx="19">
                  <c:v>129.07349549272899</c:v>
                </c:pt>
                <c:pt idx="20">
                  <c:v>126.98266963265401</c:v>
                </c:pt>
                <c:pt idx="21">
                  <c:v>124.95239231014668</c:v>
                </c:pt>
                <c:pt idx="22">
                  <c:v>122.98011891018396</c:v>
                </c:pt>
                <c:pt idx="23">
                  <c:v>121.06344291241003</c:v>
                </c:pt>
                <c:pt idx="24">
                  <c:v>119.20008685321652</c:v>
                </c:pt>
                <c:pt idx="25">
                  <c:v>117.38789396123718</c:v>
                </c:pt>
                <c:pt idx="26">
                  <c:v>115.62482041194733</c:v>
                </c:pt>
                <c:pt idx="27">
                  <c:v>113.90892815161655</c:v>
                </c:pt>
                <c:pt idx="28">
                  <c:v>112.23837824501661</c:v>
                </c:pt>
                <c:pt idx="29">
                  <c:v>109.9803906718809</c:v>
                </c:pt>
                <c:pt idx="30">
                  <c:v>107.81716999280624</c:v>
                </c:pt>
                <c:pt idx="31">
                  <c:v>105.7427716884155</c:v>
                </c:pt>
                <c:pt idx="32">
                  <c:v>103.75173197806629</c:v>
                </c:pt>
                <c:pt idx="33">
                  <c:v>101.83902077919291</c:v>
                </c:pt>
                <c:pt idx="34">
                  <c:v>100</c:v>
                </c:pt>
                <c:pt idx="35">
                  <c:v>98.230386492032082</c:v>
                </c:pt>
                <c:pt idx="36">
                  <c:v>96.526219080685479</c:v>
                </c:pt>
                <c:pt idx="37">
                  <c:v>94.883829170273458</c:v>
                </c:pt>
                <c:pt idx="38">
                  <c:v>93.299814487647879</c:v>
                </c:pt>
                <c:pt idx="39">
                  <c:v>91.77101558627399</c:v>
                </c:pt>
                <c:pt idx="40">
                  <c:v>90.294494782398559</c:v>
                </c:pt>
                <c:pt idx="41">
                  <c:v>89.349256670042507</c:v>
                </c:pt>
                <c:pt idx="42">
                  <c:v>88.41957109247322</c:v>
                </c:pt>
                <c:pt idx="43">
                  <c:v>87.505086958139174</c:v>
                </c:pt>
                <c:pt idx="44">
                  <c:v>86.605463017280783</c:v>
                </c:pt>
                <c:pt idx="45">
                  <c:v>85.720367522630497</c:v>
                </c:pt>
                <c:pt idx="46">
                  <c:v>84.84947790480669</c:v>
                </c:pt>
                <c:pt idx="47">
                  <c:v>83.992480461601431</c:v>
                </c:pt>
                <c:pt idx="48">
                  <c:v>83.149070060432237</c:v>
                </c:pt>
                <c:pt idx="49">
                  <c:v>82.473893222743641</c:v>
                </c:pt>
                <c:pt idx="50">
                  <c:v>81.807927916819892</c:v>
                </c:pt>
                <c:pt idx="51">
                  <c:v>81.150977569402457</c:v>
                </c:pt>
                <c:pt idx="52">
                  <c:v>80.502851315706479</c:v>
                </c:pt>
                <c:pt idx="53">
                  <c:v>79.863363795693658</c:v>
                </c:pt>
                <c:pt idx="54">
                  <c:v>79.232334958807371</c:v>
                </c:pt>
                <c:pt idx="55">
                  <c:v>78.609589876779921</c:v>
                </c:pt>
                <c:pt idx="56">
                  <c:v>77.994958564146287</c:v>
                </c:pt>
                <c:pt idx="57">
                  <c:v>77.388275806113541</c:v>
                </c:pt>
                <c:pt idx="58">
                  <c:v>76.789380993447864</c:v>
                </c:pt>
                <c:pt idx="59">
                  <c:v>76.198117964063627</c:v>
                </c:pt>
                <c:pt idx="60">
                  <c:v>75.6143348510100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C$2:$C$62</c:f>
              <c:numCache>
                <c:formatCode>General</c:formatCode>
                <c:ptCount val="61"/>
                <c:pt idx="0">
                  <c:v>132.08789910655182</c:v>
                </c:pt>
                <c:pt idx="1">
                  <c:v>131.64079801889278</c:v>
                </c:pt>
                <c:pt idx="2">
                  <c:v>131.20131045582065</c:v>
                </c:pt>
                <c:pt idx="3">
                  <c:v>130.76909436652656</c:v>
                </c:pt>
                <c:pt idx="4">
                  <c:v>130.34383386329498</c:v>
                </c:pt>
                <c:pt idx="5">
                  <c:v>129.92523664858496</c:v>
                </c:pt>
                <c:pt idx="6">
                  <c:v>129.51303172780521</c:v>
                </c:pt>
                <c:pt idx="7">
                  <c:v>129.10696737422842</c:v>
                </c:pt>
                <c:pt idx="8">
                  <c:v>128.70680931641385</c:v>
                </c:pt>
                <c:pt idx="9">
                  <c:v>127.33233568600753</c:v>
                </c:pt>
                <c:pt idx="10">
                  <c:v>126.00106433932699</c:v>
                </c:pt>
                <c:pt idx="11">
                  <c:v>124.71094669751386</c:v>
                </c:pt>
                <c:pt idx="12">
                  <c:v>123.46005586379376</c:v>
                </c:pt>
                <c:pt idx="13">
                  <c:v>122.24657839772387</c:v>
                </c:pt>
                <c:pt idx="14">
                  <c:v>121.06880667120703</c:v>
                </c:pt>
                <c:pt idx="15">
                  <c:v>119.92513176662342</c:v>
                </c:pt>
                <c:pt idx="16">
                  <c:v>118.81403687964436</c:v>
                </c:pt>
                <c:pt idx="17">
                  <c:v>117.73409119154464</c:v>
                </c:pt>
                <c:pt idx="18">
                  <c:v>116.68394417794441</c:v>
                </c:pt>
                <c:pt idx="19">
                  <c:v>115.662320323036</c:v>
                </c:pt>
                <c:pt idx="20">
                  <c:v>114.66801421032424</c:v>
                </c:pt>
                <c:pt idx="21">
                  <c:v>113.69988596283666</c:v>
                </c:pt>
                <c:pt idx="22">
                  <c:v>112.75685700755854</c:v>
                </c:pt>
                <c:pt idx="23">
                  <c:v>111.83790614058535</c:v>
                </c:pt>
                <c:pt idx="24">
                  <c:v>110.94206587109203</c:v>
                </c:pt>
                <c:pt idx="25">
                  <c:v>110.06841902376021</c:v>
                </c:pt>
                <c:pt idx="26">
                  <c:v>109.21609558073165</c:v>
                </c:pt>
                <c:pt idx="27">
                  <c:v>108.38426974551896</c:v>
                </c:pt>
                <c:pt idx="28">
                  <c:v>107.57215721255355</c:v>
                </c:pt>
                <c:pt idx="29">
                  <c:v>106.17003452595992</c:v>
                </c:pt>
                <c:pt idx="30">
                  <c:v>104.82879155076728</c:v>
                </c:pt>
                <c:pt idx="31">
                  <c:v>103.54457406546254</c:v>
                </c:pt>
                <c:pt idx="32">
                  <c:v>102.31383750724392</c:v>
                </c:pt>
                <c:pt idx="33">
                  <c:v>101.13331687246281</c:v>
                </c:pt>
                <c:pt idx="34">
                  <c:v>100</c:v>
                </c:pt>
                <c:pt idx="35">
                  <c:v>98.911103817350551</c:v>
                </c:pt>
                <c:pt idx="36">
                  <c:v>97.864053184795949</c:v>
                </c:pt>
                <c:pt idx="37">
                  <c:v>96.856462021060693</c:v>
                </c:pt>
                <c:pt idx="38">
                  <c:v>95.886116435291697</c:v>
                </c:pt>
                <c:pt idx="39">
                  <c:v>94.950959625999857</c:v>
                </c:pt>
                <c:pt idx="40">
                  <c:v>94.049078338514803</c:v>
                </c:pt>
                <c:pt idx="41">
                  <c:v>93.683712475228106</c:v>
                </c:pt>
                <c:pt idx="42">
                  <c:v>93.321668019647589</c:v>
                </c:pt>
                <c:pt idx="43">
                  <c:v>92.962894983415254</c:v>
                </c:pt>
                <c:pt idx="44">
                  <c:v>92.607344183651634</c:v>
                </c:pt>
                <c:pt idx="45">
                  <c:v>92.254967218195461</c:v>
                </c:pt>
                <c:pt idx="46">
                  <c:v>91.905716442680315</c:v>
                </c:pt>
                <c:pt idx="47">
                  <c:v>91.559544949289304</c:v>
                </c:pt>
                <c:pt idx="48">
                  <c:v>91.21640654705881</c:v>
                </c:pt>
                <c:pt idx="49">
                  <c:v>91.047349600365777</c:v>
                </c:pt>
                <c:pt idx="50">
                  <c:v>90.87916871668989</c:v>
                </c:pt>
                <c:pt idx="51">
                  <c:v>90.711835621469717</c:v>
                </c:pt>
                <c:pt idx="52">
                  <c:v>90.545323014180752</c:v>
                </c:pt>
                <c:pt idx="53">
                  <c:v>90.379604535444059</c:v>
                </c:pt>
                <c:pt idx="54">
                  <c:v>90.214654735308699</c:v>
                </c:pt>
                <c:pt idx="55">
                  <c:v>90.050449042667864</c:v>
                </c:pt>
                <c:pt idx="56">
                  <c:v>89.886963735781123</c:v>
                </c:pt>
                <c:pt idx="57">
                  <c:v>89.724175913866532</c:v>
                </c:pt>
                <c:pt idx="58">
                  <c:v>89.562063469728528</c:v>
                </c:pt>
                <c:pt idx="59">
                  <c:v>89.40060506338726</c:v>
                </c:pt>
                <c:pt idx="60">
                  <c:v>89.2397800966785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D$2:$D$62</c:f>
              <c:numCache>
                <c:formatCode>General</c:formatCode>
                <c:ptCount val="61"/>
                <c:pt idx="0">
                  <c:v>86.973603428734307</c:v>
                </c:pt>
                <c:pt idx="1">
                  <c:v>88.393300648572065</c:v>
                </c:pt>
                <c:pt idx="2">
                  <c:v>89.776153281036272</c:v>
                </c:pt>
                <c:pt idx="3">
                  <c:v>91.12332240807622</c:v>
                </c:pt>
                <c:pt idx="4">
                  <c:v>92.435921865566812</c:v>
                </c:pt>
                <c:pt idx="5">
                  <c:v>93.715020823244615</c:v>
                </c:pt>
                <c:pt idx="6">
                  <c:v>94.961646161671112</c:v>
                </c:pt>
                <c:pt idx="7">
                  <c:v>96.176784669215536</c:v>
                </c:pt>
                <c:pt idx="8">
                  <c:v>97.361385078691512</c:v>
                </c:pt>
                <c:pt idx="9">
                  <c:v>97.764666403980982</c:v>
                </c:pt>
                <c:pt idx="10">
                  <c:v>98.14669421442963</c:v>
                </c:pt>
                <c:pt idx="11">
                  <c:v>98.508628986247544</c:v>
                </c:pt>
                <c:pt idx="12">
                  <c:v>98.851549458608062</c:v>
                </c:pt>
                <c:pt idx="13">
                  <c:v>99.176459667353853</c:v>
                </c:pt>
                <c:pt idx="14">
                  <c:v>99.484295281820039</c:v>
                </c:pt>
                <c:pt idx="15">
                  <c:v>99.775929318970213</c:v>
                </c:pt>
                <c:pt idx="16">
                  <c:v>100.05217730096471</c:v>
                </c:pt>
                <c:pt idx="17">
                  <c:v>100.3138019151075</c:v>
                </c:pt>
                <c:pt idx="18">
                  <c:v>100.5615172286761</c:v>
                </c:pt>
                <c:pt idx="19">
                  <c:v>100.79599250544564</c:v>
                </c:pt>
                <c:pt idx="20">
                  <c:v>101.01785566560164</c:v>
                </c:pt>
                <c:pt idx="21">
                  <c:v>101.22769642620288</c:v>
                </c:pt>
                <c:pt idx="22">
                  <c:v>101.42606915529781</c:v>
                </c:pt>
                <c:pt idx="23">
                  <c:v>101.61349546920182</c:v>
                </c:pt>
                <c:pt idx="24">
                  <c:v>101.79046659922126</c:v>
                </c:pt>
                <c:pt idx="25">
                  <c:v>101.9574455512608</c:v>
                </c:pt>
                <c:pt idx="26">
                  <c:v>102.11486907919576</c:v>
                </c:pt>
                <c:pt idx="27">
                  <c:v>102.26314949064206</c:v>
                </c:pt>
                <c:pt idx="28">
                  <c:v>102.40267630173085</c:v>
                </c:pt>
                <c:pt idx="29">
                  <c:v>101.94886616745127</c:v>
                </c:pt>
                <c:pt idx="30">
                  <c:v>101.51832899029374</c:v>
                </c:pt>
                <c:pt idx="31">
                  <c:v>101.10953303490548</c:v>
                </c:pt>
                <c:pt idx="32">
                  <c:v>100.72106597417869</c:v>
                </c:pt>
                <c:pt idx="33">
                  <c:v>100.35162364248798</c:v>
                </c:pt>
                <c:pt idx="34">
                  <c:v>100</c:v>
                </c:pt>
                <c:pt idx="35">
                  <c:v>99.665078170013288</c:v>
                </c:pt>
                <c:pt idx="36">
                  <c:v>99.345822426810557</c:v>
                </c:pt>
                <c:pt idx="37">
                  <c:v>99.041271025496798</c:v>
                </c:pt>
                <c:pt idx="38">
                  <c:v>98.750529777808111</c:v>
                </c:pt>
                <c:pt idx="39">
                  <c:v>98.47276628905621</c:v>
                </c:pt>
                <c:pt idx="40">
                  <c:v>98.207204781294877</c:v>
                </c:pt>
                <c:pt idx="41">
                  <c:v>98.484112765930846</c:v>
                </c:pt>
                <c:pt idx="42">
                  <c:v>98.750779375142628</c:v>
                </c:pt>
                <c:pt idx="43">
                  <c:v>99.007488818793789</c:v>
                </c:pt>
                <c:pt idx="44">
                  <c:v>99.254516074674513</c:v>
                </c:pt>
                <c:pt idx="45">
                  <c:v>99.49212721340615</c:v>
                </c:pt>
                <c:pt idx="46">
                  <c:v>99.720579710879676</c:v>
                </c:pt>
                <c:pt idx="47">
                  <c:v>99.940122748781206</c:v>
                </c:pt>
                <c:pt idx="48">
                  <c:v>100.15099750374483</c:v>
                </c:pt>
                <c:pt idx="49">
                  <c:v>100.54232588644558</c:v>
                </c:pt>
                <c:pt idx="50">
                  <c:v>100.92529598453768</c:v>
                </c:pt>
                <c:pt idx="51">
                  <c:v>101.3000660309568</c:v>
                </c:pt>
                <c:pt idx="52">
                  <c:v>101.66678998374643</c:v>
                </c:pt>
                <c:pt idx="53">
                  <c:v>102.0256176826683</c:v>
                </c:pt>
                <c:pt idx="54">
                  <c:v>102.37669499889337</c:v>
                </c:pt>
                <c:pt idx="55">
                  <c:v>102.72016397812949</c:v>
                </c:pt>
                <c:pt idx="56">
                  <c:v>103.05616297752813</c:v>
                </c:pt>
                <c:pt idx="57">
                  <c:v>103.38482679668782</c:v>
                </c:pt>
                <c:pt idx="58">
                  <c:v>103.70628680305217</c:v>
                </c:pt>
                <c:pt idx="59">
                  <c:v>104.02067105198695</c:v>
                </c:pt>
                <c:pt idx="60">
                  <c:v>104.3281044018028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E$2:$E$62</c:f>
              <c:numCache>
                <c:formatCode>General</c:formatCode>
                <c:ptCount val="61"/>
                <c:pt idx="0">
                  <c:v>0.31334492661457336</c:v>
                </c:pt>
                <c:pt idx="1">
                  <c:v>0.3195310083567845</c:v>
                </c:pt>
                <c:pt idx="2">
                  <c:v>0.32560662435359877</c:v>
                </c:pt>
                <c:pt idx="3">
                  <c:v>0.33157470732392103</c:v>
                </c:pt>
                <c:pt idx="4">
                  <c:v>0.33743808708423756</c:v>
                </c:pt>
                <c:pt idx="5">
                  <c:v>0.34319949502263547</c:v>
                </c:pt>
                <c:pt idx="6">
                  <c:v>0.34886156834140575</c:v>
                </c:pt>
                <c:pt idx="7">
                  <c:v>0.35442685408207747</c:v>
                </c:pt>
                <c:pt idx="8">
                  <c:v>0.35989781294578876</c:v>
                </c:pt>
                <c:pt idx="9">
                  <c:v>0.36527682292103419</c:v>
                </c:pt>
                <c:pt idx="10">
                  <c:v>0.37056618273002567</c:v>
                </c:pt>
                <c:pt idx="11">
                  <c:v>0.37576811510415764</c:v>
                </c:pt>
                <c:pt idx="12">
                  <c:v>0.38088476989838593</c:v>
                </c:pt>
                <c:pt idx="13">
                  <c:v>0.38591822705368356</c:v>
                </c:pt>
                <c:pt idx="14">
                  <c:v>0.39087049941615382</c:v>
                </c:pt>
                <c:pt idx="15">
                  <c:v>0.39574353542082458</c:v>
                </c:pt>
                <c:pt idx="16">
                  <c:v>0.4005392216476435</c:v>
                </c:pt>
                <c:pt idx="17">
                  <c:v>0.40525938525671712</c:v>
                </c:pt>
                <c:pt idx="18">
                  <c:v>0.40990579630939905</c:v>
                </c:pt>
                <c:pt idx="19">
                  <c:v>0.41448016998141907</c:v>
                </c:pt>
                <c:pt idx="20">
                  <c:v>0.41898416867386978</c:v>
                </c:pt>
                <c:pt idx="21">
                  <c:v>0.42341940402750433</c:v>
                </c:pt>
                <c:pt idx="22">
                  <c:v>0.42778743884547787</c:v>
                </c:pt>
                <c:pt idx="23">
                  <c:v>0.43208978892934646</c:v>
                </c:pt>
                <c:pt idx="24">
                  <c:v>0.4363279248328587</c:v>
                </c:pt>
                <c:pt idx="25">
                  <c:v>0.44050327353780033</c:v>
                </c:pt>
                <c:pt idx="26">
                  <c:v>0.44461722005590498</c:v>
                </c:pt>
                <c:pt idx="27">
                  <c:v>0.44867110896060636</c:v>
                </c:pt>
                <c:pt idx="28">
                  <c:v>0.45266624585219623</c:v>
                </c:pt>
                <c:pt idx="29">
                  <c:v>0.45660389875973428</c:v>
                </c:pt>
                <c:pt idx="30">
                  <c:v>0.46048529948287908</c:v>
                </c:pt>
                <c:pt idx="31">
                  <c:v>0.46431164487661752</c:v>
                </c:pt>
                <c:pt idx="32">
                  <c:v>0.46808409808171175</c:v>
                </c:pt>
                <c:pt idx="33">
                  <c:v>0.471803789703518</c:v>
                </c:pt>
                <c:pt idx="34">
                  <c:v>0.47547181894168805</c:v>
                </c:pt>
                <c:pt idx="35">
                  <c:v>0.47908925467312469</c:v>
                </c:pt>
                <c:pt idx="36">
                  <c:v>0.48265713649043201</c:v>
                </c:pt>
                <c:pt idx="37">
                  <c:v>0.48617647569798011</c:v>
                </c:pt>
                <c:pt idx="38">
                  <c:v>0.48964825626758834</c:v>
                </c:pt>
                <c:pt idx="39">
                  <c:v>0.49307343575572538</c:v>
                </c:pt>
                <c:pt idx="40">
                  <c:v>0.49645294618402064</c:v>
                </c:pt>
                <c:pt idx="41">
                  <c:v>0.49978769488478852</c:v>
                </c:pt>
                <c:pt idx="42">
                  <c:v>0.50307856531317796</c:v>
                </c:pt>
                <c:pt idx="43">
                  <c:v>0.50632641782747112</c:v>
                </c:pt>
                <c:pt idx="44">
                  <c:v>0.50953209043898107</c:v>
                </c:pt>
                <c:pt idx="45">
                  <c:v>0.51269639953292301</c:v>
                </c:pt>
                <c:pt idx="46">
                  <c:v>0.51582014056155834</c:v>
                </c:pt>
                <c:pt idx="47">
                  <c:v>0.51890408871084759</c:v>
                </c:pt>
                <c:pt idx="48">
                  <c:v>0.52194899954179164</c:v>
                </c:pt>
                <c:pt idx="49">
                  <c:v>0.52495560960756649</c:v>
                </c:pt>
                <c:pt idx="50">
                  <c:v>0.52792463704751924</c:v>
                </c:pt>
                <c:pt idx="51">
                  <c:v>0.53085678215902532</c:v>
                </c:pt>
                <c:pt idx="52">
                  <c:v>0.53375272794816719</c:v>
                </c:pt>
                <c:pt idx="53">
                  <c:v>0.53661314066014154</c:v>
                </c:pt>
                <c:pt idx="54">
                  <c:v>0.53943867029026271</c:v>
                </c:pt>
                <c:pt idx="55">
                  <c:v>0.54222995107638228</c:v>
                </c:pt>
                <c:pt idx="56">
                  <c:v>0.54498760197351259</c:v>
                </c:pt>
                <c:pt idx="57">
                  <c:v>0.54771222711139567</c:v>
                </c:pt>
                <c:pt idx="58">
                  <c:v>0.55040441623573266</c:v>
                </c:pt>
                <c:pt idx="59">
                  <c:v>0.55306474513374593</c:v>
                </c:pt>
                <c:pt idx="60">
                  <c:v>0.5556937760447239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Malard Brut 1er Cru 750ml (4.1%)</c:v>
                </c:pt>
                <c:pt idx="5">
                  <c:v>Champagne Laurent-Perrier Blanc La Cuvée 750ml (2.7%)</c:v>
                </c:pt>
                <c:pt idx="6">
                  <c:v>Champagne Deutz Brut Classique 750ml (3.4%)</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8.060600813739327E-2</c:v>
                </c:pt>
                <c:pt idx="1">
                  <c:v>7.4191630365795513E-2</c:v>
                </c:pt>
                <c:pt idx="2">
                  <c:v>5.6863028479709088E-2</c:v>
                </c:pt>
                <c:pt idx="3">
                  <c:v>4.390228472660989E-2</c:v>
                </c:pt>
                <c:pt idx="4">
                  <c:v>3.4782038370900943E-2</c:v>
                </c:pt>
                <c:pt idx="5">
                  <c:v>3.4675664921987315E-2</c:v>
                </c:pt>
                <c:pt idx="6">
                  <c:v>3.2181113380547709E-2</c:v>
                </c:pt>
                <c:pt idx="7">
                  <c:v>3.0521250679584742E-2</c:v>
                </c:pt>
                <c:pt idx="8">
                  <c:v>2.9120402072672479E-2</c:v>
                </c:pt>
                <c:pt idx="9">
                  <c:v>2.871195550466799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Demoiselle (3.5%)</c:v>
                </c:pt>
                <c:pt idx="5">
                  <c:v>Ruinart (12.8%)</c:v>
                </c:pt>
                <c:pt idx="6">
                  <c:v>Carlo V (5.4%)</c:v>
                </c:pt>
                <c:pt idx="7">
                  <c:v>Deutz (4.8%)</c:v>
                </c:pt>
                <c:pt idx="8">
                  <c:v>De Bligny (1.3%)</c:v>
                </c:pt>
                <c:pt idx="9">
                  <c:v>Ayala (1.7%)</c:v>
                </c:pt>
              </c:strCache>
            </c:strRef>
          </c:cat>
          <c:val>
            <c:numRef>
              <c:f>Sheet1!$B$2:$B$11</c:f>
              <c:numCache>
                <c:formatCode>General</c:formatCode>
                <c:ptCount val="10"/>
                <c:pt idx="0">
                  <c:v>0.16210112624687587</c:v>
                </c:pt>
                <c:pt idx="1">
                  <c:v>0.15159192198262336</c:v>
                </c:pt>
                <c:pt idx="2">
                  <c:v>0.13339054968519512</c:v>
                </c:pt>
                <c:pt idx="3">
                  <c:v>9.2466613196722655E-2</c:v>
                </c:pt>
                <c:pt idx="4">
                  <c:v>4.577851247302734E-2</c:v>
                </c:pt>
                <c:pt idx="5">
                  <c:v>3.846623044382088E-2</c:v>
                </c:pt>
                <c:pt idx="6">
                  <c:v>2.9994876075742468E-2</c:v>
                </c:pt>
                <c:pt idx="7">
                  <c:v>2.7887946708576108E-2</c:v>
                </c:pt>
                <c:pt idx="8">
                  <c:v>2.4282380233766263E-2</c:v>
                </c:pt>
                <c:pt idx="9">
                  <c:v>2.386346358032049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Laurent-Perrier Blanc La Cuvée 750ml (2.7%)</c:v>
                </c:pt>
                <c:pt idx="5">
                  <c:v>Champagne Malard Brut 1er Cru 750ml (4.1%)</c:v>
                </c:pt>
                <c:pt idx="6">
                  <c:v>Champagne Deutz Brut Classique 750ml (3.4%)</c:v>
                </c:pt>
                <c:pt idx="7">
                  <c:v>Champagne Taittinger Prestige Brut 750ml (1.6%)</c:v>
                </c:pt>
                <c:pt idx="8">
                  <c:v>Champagne Nicolas Feuillatte Réserve Exclusive Brut 750ml (3.0%)</c:v>
                </c:pt>
                <c:pt idx="9">
                  <c:v>Champagne Vranken Demoiselle Rosé Prestige 750ml (2.0%)</c:v>
                </c:pt>
              </c:strCache>
            </c:strRef>
          </c:cat>
          <c:val>
            <c:numRef>
              <c:f>Sheet1!$B$2:$B$11</c:f>
              <c:numCache>
                <c:formatCode>General</c:formatCode>
                <c:ptCount val="10"/>
                <c:pt idx="0">
                  <c:v>9.8602400174207488E-2</c:v>
                </c:pt>
                <c:pt idx="1">
                  <c:v>7.6240407458535289E-2</c:v>
                </c:pt>
                <c:pt idx="2">
                  <c:v>6.4772880614548223E-2</c:v>
                </c:pt>
                <c:pt idx="3">
                  <c:v>3.2816035209487032E-2</c:v>
                </c:pt>
                <c:pt idx="4">
                  <c:v>3.2467988099518286E-2</c:v>
                </c:pt>
                <c:pt idx="5">
                  <c:v>3.1881666773402616E-2</c:v>
                </c:pt>
                <c:pt idx="6">
                  <c:v>3.1482809115234878E-2</c:v>
                </c:pt>
                <c:pt idx="7">
                  <c:v>2.8321363173944188E-2</c:v>
                </c:pt>
                <c:pt idx="8">
                  <c:v>2.8099529404230862E-2</c:v>
                </c:pt>
                <c:pt idx="9">
                  <c:v>2.40089532567205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llier Blanc Série R.021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0000000000003</c:v>
                </c:pt>
                <c:pt idx="2">
                  <c:v>39.950000000000003</c:v>
                </c:pt>
                <c:pt idx="3">
                  <c:v>42.95</c:v>
                </c:pt>
                <c:pt idx="4">
                  <c:v>47.95</c:v>
                </c:pt>
              </c:numCache>
            </c:numRef>
          </c:xVal>
          <c:yVal>
            <c:numRef>
              <c:f>Sheet1!$B$2:$B$6</c:f>
              <c:numCache>
                <c:formatCode>General</c:formatCode>
                <c:ptCount val="5"/>
                <c:pt idx="0">
                  <c:v>1.100883863500157</c:v>
                </c:pt>
                <c:pt idx="1">
                  <c:v>0.61428111508747063</c:v>
                </c:pt>
                <c:pt idx="2">
                  <c:v>0</c:v>
                </c:pt>
                <c:pt idx="3">
                  <c:v>-0.32948271776354576</c:v>
                </c:pt>
                <c:pt idx="4">
                  <c:v>-0.5431498646377699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1.56248961533274</c:v>
                </c:pt>
                <c:pt idx="1">
                  <c:v>192.38922777440993</c:v>
                </c:pt>
                <c:pt idx="2">
                  <c:v>183.97461308902805</c:v>
                </c:pt>
                <c:pt idx="3">
                  <c:v>176.22646564200977</c:v>
                </c:pt>
                <c:pt idx="4">
                  <c:v>169.06650841934135</c:v>
                </c:pt>
                <c:pt idx="5">
                  <c:v>162.42813561329595</c:v>
                </c:pt>
                <c:pt idx="6">
                  <c:v>153.42513041745124</c:v>
                </c:pt>
                <c:pt idx="7">
                  <c:v>144.9993254509576</c:v>
                </c:pt>
                <c:pt idx="8">
                  <c:v>137.38298151459165</c:v>
                </c:pt>
                <c:pt idx="9">
                  <c:v>130.47992173360336</c:v>
                </c:pt>
                <c:pt idx="10">
                  <c:v>124.20594521968616</c:v>
                </c:pt>
                <c:pt idx="11">
                  <c:v>118.48745830235924</c:v>
                </c:pt>
                <c:pt idx="12">
                  <c:v>113.26020653884427</c:v>
                </c:pt>
                <c:pt idx="13">
                  <c:v>108.46812107780761</c:v>
                </c:pt>
                <c:pt idx="14">
                  <c:v>104.06228262631024</c:v>
                </c:pt>
                <c:pt idx="15">
                  <c:v>100</c:v>
                </c:pt>
                <c:pt idx="16">
                  <c:v>93.092946603393187</c:v>
                </c:pt>
                <c:pt idx="17">
                  <c:v>86.639215036116283</c:v>
                </c:pt>
                <c:pt idx="18">
                  <c:v>80.900249601890465</c:v>
                </c:pt>
                <c:pt idx="19">
                  <c:v>75.775625963909079</c:v>
                </c:pt>
                <c:pt idx="20">
                  <c:v>71.18115056645631</c:v>
                </c:pt>
                <c:pt idx="21">
                  <c:v>67.046043300169003</c:v>
                </c:pt>
                <c:pt idx="22">
                  <c:v>63.310615185234568</c:v>
                </c:pt>
                <c:pt idx="23">
                  <c:v>59.924359347305767</c:v>
                </c:pt>
                <c:pt idx="24">
                  <c:v>56.844384186653762</c:v>
                </c:pt>
                <c:pt idx="25">
                  <c:v>54.034128158995877</c:v>
                </c:pt>
                <c:pt idx="26">
                  <c:v>52.340291875549347</c:v>
                </c:pt>
                <c:pt idx="27">
                  <c:v>50.83290354300928</c:v>
                </c:pt>
                <c:pt idx="28">
                  <c:v>49.401701408849704</c:v>
                </c:pt>
                <c:pt idx="29">
                  <c:v>48.041552480435683</c:v>
                </c:pt>
                <c:pt idx="30">
                  <c:v>46.747739819136477</c:v>
                </c:pt>
                <c:pt idx="31">
                  <c:v>45.5159242614391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3.83798473859179</c:v>
                </c:pt>
                <c:pt idx="1">
                  <c:v>158.77809672001263</c:v>
                </c:pt>
                <c:pt idx="2">
                  <c:v>154.12582717267648</c:v>
                </c:pt>
                <c:pt idx="3">
                  <c:v>149.83102800799227</c:v>
                </c:pt>
                <c:pt idx="4">
                  <c:v>145.8509792630401</c:v>
                </c:pt>
                <c:pt idx="5">
                  <c:v>142.1492951749741</c:v>
                </c:pt>
                <c:pt idx="6">
                  <c:v>136.18350702774956</c:v>
                </c:pt>
                <c:pt idx="7">
                  <c:v>130.51336794886888</c:v>
                </c:pt>
                <c:pt idx="8">
                  <c:v>125.37225682418276</c:v>
                </c:pt>
                <c:pt idx="9">
                  <c:v>120.70134455622565</c:v>
                </c:pt>
                <c:pt idx="10">
                  <c:v>116.44826916917501</c:v>
                </c:pt>
                <c:pt idx="11">
                  <c:v>112.56657306752086</c:v>
                </c:pt>
                <c:pt idx="12">
                  <c:v>109.01513710593571</c:v>
                </c:pt>
                <c:pt idx="13">
                  <c:v>105.75763297248663</c:v>
                </c:pt>
                <c:pt idx="14">
                  <c:v>102.76200666604618</c:v>
                </c:pt>
                <c:pt idx="15">
                  <c:v>100</c:v>
                </c:pt>
                <c:pt idx="16">
                  <c:v>94.257899255338046</c:v>
                </c:pt>
                <c:pt idx="17">
                  <c:v>88.807882832351552</c:v>
                </c:pt>
                <c:pt idx="18">
                  <c:v>83.937996498351737</c:v>
                </c:pt>
                <c:pt idx="19">
                  <c:v>79.569596247092989</c:v>
                </c:pt>
                <c:pt idx="20">
                  <c:v>75.636266774544396</c:v>
                </c:pt>
                <c:pt idx="21">
                  <c:v>72.081805133550674</c:v>
                </c:pt>
                <c:pt idx="22">
                  <c:v>68.858532229598481</c:v>
                </c:pt>
                <c:pt idx="23">
                  <c:v>65.925885283965528</c:v>
                </c:pt>
                <c:pt idx="24">
                  <c:v>63.249248140543614</c:v>
                </c:pt>
                <c:pt idx="25">
                  <c:v>60.798981081838043</c:v>
                </c:pt>
                <c:pt idx="26">
                  <c:v>59.548001200536604</c:v>
                </c:pt>
                <c:pt idx="27">
                  <c:v>58.469061962037131</c:v>
                </c:pt>
                <c:pt idx="28">
                  <c:v>57.441012416748315</c:v>
                </c:pt>
                <c:pt idx="29">
                  <c:v>56.460675694087648</c:v>
                </c:pt>
                <c:pt idx="30">
                  <c:v>55.525112767526828</c:v>
                </c:pt>
                <c:pt idx="31">
                  <c:v>54.6316024563195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7.24295035816512</c:v>
                </c:pt>
                <c:pt idx="1">
                  <c:v>117.27260759732876</c:v>
                </c:pt>
                <c:pt idx="2">
                  <c:v>117.2742032645167</c:v>
                </c:pt>
                <c:pt idx="3">
                  <c:v>117.24987960673579</c:v>
                </c:pt>
                <c:pt idx="4">
                  <c:v>117.20113362321072</c:v>
                </c:pt>
                <c:pt idx="5">
                  <c:v>117.12914642322245</c:v>
                </c:pt>
                <c:pt idx="6">
                  <c:v>114.9157738443334</c:v>
                </c:pt>
                <c:pt idx="7">
                  <c:v>112.64865984061765</c:v>
                </c:pt>
                <c:pt idx="8">
                  <c:v>110.56301513547815</c:v>
                </c:pt>
                <c:pt idx="9">
                  <c:v>108.6464805930712</c:v>
                </c:pt>
                <c:pt idx="10">
                  <c:v>106.88627412758981</c:v>
                </c:pt>
                <c:pt idx="11">
                  <c:v>105.26964459654596</c:v>
                </c:pt>
                <c:pt idx="12">
                  <c:v>103.78418900229514</c:v>
                </c:pt>
                <c:pt idx="13">
                  <c:v>102.41806549400268</c:v>
                </c:pt>
                <c:pt idx="14">
                  <c:v>101.16012765298316</c:v>
                </c:pt>
                <c:pt idx="15">
                  <c:v>100</c:v>
                </c:pt>
                <c:pt idx="16">
                  <c:v>95.689181772833862</c:v>
                </c:pt>
                <c:pt idx="17">
                  <c:v>91.471713852332698</c:v>
                </c:pt>
                <c:pt idx="18">
                  <c:v>87.668842096693965</c:v>
                </c:pt>
                <c:pt idx="19">
                  <c:v>84.22874093306018</c:v>
                </c:pt>
                <c:pt idx="20">
                  <c:v>81.106876050751481</c:v>
                </c:pt>
                <c:pt idx="21">
                  <c:v>78.264978908426755</c:v>
                </c:pt>
                <c:pt idx="22">
                  <c:v>75.67014146708803</c:v>
                </c:pt>
                <c:pt idx="23">
                  <c:v>73.29402782768922</c:v>
                </c:pt>
                <c:pt idx="24">
                  <c:v>71.112194511253364</c:v>
                </c:pt>
                <c:pt idx="25">
                  <c:v>69.103508707676085</c:v>
                </c:pt>
                <c:pt idx="26">
                  <c:v>68.396983886547773</c:v>
                </c:pt>
                <c:pt idx="27">
                  <c:v>67.844826799287759</c:v>
                </c:pt>
                <c:pt idx="28">
                  <c:v>67.312399383270005</c:v>
                </c:pt>
                <c:pt idx="29">
                  <c:v>66.798938702816486</c:v>
                </c:pt>
                <c:pt idx="30">
                  <c:v>66.303699315300975</c:v>
                </c:pt>
                <c:pt idx="31">
                  <c:v>65.825955927419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2186575118009586</c:v>
                </c:pt>
                <c:pt idx="1">
                  <c:v>0.3321717428034987</c:v>
                </c:pt>
                <c:pt idx="2">
                  <c:v>0.3421691718034463</c:v>
                </c:pt>
                <c:pt idx="3">
                  <c:v>0.35187169139336594</c:v>
                </c:pt>
                <c:pt idx="4">
                  <c:v>0.36129216099520656</c:v>
                </c:pt>
                <c:pt idx="5">
                  <c:v>0.37044270310129246</c:v>
                </c:pt>
                <c:pt idx="6">
                  <c:v>0.37933475531737598</c:v>
                </c:pt>
                <c:pt idx="7">
                  <c:v>0.38797911805668833</c:v>
                </c:pt>
                <c:pt idx="8">
                  <c:v>0.39638599830316229</c:v>
                </c:pt>
                <c:pt idx="9">
                  <c:v>0.40456504981666958</c:v>
                </c:pt>
                <c:pt idx="10">
                  <c:v>0.41252541011323823</c:v>
                </c:pt>
                <c:pt idx="11">
                  <c:v>0.42027573451807687</c:v>
                </c:pt>
                <c:pt idx="12">
                  <c:v>0.42782422755820593</c:v>
                </c:pt>
                <c:pt idx="13">
                  <c:v>0.43517867193406445</c:v>
                </c:pt>
                <c:pt idx="14">
                  <c:v>0.44234645528515498</c:v>
                </c:pt>
                <c:pt idx="15">
                  <c:v>0.44933459494323574</c:v>
                </c:pt>
                <c:pt idx="16">
                  <c:v>0.45614976084740372</c:v>
                </c:pt>
                <c:pt idx="17">
                  <c:v>0.46279829677836448</c:v>
                </c:pt>
                <c:pt idx="18">
                  <c:v>0.46928624005398806</c:v>
                </c:pt>
                <c:pt idx="19">
                  <c:v>0.47561933981468035</c:v>
                </c:pt>
                <c:pt idx="20">
                  <c:v>0.48180307401497896</c:v>
                </c:pt>
                <c:pt idx="21">
                  <c:v>0.48784266522692549</c:v>
                </c:pt>
                <c:pt idx="22">
                  <c:v>0.49374309535103938</c:v>
                </c:pt>
                <c:pt idx="23">
                  <c:v>0.49950911932198427</c:v>
                </c:pt>
                <c:pt idx="24">
                  <c:v>0.50514527788817809</c:v>
                </c:pt>
                <c:pt idx="25">
                  <c:v>0.51065590953753026</c:v>
                </c:pt>
                <c:pt idx="26">
                  <c:v>0.51604516163513448</c:v>
                </c:pt>
                <c:pt idx="27">
                  <c:v>0.52131700083300891</c:v>
                </c:pt>
                <c:pt idx="28">
                  <c:v>0.52647522280679115</c:v>
                </c:pt>
                <c:pt idx="29">
                  <c:v>0.53152346136961859</c:v>
                </c:pt>
                <c:pt idx="30">
                  <c:v>0.5364651970091795</c:v>
                </c:pt>
                <c:pt idx="31">
                  <c:v>0.5413037648900859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4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Ayala Brut Majeur 750ml (1.7%)</c:v>
                </c:pt>
                <c:pt idx="5">
                  <c:v>Champagne Besserat de Bellefon Bleu Brut 750ml (1.7%)</c:v>
                </c:pt>
                <c:pt idx="6">
                  <c:v>Champagne Nicolas Feuillatte Réserve Exclusive Brut 750ml (3.0%)</c:v>
                </c:pt>
                <c:pt idx="7">
                  <c:v>Champagne Georges Vesselle Grand Cru Brut 750ml (1.0%)</c:v>
                </c:pt>
                <c:pt idx="8">
                  <c:v>Champagne Château de Bligny 750ml (1.3%)</c:v>
                </c:pt>
                <c:pt idx="9">
                  <c:v>Champagne Vranken Demoiselle Tête de Cuvée 750ml (1.4%)</c:v>
                </c:pt>
              </c:strCache>
            </c:strRef>
          </c:cat>
          <c:val>
            <c:numRef>
              <c:f>Sheet1!$B$2:$B$11</c:f>
              <c:numCache>
                <c:formatCode>General</c:formatCode>
                <c:ptCount val="10"/>
                <c:pt idx="0">
                  <c:v>0.14948863421932784</c:v>
                </c:pt>
                <c:pt idx="1">
                  <c:v>0.10891526425080075</c:v>
                </c:pt>
                <c:pt idx="2">
                  <c:v>7.6777115523985542E-2</c:v>
                </c:pt>
                <c:pt idx="3">
                  <c:v>6.2825047628229727E-2</c:v>
                </c:pt>
                <c:pt idx="4">
                  <c:v>5.5219090432042976E-2</c:v>
                </c:pt>
                <c:pt idx="5">
                  <c:v>5.3482474013396758E-2</c:v>
                </c:pt>
                <c:pt idx="6">
                  <c:v>3.4221400672236169E-2</c:v>
                </c:pt>
                <c:pt idx="7">
                  <c:v>3.0061280324173819E-2</c:v>
                </c:pt>
                <c:pt idx="8">
                  <c:v>2.7709516475357483E-2</c:v>
                </c:pt>
                <c:pt idx="9">
                  <c:v>2.45995906305295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Besserat de Bellefon Bleu Brut 750ml (1.7%)</c:v>
                </c:pt>
                <c:pt idx="4">
                  <c:v>Champagne Ayala Brut Majeur 750ml (1.7%)</c:v>
                </c:pt>
                <c:pt idx="5">
                  <c:v>Champagne Canard-Duchêne Blanc Cuvée Léonie Brut 750ml (2.6%)</c:v>
                </c:pt>
                <c:pt idx="6">
                  <c:v>Champagne Laurent-Perrier Blanc La Cuvée 750ml (2.7%)</c:v>
                </c:pt>
                <c:pt idx="7">
                  <c:v>Champagne Nicolas Feuillatte Réserve Exclusive Brut 750ml (3.0%)</c:v>
                </c:pt>
                <c:pt idx="8">
                  <c:v>Champagne Deutz Brut Classique 750ml (3.4%)</c:v>
                </c:pt>
                <c:pt idx="9">
                  <c:v>Champagne Château de Bligny 750ml (1.3%)</c:v>
                </c:pt>
              </c:strCache>
            </c:strRef>
          </c:cat>
          <c:val>
            <c:numRef>
              <c:f>Sheet1!$B$2:$B$11</c:f>
              <c:numCache>
                <c:formatCode>General</c:formatCode>
                <c:ptCount val="10"/>
                <c:pt idx="0">
                  <c:v>0.1013649854207149</c:v>
                </c:pt>
                <c:pt idx="1">
                  <c:v>7.1963610178957152E-2</c:v>
                </c:pt>
                <c:pt idx="2">
                  <c:v>7.0040014860038538E-2</c:v>
                </c:pt>
                <c:pt idx="3">
                  <c:v>5.4707038041500906E-2</c:v>
                </c:pt>
                <c:pt idx="4">
                  <c:v>4.7499769886744217E-2</c:v>
                </c:pt>
                <c:pt idx="5">
                  <c:v>4.5661406793233592E-2</c:v>
                </c:pt>
                <c:pt idx="6">
                  <c:v>3.7271101785591391E-2</c:v>
                </c:pt>
                <c:pt idx="7">
                  <c:v>3.2193575346753961E-2</c:v>
                </c:pt>
                <c:pt idx="8">
                  <c:v>3.1194009174982999E-2</c:v>
                </c:pt>
                <c:pt idx="9">
                  <c:v>2.94879782041341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utz Brut Classiqu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1.95</c:v>
                </c:pt>
                <c:pt idx="1">
                  <c:v>24.95</c:v>
                </c:pt>
                <c:pt idx="2">
                  <c:v>27.95</c:v>
                </c:pt>
                <c:pt idx="3">
                  <c:v>30.95</c:v>
                </c:pt>
                <c:pt idx="4">
                  <c:v>33.950000000000003</c:v>
                </c:pt>
              </c:numCache>
            </c:numRef>
          </c:xVal>
          <c:yVal>
            <c:numRef>
              <c:f>Sheet1!$B$2:$B$6</c:f>
              <c:numCache>
                <c:formatCode>General</c:formatCode>
                <c:ptCount val="5"/>
                <c:pt idx="0">
                  <c:v>0.88610931309647867</c:v>
                </c:pt>
                <c:pt idx="1">
                  <c:v>0.6191577330437017</c:v>
                </c:pt>
                <c:pt idx="2">
                  <c:v>0</c:v>
                </c:pt>
                <c:pt idx="3">
                  <c:v>-0.32776434444517055</c:v>
                </c:pt>
                <c:pt idx="4">
                  <c:v>-0.510120246848203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utz Brut Classiqu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9.950000000000003</c:v>
                </c:pt>
                <c:pt idx="1">
                  <c:v>44.95</c:v>
                </c:pt>
                <c:pt idx="2">
                  <c:v>49.95</c:v>
                </c:pt>
                <c:pt idx="3">
                  <c:v>54.95</c:v>
                </c:pt>
                <c:pt idx="4">
                  <c:v>59</c:v>
                </c:pt>
              </c:numCache>
            </c:numRef>
          </c:xVal>
          <c:yVal>
            <c:numRef>
              <c:f>Sheet1!$B$9:$B$13</c:f>
              <c:numCache>
                <c:formatCode>General</c:formatCode>
                <c:ptCount val="5"/>
                <c:pt idx="0">
                  <c:v>0.72199164144376182</c:v>
                </c:pt>
                <c:pt idx="1">
                  <c:v>0.16494731074254881</c:v>
                </c:pt>
                <c:pt idx="2">
                  <c:v>0</c:v>
                </c:pt>
                <c:pt idx="3">
                  <c:v>-0.35046947002164508</c:v>
                </c:pt>
                <c:pt idx="4">
                  <c:v>-0.4348208517897877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c:v>
                </c:pt>
                <c:pt idx="1">
                  <c:v>89</c:v>
                </c:pt>
                <c:pt idx="2">
                  <c:v>99</c:v>
                </c:pt>
                <c:pt idx="3">
                  <c:v>109</c:v>
                </c:pt>
                <c:pt idx="4">
                  <c:v>119</c:v>
                </c:pt>
              </c:numCache>
            </c:numRef>
          </c:xVal>
          <c:yVal>
            <c:numRef>
              <c:f>Sheet1!$B$16:$B$20</c:f>
              <c:numCache>
                <c:formatCode>General</c:formatCode>
                <c:ptCount val="5"/>
                <c:pt idx="0">
                  <c:v>0.55589202389671666</c:v>
                </c:pt>
                <c:pt idx="1">
                  <c:v>0.281110849263073</c:v>
                </c:pt>
                <c:pt idx="2">
                  <c:v>0</c:v>
                </c:pt>
                <c:pt idx="3">
                  <c:v>-0.10580987507647358</c:v>
                </c:pt>
                <c:pt idx="4">
                  <c:v>-0.2856044322192400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Deutz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7.95</c:v>
                </c:pt>
                <c:pt idx="1">
                  <c:v>54.95</c:v>
                </c:pt>
                <c:pt idx="2">
                  <c:v>59</c:v>
                </c:pt>
                <c:pt idx="3">
                  <c:v>65</c:v>
                </c:pt>
                <c:pt idx="4">
                  <c:v>69</c:v>
                </c:pt>
              </c:numCache>
            </c:numRef>
          </c:xVal>
          <c:yVal>
            <c:numRef>
              <c:f>Sheet1!$B$23:$B$27</c:f>
              <c:numCache>
                <c:formatCode>General</c:formatCode>
                <c:ptCount val="5"/>
                <c:pt idx="0">
                  <c:v>0.8138057189769129</c:v>
                </c:pt>
                <c:pt idx="1">
                  <c:v>0.13408068921226396</c:v>
                </c:pt>
                <c:pt idx="2">
                  <c:v>0</c:v>
                </c:pt>
                <c:pt idx="3">
                  <c:v>-0.31127900412083642</c:v>
                </c:pt>
                <c:pt idx="4">
                  <c:v>-0.4480193712945701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
          <c:min val="2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B$2:$B$25</c:f>
              <c:numCache>
                <c:formatCode>General</c:formatCode>
                <c:ptCount val="24"/>
                <c:pt idx="0">
                  <c:v>192.64011064972757</c:v>
                </c:pt>
                <c:pt idx="1">
                  <c:v>187.73140184484856</c:v>
                </c:pt>
                <c:pt idx="2">
                  <c:v>182.99125013842158</c:v>
                </c:pt>
                <c:pt idx="3">
                  <c:v>178.41213764759956</c:v>
                </c:pt>
                <c:pt idx="4">
                  <c:v>173.98696361828084</c:v>
                </c:pt>
                <c:pt idx="5">
                  <c:v>169.70901838188919</c:v>
                </c:pt>
                <c:pt idx="6">
                  <c:v>160.57550968565209</c:v>
                </c:pt>
                <c:pt idx="7">
                  <c:v>147.56430086075616</c:v>
                </c:pt>
                <c:pt idx="8">
                  <c:v>135.88419018259975</c:v>
                </c:pt>
                <c:pt idx="9">
                  <c:v>125.40585171168028</c:v>
                </c:pt>
                <c:pt idx="10">
                  <c:v>116.00753896538529</c:v>
                </c:pt>
                <c:pt idx="11">
                  <c:v>107.57459902623263</c:v>
                </c:pt>
                <c:pt idx="12">
                  <c:v>100</c:v>
                </c:pt>
                <c:pt idx="13">
                  <c:v>93.185170717598226</c:v>
                </c:pt>
                <c:pt idx="14">
                  <c:v>87.040665883900786</c:v>
                </c:pt>
                <c:pt idx="15">
                  <c:v>81.486430246519205</c:v>
                </c:pt>
                <c:pt idx="16">
                  <c:v>76.435573323283023</c:v>
                </c:pt>
                <c:pt idx="17">
                  <c:v>71.873277212638214</c:v>
                </c:pt>
                <c:pt idx="18">
                  <c:v>67.759710673893125</c:v>
                </c:pt>
                <c:pt idx="19">
                  <c:v>64.032190477706266</c:v>
                </c:pt>
                <c:pt idx="20">
                  <c:v>60.638922307387602</c:v>
                </c:pt>
                <c:pt idx="21">
                  <c:v>57.536905878448486</c:v>
                </c:pt>
                <c:pt idx="22">
                  <c:v>54.690244893254281</c:v>
                </c:pt>
                <c:pt idx="23">
                  <c:v>52.0687939979086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C$2:$C$25</c:f>
              <c:numCache>
                <c:formatCode>General</c:formatCode>
                <c:ptCount val="24"/>
                <c:pt idx="0">
                  <c:v>151.6027718187442</c:v>
                </c:pt>
                <c:pt idx="1">
                  <c:v>151.05346747819974</c:v>
                </c:pt>
                <c:pt idx="2">
                  <c:v>150.46969411406786</c:v>
                </c:pt>
                <c:pt idx="3">
                  <c:v>149.85405675841034</c:v>
                </c:pt>
                <c:pt idx="4">
                  <c:v>149.2089863744682</c:v>
                </c:pt>
                <c:pt idx="5">
                  <c:v>148.53675408875284</c:v>
                </c:pt>
                <c:pt idx="6">
                  <c:v>143.39339583032645</c:v>
                </c:pt>
                <c:pt idx="7">
                  <c:v>134.40779374413512</c:v>
                </c:pt>
                <c:pt idx="8">
                  <c:v>126.19341364729104</c:v>
                </c:pt>
                <c:pt idx="9">
                  <c:v>118.69917496295834</c:v>
                </c:pt>
                <c:pt idx="10">
                  <c:v>111.87208969255134</c:v>
                </c:pt>
                <c:pt idx="11">
                  <c:v>105.65745379672747</c:v>
                </c:pt>
                <c:pt idx="12">
                  <c:v>100</c:v>
                </c:pt>
                <c:pt idx="13">
                  <c:v>94.845426501901471</c:v>
                </c:pt>
                <c:pt idx="14">
                  <c:v>90.141837035173637</c:v>
                </c:pt>
                <c:pt idx="15">
                  <c:v>85.840831788748716</c:v>
                </c:pt>
                <c:pt idx="16">
                  <c:v>81.881109583985179</c:v>
                </c:pt>
                <c:pt idx="17">
                  <c:v>78.27337614560399</c:v>
                </c:pt>
                <c:pt idx="18">
                  <c:v>74.999566121759926</c:v>
                </c:pt>
                <c:pt idx="19">
                  <c:v>72.013244043174865</c:v>
                </c:pt>
                <c:pt idx="20">
                  <c:v>69.275925339942773</c:v>
                </c:pt>
                <c:pt idx="21">
                  <c:v>66.755621710966466</c:v>
                </c:pt>
                <c:pt idx="22">
                  <c:v>64.425637859599789</c:v>
                </c:pt>
                <c:pt idx="23">
                  <c:v>62.2635894018329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D$2:$D$25</c:f>
              <c:numCache>
                <c:formatCode>General</c:formatCode>
                <c:ptCount val="24"/>
                <c:pt idx="0">
                  <c:v>110.85620442542476</c:v>
                </c:pt>
                <c:pt idx="1">
                  <c:v>114.67311350232725</c:v>
                </c:pt>
                <c:pt idx="2">
                  <c:v>118.25162075597339</c:v>
                </c:pt>
                <c:pt idx="3">
                  <c:v>121.60449196012036</c:v>
                </c:pt>
                <c:pt idx="4">
                  <c:v>124.74372807120591</c:v>
                </c:pt>
                <c:pt idx="5">
                  <c:v>127.68061942175217</c:v>
                </c:pt>
                <c:pt idx="6">
                  <c:v>126.48994883916389</c:v>
                </c:pt>
                <c:pt idx="7">
                  <c:v>121.461254565977</c:v>
                </c:pt>
                <c:pt idx="8">
                  <c:v>116.65465411527163</c:v>
                </c:pt>
                <c:pt idx="9">
                  <c:v>112.09582455563358</c:v>
                </c:pt>
                <c:pt idx="10">
                  <c:v>107.79918466155065</c:v>
                </c:pt>
                <c:pt idx="11">
                  <c:v>103.76876696231928</c:v>
                </c:pt>
                <c:pt idx="12">
                  <c:v>100</c:v>
                </c:pt>
                <c:pt idx="13">
                  <c:v>96.481925842028403</c:v>
                </c:pt>
                <c:pt idx="14">
                  <c:v>93.199408934470313</c:v>
                </c:pt>
                <c:pt idx="15">
                  <c:v>90.135042608915427</c:v>
                </c:pt>
                <c:pt idx="16">
                  <c:v>87.252288734191652</c:v>
                </c:pt>
                <c:pt idx="17">
                  <c:v>84.587134639505308</c:v>
                </c:pt>
                <c:pt idx="18">
                  <c:v>82.143147759889729</c:v>
                </c:pt>
                <c:pt idx="19">
                  <c:v>79.889747567764303</c:v>
                </c:pt>
                <c:pt idx="20">
                  <c:v>77.801453754598398</c:v>
                </c:pt>
                <c:pt idx="21">
                  <c:v>75.857050495250078</c:v>
                </c:pt>
                <c:pt idx="22">
                  <c:v>74.038854089302447</c:v>
                </c:pt>
                <c:pt idx="23">
                  <c:v>72.3320900057360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E$2:$E$25</c:f>
              <c:numCache>
                <c:formatCode>General</c:formatCode>
                <c:ptCount val="24"/>
                <c:pt idx="0">
                  <c:v>0.36634513701294302</c:v>
                </c:pt>
                <c:pt idx="1">
                  <c:v>0.38030229258534537</c:v>
                </c:pt>
                <c:pt idx="2">
                  <c:v>0.3936578466244543</c:v>
                </c:pt>
                <c:pt idx="3">
                  <c:v>0.40644987517668085</c:v>
                </c:pt>
                <c:pt idx="4">
                  <c:v>0.41871330750774122</c:v>
                </c:pt>
                <c:pt idx="5">
                  <c:v>0.43048024460272627</c:v>
                </c:pt>
                <c:pt idx="6">
                  <c:v>0.44178023974949754</c:v>
                </c:pt>
                <c:pt idx="7">
                  <c:v>0.45264054636915702</c:v>
                </c:pt>
                <c:pt idx="8">
                  <c:v>0.46308633746898226</c:v>
                </c:pt>
                <c:pt idx="9">
                  <c:v>0.473140900437728</c:v>
                </c:pt>
                <c:pt idx="10">
                  <c:v>0.48282581035615213</c:v>
                </c:pt>
                <c:pt idx="11">
                  <c:v>0.49216108453744889</c:v>
                </c:pt>
                <c:pt idx="12">
                  <c:v>0.50116532062721053</c:v>
                </c:pt>
                <c:pt idx="13">
                  <c:v>0.50985582026785148</c:v>
                </c:pt>
                <c:pt idx="14">
                  <c:v>0.51824870005778556</c:v>
                </c:pt>
                <c:pt idx="15">
                  <c:v>0.526358991302604</c:v>
                </c:pt>
                <c:pt idx="16">
                  <c:v>0.53420072985719647</c:v>
                </c:pt>
                <c:pt idx="17">
                  <c:v>0.54178703718851273</c:v>
                </c:pt>
                <c:pt idx="18">
                  <c:v>0.54913019364382498</c:v>
                </c:pt>
                <c:pt idx="19">
                  <c:v>0.5562417047850895</c:v>
                </c:pt>
                <c:pt idx="20">
                  <c:v>0.5631323615430851</c:v>
                </c:pt>
                <c:pt idx="21">
                  <c:v>0.56981229485282381</c:v>
                </c:pt>
                <c:pt idx="22">
                  <c:v>0.57629102535202836</c:v>
                </c:pt>
                <c:pt idx="23">
                  <c:v>0.582577508655410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Prosecco Carlo V Cuvée Del Imperator 750ml (5.4%)</c:v>
                </c:pt>
                <c:pt idx="4">
                  <c:v>Prosecco Bottega 750ml (2.6%)</c:v>
                </c:pt>
                <c:pt idx="5">
                  <c:v>Champagne Besserat de Bellefon Bleu Brut 750ml (1.7%)</c:v>
                </c:pt>
                <c:pt idx="6">
                  <c:v>Champagne Canard-Duchêne Blanc Cuvée Léonie Brut 750ml (2.6%)</c:v>
                </c:pt>
                <c:pt idx="7">
                  <c:v>Champagne Canard-Duchêne Blanc Cuvée Léonie Brut 375ml (0.3%)</c:v>
                </c:pt>
                <c:pt idx="8">
                  <c:v>Champagne Château de Bligny 750ml (1.3%)</c:v>
                </c:pt>
                <c:pt idx="9">
                  <c:v>Prosecco Savian Extra Dry Bio 750ml (2.1%)</c:v>
                </c:pt>
              </c:strCache>
            </c:strRef>
          </c:cat>
          <c:val>
            <c:numRef>
              <c:f>Sheet1!$B$2:$B$11</c:f>
              <c:numCache>
                <c:formatCode>General</c:formatCode>
                <c:ptCount val="10"/>
                <c:pt idx="0">
                  <c:v>0.3025890658522154</c:v>
                </c:pt>
                <c:pt idx="1">
                  <c:v>6.6038132724016971E-2</c:v>
                </c:pt>
                <c:pt idx="2">
                  <c:v>6.2341038728264478E-2</c:v>
                </c:pt>
                <c:pt idx="3">
                  <c:v>5.7666783736400488E-2</c:v>
                </c:pt>
                <c:pt idx="4">
                  <c:v>3.1597653297323419E-2</c:v>
                </c:pt>
                <c:pt idx="5">
                  <c:v>2.722811803885852E-2</c:v>
                </c:pt>
                <c:pt idx="6">
                  <c:v>2.4872397044255243E-2</c:v>
                </c:pt>
                <c:pt idx="7">
                  <c:v>2.1849610251038022E-2</c:v>
                </c:pt>
                <c:pt idx="8">
                  <c:v>2.055675638551735E-2</c:v>
                </c:pt>
                <c:pt idx="9">
                  <c:v>1.95478884442686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Canard-Duchêne Blanc Cuvée Léonie Brut 750ml (2.6%)</c:v>
                </c:pt>
                <c:pt idx="5">
                  <c:v>Champagne Besserat de Bellefon Bleu Brut 750ml (1.7%)</c:v>
                </c:pt>
                <c:pt idx="6">
                  <c:v>Prosecco Bottega 750ml (2.6%)</c:v>
                </c:pt>
                <c:pt idx="7">
                  <c:v>Champagne Château de Bligny 750ml (1.3%)</c:v>
                </c:pt>
                <c:pt idx="8">
                  <c:v>Champagne Nicolas Feuillatte Réserve Exclusive Brut 750ml (3.0%)</c:v>
                </c:pt>
                <c:pt idx="9">
                  <c:v>Champagne Georges Vesselle Grand Cru Brut 750ml (1.0%)</c:v>
                </c:pt>
              </c:strCache>
            </c:strRef>
          </c:cat>
          <c:val>
            <c:numRef>
              <c:f>Sheet1!$B$2:$B$11</c:f>
              <c:numCache>
                <c:formatCode>General</c:formatCode>
                <c:ptCount val="10"/>
                <c:pt idx="0">
                  <c:v>0.24144060313152402</c:v>
                </c:pt>
                <c:pt idx="1">
                  <c:v>8.1255246800374908E-2</c:v>
                </c:pt>
                <c:pt idx="2">
                  <c:v>7.7908846063013196E-2</c:v>
                </c:pt>
                <c:pt idx="3">
                  <c:v>4.4859007268984251E-2</c:v>
                </c:pt>
                <c:pt idx="4">
                  <c:v>2.9634287767243819E-2</c:v>
                </c:pt>
                <c:pt idx="5">
                  <c:v>2.8402872174544638E-2</c:v>
                </c:pt>
                <c:pt idx="6">
                  <c:v>2.5446997447880433E-2</c:v>
                </c:pt>
                <c:pt idx="7">
                  <c:v>2.3553998771059882E-2</c:v>
                </c:pt>
                <c:pt idx="8">
                  <c:v>2.3449686020095454E-2</c:v>
                </c:pt>
                <c:pt idx="9">
                  <c:v>1.838078536343164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5623173008992</c:v>
                </c:pt>
                <c:pt idx="1">
                  <c:v>156.98462930342561</c:v>
                </c:pt>
                <c:pt idx="2">
                  <c:v>150.15677901451829</c:v>
                </c:pt>
                <c:pt idx="3">
                  <c:v>143.98242777543351</c:v>
                </c:pt>
                <c:pt idx="4">
                  <c:v>138.37651991314226</c:v>
                </c:pt>
                <c:pt idx="5">
                  <c:v>133.26530681450166</c:v>
                </c:pt>
                <c:pt idx="6">
                  <c:v>128.58554520020425</c:v>
                </c:pt>
                <c:pt idx="7">
                  <c:v>124.28330864477044</c:v>
                </c:pt>
                <c:pt idx="8">
                  <c:v>120.31269980141262</c:v>
                </c:pt>
                <c:pt idx="9">
                  <c:v>116.63462284489978</c:v>
                </c:pt>
                <c:pt idx="10">
                  <c:v>114.53252026348623</c:v>
                </c:pt>
                <c:pt idx="11">
                  <c:v>112.66296109387604</c:v>
                </c:pt>
                <c:pt idx="12">
                  <c:v>110.86652512849666</c:v>
                </c:pt>
                <c:pt idx="13">
                  <c:v>109.13875757873765</c:v>
                </c:pt>
                <c:pt idx="14">
                  <c:v>107.4754979614944</c:v>
                </c:pt>
                <c:pt idx="15">
                  <c:v>105.87286566646992</c:v>
                </c:pt>
                <c:pt idx="16">
                  <c:v>104.32724577981223</c:v>
                </c:pt>
                <c:pt idx="17">
                  <c:v>102.83527495226348</c:v>
                </c:pt>
                <c:pt idx="18">
                  <c:v>101.39382724700852</c:v>
                </c:pt>
                <c:pt idx="19">
                  <c:v>100</c:v>
                </c:pt>
                <c:pt idx="20">
                  <c:v>95.972570101451311</c:v>
                </c:pt>
                <c:pt idx="21">
                  <c:v>91.834571122938343</c:v>
                </c:pt>
                <c:pt idx="22">
                  <c:v>87.888203657762503</c:v>
                </c:pt>
                <c:pt idx="23">
                  <c:v>84.129042464232967</c:v>
                </c:pt>
                <c:pt idx="24">
                  <c:v>80.551721027412242</c:v>
                </c:pt>
                <c:pt idx="25">
                  <c:v>77.150254651802953</c:v>
                </c:pt>
                <c:pt idx="26">
                  <c:v>73.918224813236534</c:v>
                </c:pt>
                <c:pt idx="27">
                  <c:v>70.848895485832998</c:v>
                </c:pt>
                <c:pt idx="28">
                  <c:v>67.935326823388081</c:v>
                </c:pt>
                <c:pt idx="29">
                  <c:v>65.170519239478281</c:v>
                </c:pt>
                <c:pt idx="30">
                  <c:v>63.869834264321035</c:v>
                </c:pt>
                <c:pt idx="31">
                  <c:v>62.753262486412154</c:v>
                </c:pt>
                <c:pt idx="32">
                  <c:v>61.66718608682158</c:v>
                </c:pt>
                <c:pt idx="33">
                  <c:v>60.610306512372148</c:v>
                </c:pt>
                <c:pt idx="34">
                  <c:v>59.581393564809538</c:v>
                </c:pt>
                <c:pt idx="35">
                  <c:v>58.579282322848044</c:v>
                </c:pt>
                <c:pt idx="36">
                  <c:v>57.602870195704284</c:v>
                </c:pt>
                <c:pt idx="37">
                  <c:v>56.65111411098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4.17809356211558</c:v>
                </c:pt>
                <c:pt idx="1">
                  <c:v>129.53853073547052</c:v>
                </c:pt>
                <c:pt idx="2">
                  <c:v>125.37532916475251</c:v>
                </c:pt>
                <c:pt idx="3">
                  <c:v>121.62941644238052</c:v>
                </c:pt>
                <c:pt idx="4">
                  <c:v>118.24756921739908</c:v>
                </c:pt>
                <c:pt idx="5">
                  <c:v>115.1829675624691</c:v>
                </c:pt>
                <c:pt idx="6">
                  <c:v>112.39504293899731</c:v>
                </c:pt>
                <c:pt idx="7">
                  <c:v>109.84894467985266</c:v>
                </c:pt>
                <c:pt idx="8">
                  <c:v>107.51485109978663</c:v>
                </c:pt>
                <c:pt idx="9">
                  <c:v>105.36726011904688</c:v>
                </c:pt>
                <c:pt idx="10">
                  <c:v>104.57535819837378</c:v>
                </c:pt>
                <c:pt idx="11">
                  <c:v>103.95626508555755</c:v>
                </c:pt>
                <c:pt idx="12">
                  <c:v>103.36936241002263</c:v>
                </c:pt>
                <c:pt idx="13">
                  <c:v>102.81255100923019</c:v>
                </c:pt>
                <c:pt idx="14">
                  <c:v>102.28384294320489</c:v>
                </c:pt>
                <c:pt idx="15">
                  <c:v>101.78136143313677</c:v>
                </c:pt>
                <c:pt idx="16">
                  <c:v>101.30334024128271</c:v>
                </c:pt>
                <c:pt idx="17">
                  <c:v>100.84812230429787</c:v>
                </c:pt>
                <c:pt idx="18">
                  <c:v>100.41415756012803</c:v>
                </c:pt>
                <c:pt idx="19">
                  <c:v>100</c:v>
                </c:pt>
                <c:pt idx="20">
                  <c:v>96.915946479724994</c:v>
                </c:pt>
                <c:pt idx="21">
                  <c:v>93.643400771150326</c:v>
                </c:pt>
                <c:pt idx="22">
                  <c:v>90.488099933558644</c:v>
                </c:pt>
                <c:pt idx="23">
                  <c:v>87.450795180416236</c:v>
                </c:pt>
                <c:pt idx="24">
                  <c:v>84.531121736209442</c:v>
                </c:pt>
                <c:pt idx="25">
                  <c:v>81.727888666202304</c:v>
                </c:pt>
                <c:pt idx="26">
                  <c:v>79.039240490100141</c:v>
                </c:pt>
                <c:pt idx="27">
                  <c:v>76.46275711049752</c:v>
                </c:pt>
                <c:pt idx="28">
                  <c:v>73.995558100235868</c:v>
                </c:pt>
                <c:pt idx="29">
                  <c:v>71.634447158890097</c:v>
                </c:pt>
                <c:pt idx="30">
                  <c:v>70.831171171537761</c:v>
                </c:pt>
                <c:pt idx="31">
                  <c:v>70.207406160000531</c:v>
                </c:pt>
                <c:pt idx="32">
                  <c:v>69.596460956491541</c:v>
                </c:pt>
                <c:pt idx="33">
                  <c:v>68.997732607975436</c:v>
                </c:pt>
                <c:pt idx="34">
                  <c:v>68.410647493771009</c:v>
                </c:pt>
                <c:pt idx="35">
                  <c:v>67.834660935370138</c:v>
                </c:pt>
                <c:pt idx="36">
                  <c:v>67.26925679508355</c:v>
                </c:pt>
                <c:pt idx="37">
                  <c:v>66.7139470744561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6.771794486508895</c:v>
                </c:pt>
                <c:pt idx="1">
                  <c:v>95.719320772699916</c:v>
                </c:pt>
                <c:pt idx="2">
                  <c:v>94.811720217250866</c:v>
                </c:pt>
                <c:pt idx="3">
                  <c:v>94.034846425555941</c:v>
                </c:pt>
                <c:pt idx="4">
                  <c:v>93.373811561460201</c:v>
                </c:pt>
                <c:pt idx="5">
                  <c:v>92.814226262064764</c:v>
                </c:pt>
                <c:pt idx="6">
                  <c:v>92.342849641377697</c:v>
                </c:pt>
                <c:pt idx="7">
                  <c:v>91.947848869176042</c:v>
                </c:pt>
                <c:pt idx="8">
                  <c:v>91.618828529410209</c:v>
                </c:pt>
                <c:pt idx="9">
                  <c:v>91.346739616867922</c:v>
                </c:pt>
                <c:pt idx="10">
                  <c:v>92.183611896216647</c:v>
                </c:pt>
                <c:pt idx="11">
                  <c:v>93.121540306295131</c:v>
                </c:pt>
                <c:pt idx="12">
                  <c:v>94.040425201439106</c:v>
                </c:pt>
                <c:pt idx="13">
                  <c:v>94.94114752100883</c:v>
                </c:pt>
                <c:pt idx="14">
                  <c:v>95.824464263125947</c:v>
                </c:pt>
                <c:pt idx="15">
                  <c:v>96.691027208258191</c:v>
                </c:pt>
                <c:pt idx="16">
                  <c:v>97.541400004950788</c:v>
                </c:pt>
                <c:pt idx="17">
                  <c:v>98.376073453968246</c:v>
                </c:pt>
                <c:pt idx="18">
                  <c:v>99.195478934196487</c:v>
                </c:pt>
                <c:pt idx="19">
                  <c:v>100</c:v>
                </c:pt>
                <c:pt idx="20">
                  <c:v>98.053378601211307</c:v>
                </c:pt>
                <c:pt idx="21">
                  <c:v>95.816753864578388</c:v>
                </c:pt>
                <c:pt idx="22">
                  <c:v>93.604790834902346</c:v>
                </c:pt>
                <c:pt idx="23">
                  <c:v>91.42514494231348</c:v>
                </c:pt>
                <c:pt idx="24">
                  <c:v>89.284044523956567</c:v>
                </c:pt>
                <c:pt idx="25">
                  <c:v>87.186553907001468</c:v>
                </c:pt>
                <c:pt idx="26">
                  <c:v>85.13671872469159</c:v>
                </c:pt>
                <c:pt idx="27">
                  <c:v>83.137655390433594</c:v>
                </c:pt>
                <c:pt idx="28">
                  <c:v>81.191652542786869</c:v>
                </c:pt>
                <c:pt idx="29">
                  <c:v>79.300324268553339</c:v>
                </c:pt>
                <c:pt idx="30">
                  <c:v>79.102414079831405</c:v>
                </c:pt>
                <c:pt idx="31">
                  <c:v>79.080117774087839</c:v>
                </c:pt>
                <c:pt idx="32">
                  <c:v>79.048494754404402</c:v>
                </c:pt>
                <c:pt idx="33">
                  <c:v>79.007835844237732</c:v>
                </c:pt>
                <c:pt idx="34">
                  <c:v>78.958409835105627</c:v>
                </c:pt>
                <c:pt idx="35">
                  <c:v>78.900466751001645</c:v>
                </c:pt>
                <c:pt idx="36">
                  <c:v>78.83424089235713</c:v>
                </c:pt>
                <c:pt idx="37">
                  <c:v>78.75995368349045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3567736031953438</c:v>
                </c:pt>
                <c:pt idx="1">
                  <c:v>0.34379866398310988</c:v>
                </c:pt>
                <c:pt idx="2">
                  <c:v>0.35172380089152644</c:v>
                </c:pt>
                <c:pt idx="3">
                  <c:v>0.35945979372098308</c:v>
                </c:pt>
                <c:pt idx="4">
                  <c:v>0.36701333388936774</c:v>
                </c:pt>
                <c:pt idx="5">
                  <c:v>0.37439080086035426</c:v>
                </c:pt>
                <c:pt idx="6">
                  <c:v>0.38159828011311486</c:v>
                </c:pt>
                <c:pt idx="7">
                  <c:v>0.38864157988403636</c:v>
                </c:pt>
                <c:pt idx="8">
                  <c:v>0.39552624677723408</c:v>
                </c:pt>
                <c:pt idx="9">
                  <c:v>0.40225758033205333</c:v>
                </c:pt>
                <c:pt idx="10">
                  <c:v>0.40884064662795583</c:v>
                </c:pt>
                <c:pt idx="11">
                  <c:v>0.41528029100020031</c:v>
                </c:pt>
                <c:pt idx="12">
                  <c:v>0.42158114993338786</c:v>
                </c:pt>
                <c:pt idx="13">
                  <c:v>0.42774766219422589</c:v>
                </c:pt>
                <c:pt idx="14">
                  <c:v>0.43378407925968759</c:v>
                </c:pt>
                <c:pt idx="15">
                  <c:v>0.4396944750920499</c:v>
                </c:pt>
                <c:pt idx="16">
                  <c:v>0.44548275530804127</c:v>
                </c:pt>
                <c:pt idx="17">
                  <c:v>0.45115266578546398</c:v>
                </c:pt>
                <c:pt idx="18">
                  <c:v>0.45670780074714973</c:v>
                </c:pt>
                <c:pt idx="19">
                  <c:v>0.46215161035890162</c:v>
                </c:pt>
                <c:pt idx="20">
                  <c:v>0.4674874078751825</c:v>
                </c:pt>
                <c:pt idx="21">
                  <c:v>0.4727183763636385</c:v>
                </c:pt>
                <c:pt idx="22">
                  <c:v>0.4778475750371437</c:v>
                </c:pt>
                <c:pt idx="23">
                  <c:v>0.4828779452198303</c:v>
                </c:pt>
                <c:pt idx="24">
                  <c:v>0.48781231597154956</c:v>
                </c:pt>
                <c:pt idx="25">
                  <c:v>0.49265340939336844</c:v>
                </c:pt>
                <c:pt idx="26">
                  <c:v>0.49740384563500356</c:v>
                </c:pt>
                <c:pt idx="27">
                  <c:v>0.50206614762354718</c:v>
                </c:pt>
                <c:pt idx="28">
                  <c:v>0.50664274553141897</c:v>
                </c:pt>
                <c:pt idx="29">
                  <c:v>0.51113598100016755</c:v>
                </c:pt>
                <c:pt idx="30">
                  <c:v>0.515548111135545</c:v>
                </c:pt>
                <c:pt idx="31">
                  <c:v>0.51988131228817869</c:v>
                </c:pt>
                <c:pt idx="32">
                  <c:v>0.52413768363314173</c:v>
                </c:pt>
                <c:pt idx="33">
                  <c:v>0.52831925056079421</c:v>
                </c:pt>
                <c:pt idx="34">
                  <c:v>0.53242796789040403</c:v>
                </c:pt>
                <c:pt idx="35">
                  <c:v>0.53646572291725725</c:v>
                </c:pt>
                <c:pt idx="36">
                  <c:v>0.54043433830323961</c:v>
                </c:pt>
                <c:pt idx="37">
                  <c:v>0.544335574820190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Feuillatte (4.5%)</c:v>
                </c:pt>
                <c:pt idx="3">
                  <c:v>Nicolas (14.4%)</c:v>
                </c:pt>
                <c:pt idx="4">
                  <c:v>Demoiselle (3.5%)</c:v>
                </c:pt>
                <c:pt idx="5">
                  <c:v>Ruinart (12.8%)</c:v>
                </c:pt>
                <c:pt idx="6">
                  <c:v>Deutz (4.8%)</c:v>
                </c:pt>
                <c:pt idx="7">
                  <c:v>Ayala (1.7%)</c:v>
                </c:pt>
                <c:pt idx="8">
                  <c:v>De Bligny (1.3%)</c:v>
                </c:pt>
                <c:pt idx="9">
                  <c:v>Laurent Perrier (3.9%)</c:v>
                </c:pt>
              </c:strCache>
            </c:strRef>
          </c:cat>
          <c:val>
            <c:numRef>
              <c:f>Sheet1!$B$2:$B$11</c:f>
              <c:numCache>
                <c:formatCode>General</c:formatCode>
                <c:ptCount val="10"/>
                <c:pt idx="0">
                  <c:v>0.16151541394058308</c:v>
                </c:pt>
                <c:pt idx="1">
                  <c:v>0.15421777405278594</c:v>
                </c:pt>
                <c:pt idx="2">
                  <c:v>0.10446594729370248</c:v>
                </c:pt>
                <c:pt idx="3">
                  <c:v>0.1036001240179905</c:v>
                </c:pt>
                <c:pt idx="4">
                  <c:v>5.3948232334387676E-2</c:v>
                </c:pt>
                <c:pt idx="5">
                  <c:v>4.1440013535542927E-2</c:v>
                </c:pt>
                <c:pt idx="6">
                  <c:v>3.3686882205071218E-2</c:v>
                </c:pt>
                <c:pt idx="7">
                  <c:v>3.117434926891071E-2</c:v>
                </c:pt>
                <c:pt idx="8">
                  <c:v>2.7957087818707982E-2</c:v>
                </c:pt>
                <c:pt idx="9">
                  <c:v>2.352771567340037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Ayala Brut Majeur 750ml (1.7%)</c:v>
                </c:pt>
                <c:pt idx="1">
                  <c:v>Champagne Taittinger Prestige Brut 750ml (1.6%)</c:v>
                </c:pt>
                <c:pt idx="2">
                  <c:v>Champagne Laurent-Perrier Blanc La Cuvée 750ml (2.7%)</c:v>
                </c:pt>
                <c:pt idx="3">
                  <c:v>Champagne Heidsieck Monopole Silver Top 750ml (4.2%)</c:v>
                </c:pt>
                <c:pt idx="4">
                  <c:v>Champagne Ruinart Brut 750ml (7.3%)</c:v>
                </c:pt>
                <c:pt idx="5">
                  <c:v>Champagne Besserat de Bellefon Bleu Brut 750ml (1.7%)</c:v>
                </c:pt>
                <c:pt idx="6">
                  <c:v>Champagne Malard Brut 1er Cru 750ml (4.1%)</c:v>
                </c:pt>
                <c:pt idx="7">
                  <c:v>Champagne Veuve Clicquot Réserve Cuvée 750ml (1.7%)</c:v>
                </c:pt>
                <c:pt idx="8">
                  <c:v>Champagne E.Nicolas Brut 750ml (11.6%)</c:v>
                </c:pt>
                <c:pt idx="9">
                  <c:v>Champagne Nicolas Feuillatte Réserve Exclusive Brut 750ml (3.0%)</c:v>
                </c:pt>
              </c:strCache>
            </c:strRef>
          </c:cat>
          <c:val>
            <c:numRef>
              <c:f>Sheet1!$B$2:$B$11</c:f>
              <c:numCache>
                <c:formatCode>General</c:formatCode>
                <c:ptCount val="10"/>
                <c:pt idx="0">
                  <c:v>7.417660725229018E-2</c:v>
                </c:pt>
                <c:pt idx="1">
                  <c:v>7.0424611990472133E-2</c:v>
                </c:pt>
                <c:pt idx="2">
                  <c:v>5.7432174853625083E-2</c:v>
                </c:pt>
                <c:pt idx="3">
                  <c:v>5.5407406705534942E-2</c:v>
                </c:pt>
                <c:pt idx="4">
                  <c:v>5.4629191904737237E-2</c:v>
                </c:pt>
                <c:pt idx="5">
                  <c:v>5.121731605668825E-2</c:v>
                </c:pt>
                <c:pt idx="6">
                  <c:v>4.4180762975555211E-2</c:v>
                </c:pt>
                <c:pt idx="7">
                  <c:v>3.7491760209020793E-2</c:v>
                </c:pt>
                <c:pt idx="8">
                  <c:v>3.701016405766254E-2</c:v>
                </c:pt>
                <c:pt idx="9">
                  <c:v>3.3239841500044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Taittinger Prestige Brut 750ml (1.6%)</c:v>
                </c:pt>
                <c:pt idx="1">
                  <c:v>Champagne Ayala Brut Majeur 750ml (1.7%)</c:v>
                </c:pt>
                <c:pt idx="2">
                  <c:v>Champagne Ruinart Brut 750ml (7.3%)</c:v>
                </c:pt>
                <c:pt idx="3">
                  <c:v>Champagne Laurent-Perrier Blanc La Cuvée 750ml (2.7%)</c:v>
                </c:pt>
                <c:pt idx="4">
                  <c:v>Champagne Veuve Clicquot Réserve Cuvée 750ml (1.7%)</c:v>
                </c:pt>
                <c:pt idx="5">
                  <c:v>Champagne Perrier-Jouët Blanc Grand Brut 750ml (0.9%)</c:v>
                </c:pt>
                <c:pt idx="6">
                  <c:v>Champagne Moët &amp; Chandon Réserve Impériale 750ml (1.1%)</c:v>
                </c:pt>
                <c:pt idx="7">
                  <c:v>Champagne Besserat de Bellefon Bleu Brut 750ml (1.7%)</c:v>
                </c:pt>
                <c:pt idx="8">
                  <c:v>Champagne Heidsieck Monopole Silver Top 750ml (4.2%)</c:v>
                </c:pt>
                <c:pt idx="9">
                  <c:v>Champagne Bollinger Special Cuvée Brut 750ml (1.2%)</c:v>
                </c:pt>
              </c:strCache>
            </c:strRef>
          </c:cat>
          <c:val>
            <c:numRef>
              <c:f>Sheet1!$B$2:$B$11</c:f>
              <c:numCache>
                <c:formatCode>General</c:formatCode>
                <c:ptCount val="10"/>
                <c:pt idx="0">
                  <c:v>0.13265609294338757</c:v>
                </c:pt>
                <c:pt idx="1">
                  <c:v>0.11687018431358494</c:v>
                </c:pt>
                <c:pt idx="2">
                  <c:v>9.9879357576609221E-2</c:v>
                </c:pt>
                <c:pt idx="3">
                  <c:v>5.1762972285986572E-2</c:v>
                </c:pt>
                <c:pt idx="4">
                  <c:v>4.9947243697904015E-2</c:v>
                </c:pt>
                <c:pt idx="5">
                  <c:v>4.0300666772428592E-2</c:v>
                </c:pt>
                <c:pt idx="6">
                  <c:v>3.559957485396064E-2</c:v>
                </c:pt>
                <c:pt idx="7">
                  <c:v>3.1129965807426052E-2</c:v>
                </c:pt>
                <c:pt idx="8">
                  <c:v>3.0751506453990163E-2</c:v>
                </c:pt>
                <c:pt idx="9">
                  <c:v>2.90800601389162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57.52989367716773</c:v>
                </c:pt>
                <c:pt idx="1">
                  <c:v>155.87377154966543</c:v>
                </c:pt>
                <c:pt idx="2">
                  <c:v>154.24971936521612</c:v>
                </c:pt>
                <c:pt idx="3">
                  <c:v>152.65689597308477</c:v>
                </c:pt>
                <c:pt idx="4">
                  <c:v>151.09448768515284</c:v>
                </c:pt>
                <c:pt idx="5">
                  <c:v>149.56170720214209</c:v>
                </c:pt>
                <c:pt idx="6">
                  <c:v>148.05779258653976</c:v>
                </c:pt>
                <c:pt idx="7">
                  <c:v>146.58200628025179</c:v>
                </c:pt>
                <c:pt idx="8">
                  <c:v>145.13363416505888</c:v>
                </c:pt>
                <c:pt idx="9">
                  <c:v>143.71198466401495</c:v>
                </c:pt>
                <c:pt idx="10">
                  <c:v>142.31638788199214</c:v>
                </c:pt>
                <c:pt idx="11">
                  <c:v>140.94619478363032</c:v>
                </c:pt>
                <c:pt idx="12">
                  <c:v>139.60077640701542</c:v>
                </c:pt>
                <c:pt idx="13">
                  <c:v>138.27952311147905</c:v>
                </c:pt>
                <c:pt idx="14">
                  <c:v>136.98184385796023</c:v>
                </c:pt>
                <c:pt idx="15">
                  <c:v>135.70716552044894</c:v>
                </c:pt>
                <c:pt idx="16">
                  <c:v>134.45493222708191</c:v>
                </c:pt>
                <c:pt idx="17">
                  <c:v>133.22460472951801</c:v>
                </c:pt>
                <c:pt idx="18">
                  <c:v>132.01565979929205</c:v>
                </c:pt>
                <c:pt idx="19">
                  <c:v>130.82758964988741</c:v>
                </c:pt>
                <c:pt idx="20">
                  <c:v>129.65990138333899</c:v>
                </c:pt>
                <c:pt idx="21">
                  <c:v>127.89067972683783</c:v>
                </c:pt>
                <c:pt idx="22">
                  <c:v>126.16540136055309</c:v>
                </c:pt>
                <c:pt idx="23">
                  <c:v>124.48256820600119</c:v>
                </c:pt>
                <c:pt idx="24">
                  <c:v>122.84074551331861</c:v>
                </c:pt>
                <c:pt idx="25">
                  <c:v>121.23855871308575</c:v>
                </c:pt>
                <c:pt idx="26">
                  <c:v>119.67469044060822</c:v>
                </c:pt>
                <c:pt idx="27">
                  <c:v>118.14787772324826</c:v>
                </c:pt>
                <c:pt idx="28">
                  <c:v>116.65690932181407</c:v>
                </c:pt>
                <c:pt idx="29">
                  <c:v>115.2006232174092</c:v>
                </c:pt>
                <c:pt idx="30">
                  <c:v>113.7779042355626</c:v>
                </c:pt>
                <c:pt idx="31">
                  <c:v>112.38768179985379</c:v>
                </c:pt>
                <c:pt idx="32">
                  <c:v>111.02892780765107</c:v>
                </c:pt>
                <c:pt idx="33">
                  <c:v>109.7006546209619</c:v>
                </c:pt>
                <c:pt idx="34">
                  <c:v>108.40191316577601</c:v>
                </c:pt>
                <c:pt idx="35">
                  <c:v>107.1317911336354</c:v>
                </c:pt>
                <c:pt idx="36">
                  <c:v>105.88941127952015</c:v>
                </c:pt>
                <c:pt idx="37">
                  <c:v>104.67392981047435</c:v>
                </c:pt>
                <c:pt idx="38">
                  <c:v>103.48453485970923</c:v>
                </c:pt>
                <c:pt idx="39">
                  <c:v>102.32044504122942</c:v>
                </c:pt>
                <c:pt idx="40">
                  <c:v>101.1809080803215</c:v>
                </c:pt>
                <c:pt idx="41">
                  <c:v>100.58705105011437</c:v>
                </c:pt>
                <c:pt idx="42">
                  <c:v>100</c:v>
                </c:pt>
                <c:pt idx="43">
                  <c:v>99.419647189230545</c:v>
                </c:pt>
                <c:pt idx="44">
                  <c:v>98.845886931461621</c:v>
                </c:pt>
                <c:pt idx="45">
                  <c:v>98.27861554895992</c:v>
                </c:pt>
                <c:pt idx="46">
                  <c:v>97.717731327999061</c:v>
                </c:pt>
                <c:pt idx="47">
                  <c:v>97.163134475414765</c:v>
                </c:pt>
                <c:pt idx="48">
                  <c:v>96.614727076283742</c:v>
                </c:pt>
                <c:pt idx="49">
                  <c:v>96.072413052689029</c:v>
                </c:pt>
                <c:pt idx="50">
                  <c:v>95.536098123546623</c:v>
                </c:pt>
                <c:pt idx="51">
                  <c:v>95.005689765452885</c:v>
                </c:pt>
                <c:pt idx="52">
                  <c:v>94.481097174534256</c:v>
                </c:pt>
                <c:pt idx="53">
                  <c:v>93.962231229256176</c:v>
                </c:pt>
                <c:pt idx="54">
                  <c:v>93.449004454176531</c:v>
                </c:pt>
                <c:pt idx="55">
                  <c:v>92.941330984603596</c:v>
                </c:pt>
                <c:pt idx="56">
                  <c:v>92.439126532144428</c:v>
                </c:pt>
                <c:pt idx="57">
                  <c:v>91.942308351105055</c:v>
                </c:pt>
                <c:pt idx="58">
                  <c:v>91.450795205728895</c:v>
                </c:pt>
                <c:pt idx="59">
                  <c:v>90.964507338241631</c:v>
                </c:pt>
                <c:pt idx="60">
                  <c:v>90.483366437683557</c:v>
                </c:pt>
                <c:pt idx="61">
                  <c:v>89.431300076787679</c:v>
                </c:pt>
                <c:pt idx="62">
                  <c:v>88.395965422877438</c:v>
                </c:pt>
                <c:pt idx="63">
                  <c:v>87.377028743760448</c:v>
                </c:pt>
                <c:pt idx="64">
                  <c:v>86.37416435667194</c:v>
                </c:pt>
                <c:pt idx="65">
                  <c:v>85.3870543918339</c:v>
                </c:pt>
                <c:pt idx="66">
                  <c:v>84.415388563723866</c:v>
                </c:pt>
                <c:pt idx="67">
                  <c:v>83.458863949874399</c:v>
                </c:pt>
                <c:pt idx="68">
                  <c:v>82.517184777013711</c:v>
                </c:pt>
                <c:pt idx="69">
                  <c:v>81.590062214347924</c:v>
                </c:pt>
                <c:pt idx="70">
                  <c:v>80.677214173792862</c:v>
                </c:pt>
                <c:pt idx="71">
                  <c:v>79.778365116950667</c:v>
                </c:pt>
                <c:pt idx="72">
                  <c:v>78.893245868626053</c:v>
                </c:pt>
                <c:pt idx="73">
                  <c:v>78.021593436684071</c:v>
                </c:pt>
                <c:pt idx="74">
                  <c:v>77.163150838040622</c:v>
                </c:pt>
                <c:pt idx="75">
                  <c:v>76.317666930589454</c:v>
                </c:pt>
                <c:pt idx="76">
                  <c:v>75.484896250862931</c:v>
                </c:pt>
                <c:pt idx="77">
                  <c:v>74.664598857229649</c:v>
                </c:pt>
                <c:pt idx="78">
                  <c:v>73.856540178439673</c:v>
                </c:pt>
                <c:pt idx="79">
                  <c:v>73.060490867319771</c:v>
                </c:pt>
                <c:pt idx="80">
                  <c:v>72.2762266594400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24.72899470371313</c:v>
                </c:pt>
                <c:pt idx="1">
                  <c:v>124.18916179871889</c:v>
                </c:pt>
                <c:pt idx="2">
                  <c:v>123.65871493667396</c:v>
                </c:pt>
                <c:pt idx="3">
                  <c:v>123.13744769473527</c:v>
                </c:pt>
                <c:pt idx="4">
                  <c:v>122.62515950542543</c:v>
                </c:pt>
                <c:pt idx="5">
                  <c:v>122.12165544729201</c:v>
                </c:pt>
                <c:pt idx="6">
                  <c:v>121.62674604276145</c:v>
                </c:pt>
                <c:pt idx="7">
                  <c:v>121.14024706312618</c:v>
                </c:pt>
                <c:pt idx="8">
                  <c:v>120.66197934057608</c:v>
                </c:pt>
                <c:pt idx="9">
                  <c:v>120.19176858716072</c:v>
                </c:pt>
                <c:pt idx="10">
                  <c:v>119.72944522055545</c:v>
                </c:pt>
                <c:pt idx="11">
                  <c:v>119.27484419647757</c:v>
                </c:pt>
                <c:pt idx="12">
                  <c:v>118.82780484759358</c:v>
                </c:pt>
                <c:pt idx="13">
                  <c:v>118.38817072874383</c:v>
                </c:pt>
                <c:pt idx="14">
                  <c:v>117.95578946830344</c:v>
                </c:pt>
                <c:pt idx="15">
                  <c:v>117.53051262549212</c:v>
                </c:pt>
                <c:pt idx="16">
                  <c:v>117.1121955534457</c:v>
                </c:pt>
                <c:pt idx="17">
                  <c:v>116.70069726784853</c:v>
                </c:pt>
                <c:pt idx="18">
                  <c:v>116.29588032093854</c:v>
                </c:pt>
                <c:pt idx="19">
                  <c:v>115.89761068068663</c:v>
                </c:pt>
                <c:pt idx="20">
                  <c:v>115.5057576149598</c:v>
                </c:pt>
                <c:pt idx="21">
                  <c:v>114.56356461479761</c:v>
                </c:pt>
                <c:pt idx="22">
                  <c:v>113.64350444397225</c:v>
                </c:pt>
                <c:pt idx="23">
                  <c:v>112.74486652979117</c:v>
                </c:pt>
                <c:pt idx="24">
                  <c:v>111.86696880441815</c:v>
                </c:pt>
                <c:pt idx="25">
                  <c:v>111.00915635043278</c:v>
                </c:pt>
                <c:pt idx="26">
                  <c:v>110.1708001149055</c:v>
                </c:pt>
                <c:pt idx="27">
                  <c:v>109.35129568897273</c:v>
                </c:pt>
                <c:pt idx="28">
                  <c:v>108.55006214994016</c:v>
                </c:pt>
                <c:pt idx="29">
                  <c:v>107.7665409629731</c:v>
                </c:pt>
                <c:pt idx="30">
                  <c:v>107.00019493951088</c:v>
                </c:pt>
                <c:pt idx="31">
                  <c:v>106.25050724960754</c:v>
                </c:pt>
                <c:pt idx="32">
                  <c:v>105.51698048549318</c:v>
                </c:pt>
                <c:pt idx="33">
                  <c:v>104.79913577373989</c:v>
                </c:pt>
                <c:pt idx="34">
                  <c:v>104.09651193351725</c:v>
                </c:pt>
                <c:pt idx="35">
                  <c:v>103.40866467851623</c:v>
                </c:pt>
                <c:pt idx="36">
                  <c:v>102.735165860227</c:v>
                </c:pt>
                <c:pt idx="37">
                  <c:v>102.07560275036008</c:v>
                </c:pt>
                <c:pt idx="38">
                  <c:v>101.42957736029632</c:v>
                </c:pt>
                <c:pt idx="39">
                  <c:v>100.79670579555567</c:v>
                </c:pt>
                <c:pt idx="40">
                  <c:v>100.17661764337579</c:v>
                </c:pt>
                <c:pt idx="41">
                  <c:v>100.0878513699198</c:v>
                </c:pt>
                <c:pt idx="42">
                  <c:v>100</c:v>
                </c:pt>
                <c:pt idx="43">
                  <c:v>99.913056428496091</c:v>
                </c:pt>
                <c:pt idx="44">
                  <c:v>99.827013491823692</c:v>
                </c:pt>
                <c:pt idx="45">
                  <c:v>99.741863972267794</c:v>
                </c:pt>
                <c:pt idx="46">
                  <c:v>99.65760060216833</c:v>
                </c:pt>
                <c:pt idx="47">
                  <c:v>99.574216067972216</c:v>
                </c:pt>
                <c:pt idx="48">
                  <c:v>99.49170301415289</c:v>
                </c:pt>
                <c:pt idx="49">
                  <c:v>99.410054046998724</c:v>
                </c:pt>
                <c:pt idx="50">
                  <c:v>99.3292617382819</c:v>
                </c:pt>
                <c:pt idx="51">
                  <c:v>99.249318628802371</c:v>
                </c:pt>
                <c:pt idx="52">
                  <c:v>99.170217231821027</c:v>
                </c:pt>
                <c:pt idx="53">
                  <c:v>99.09195003637393</c:v>
                </c:pt>
                <c:pt idx="54">
                  <c:v>99.014509510483691</c:v>
                </c:pt>
                <c:pt idx="55">
                  <c:v>98.937888104257638</c:v>
                </c:pt>
                <c:pt idx="56">
                  <c:v>98.862078252890655</c:v>
                </c:pt>
                <c:pt idx="57">
                  <c:v>98.787072379560428</c:v>
                </c:pt>
                <c:pt idx="58">
                  <c:v>98.712862898231037</c:v>
                </c:pt>
                <c:pt idx="59">
                  <c:v>98.639442216358546</c:v>
                </c:pt>
                <c:pt idx="60">
                  <c:v>98.56680273750618</c:v>
                </c:pt>
                <c:pt idx="61">
                  <c:v>97.865205737460528</c:v>
                </c:pt>
                <c:pt idx="62">
                  <c:v>97.171578629745298</c:v>
                </c:pt>
                <c:pt idx="63">
                  <c:v>96.48580059754336</c:v>
                </c:pt>
                <c:pt idx="64">
                  <c:v>95.807753193261732</c:v>
                </c:pt>
                <c:pt idx="65">
                  <c:v>95.13732027191341</c:v>
                </c:pt>
                <c:pt idx="66">
                  <c:v>94.474387926223585</c:v>
                </c:pt>
                <c:pt idx="67">
                  <c:v>93.818844423520517</c:v>
                </c:pt>
                <c:pt idx="68">
                  <c:v>93.170580144449985</c:v>
                </c:pt>
                <c:pt idx="69">
                  <c:v>92.529487523538549</c:v>
                </c:pt>
                <c:pt idx="70">
                  <c:v>91.895460991626138</c:v>
                </c:pt>
                <c:pt idx="71">
                  <c:v>91.268396920172052</c:v>
                </c:pt>
                <c:pt idx="72">
                  <c:v>90.648193567425821</c:v>
                </c:pt>
                <c:pt idx="73">
                  <c:v>90.034751026456746</c:v>
                </c:pt>
                <c:pt idx="74">
                  <c:v>89.42797117501766</c:v>
                </c:pt>
                <c:pt idx="75">
                  <c:v>88.827757627219967</c:v>
                </c:pt>
                <c:pt idx="76">
                  <c:v>88.234015686987576</c:v>
                </c:pt>
                <c:pt idx="77">
                  <c:v>87.646652303252665</c:v>
                </c:pt>
                <c:pt idx="78">
                  <c:v>87.065576026859091</c:v>
                </c:pt>
                <c:pt idx="79">
                  <c:v>86.490696969121899</c:v>
                </c:pt>
                <c:pt idx="80">
                  <c:v>85.9219267620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84.729455931426244</c:v>
                </c:pt>
                <c:pt idx="1">
                  <c:v>85.553810590507084</c:v>
                </c:pt>
                <c:pt idx="2">
                  <c:v>86.359674710861867</c:v>
                </c:pt>
                <c:pt idx="3">
                  <c:v>87.147626725258164</c:v>
                </c:pt>
                <c:pt idx="4">
                  <c:v>87.918224024664653</c:v>
                </c:pt>
                <c:pt idx="5">
                  <c:v>88.672003832524553</c:v>
                </c:pt>
                <c:pt idx="6">
                  <c:v>89.409484036341027</c:v>
                </c:pt>
                <c:pt idx="7">
                  <c:v>90.131163978957375</c:v>
                </c:pt>
                <c:pt idx="8">
                  <c:v>90.83752521177415</c:v>
                </c:pt>
                <c:pt idx="9">
                  <c:v>91.529032212012311</c:v>
                </c:pt>
                <c:pt idx="10">
                  <c:v>92.206133066015511</c:v>
                </c:pt>
                <c:pt idx="11">
                  <c:v>92.86926012045565</c:v>
                </c:pt>
                <c:pt idx="12">
                  <c:v>93.518830603203483</c:v>
                </c:pt>
                <c:pt idx="13">
                  <c:v>94.155247215518386</c:v>
                </c:pt>
                <c:pt idx="14">
                  <c:v>94.778898697109142</c:v>
                </c:pt>
                <c:pt idx="15">
                  <c:v>95.390160365532083</c:v>
                </c:pt>
                <c:pt idx="16">
                  <c:v>95.989394631299632</c:v>
                </c:pt>
                <c:pt idx="17">
                  <c:v>96.57695148998944</c:v>
                </c:pt>
                <c:pt idx="18">
                  <c:v>97.153168992573413</c:v>
                </c:pt>
                <c:pt idx="19">
                  <c:v>97.718373695104276</c:v>
                </c:pt>
                <c:pt idx="20">
                  <c:v>98.272881088840563</c:v>
                </c:pt>
                <c:pt idx="21">
                  <c:v>98.339153821555954</c:v>
                </c:pt>
                <c:pt idx="22">
                  <c:v>98.400765005130395</c:v>
                </c:pt>
                <c:pt idx="23">
                  <c:v>98.457980312018677</c:v>
                </c:pt>
                <c:pt idx="24">
                  <c:v>98.511050265462671</c:v>
                </c:pt>
                <c:pt idx="25">
                  <c:v>98.560211164307361</c:v>
                </c:pt>
                <c:pt idx="26">
                  <c:v>98.605685942072824</c:v>
                </c:pt>
                <c:pt idx="27">
                  <c:v>98.647684965708066</c:v>
                </c:pt>
                <c:pt idx="28">
                  <c:v>98.68640677898091</c:v>
                </c:pt>
                <c:pt idx="29">
                  <c:v>98.722038794999108</c:v>
                </c:pt>
                <c:pt idx="30">
                  <c:v>98.754757941969345</c:v>
                </c:pt>
                <c:pt idx="31">
                  <c:v>98.784731265923597</c:v>
                </c:pt>
                <c:pt idx="32">
                  <c:v>98.812116493817541</c:v>
                </c:pt>
                <c:pt idx="33">
                  <c:v>98.83706256009755</c:v>
                </c:pt>
                <c:pt idx="34">
                  <c:v>98.859710099568716</c:v>
                </c:pt>
                <c:pt idx="35">
                  <c:v>98.880191909133814</c:v>
                </c:pt>
                <c:pt idx="36">
                  <c:v>98.89863338075881</c:v>
                </c:pt>
                <c:pt idx="37">
                  <c:v>98.915152907812526</c:v>
                </c:pt>
                <c:pt idx="38">
                  <c:v>98.929862266739192</c:v>
                </c:pt>
                <c:pt idx="39">
                  <c:v>98.942866975857783</c:v>
                </c:pt>
                <c:pt idx="40">
                  <c:v>98.95426663293027</c:v>
                </c:pt>
                <c:pt idx="41">
                  <c:v>99.480264694919512</c:v>
                </c:pt>
                <c:pt idx="42">
                  <c:v>100</c:v>
                </c:pt>
                <c:pt idx="43">
                  <c:v>100.51358828600758</c:v>
                </c:pt>
                <c:pt idx="44">
                  <c:v>101.02114264839024</c:v>
                </c:pt>
                <c:pt idx="45">
                  <c:v>101.52277360592998</c:v>
                </c:pt>
                <c:pt idx="46">
                  <c:v>102.01858916468186</c:v>
                </c:pt>
                <c:pt idx="47">
                  <c:v>102.50869488019147</c:v>
                </c:pt>
                <c:pt idx="48">
                  <c:v>102.99319391804214</c:v>
                </c:pt>
                <c:pt idx="49">
                  <c:v>103.47218711277826</c:v>
                </c:pt>
                <c:pt idx="50">
                  <c:v>103.94577302526051</c:v>
                </c:pt>
                <c:pt idx="51">
                  <c:v>104.41404799849217</c:v>
                </c:pt>
                <c:pt idx="52">
                  <c:v>104.87710621197107</c:v>
                </c:pt>
                <c:pt idx="53">
                  <c:v>105.33503973460023</c:v>
                </c:pt>
                <c:pt idx="54">
                  <c:v>105.787938576211</c:v>
                </c:pt>
                <c:pt idx="55">
                  <c:v>106.23589073772746</c:v>
                </c:pt>
                <c:pt idx="56">
                  <c:v>106.67898226002586</c:v>
                </c:pt>
                <c:pt idx="57">
                  <c:v>107.11729727151085</c:v>
                </c:pt>
                <c:pt idx="58">
                  <c:v>107.55091803445984</c:v>
                </c:pt>
                <c:pt idx="59">
                  <c:v>107.97992499016225</c:v>
                </c:pt>
                <c:pt idx="60">
                  <c:v>108.40439680289113</c:v>
                </c:pt>
                <c:pt idx="61">
                  <c:v>108.12799603079422</c:v>
                </c:pt>
                <c:pt idx="62">
                  <c:v>107.84885669723663</c:v>
                </c:pt>
                <c:pt idx="63">
                  <c:v>107.56712026538635</c:v>
                </c:pt>
                <c:pt idx="64">
                  <c:v>107.28292350779964</c:v>
                </c:pt>
                <c:pt idx="65">
                  <c:v>106.99639865299267</c:v>
                </c:pt>
                <c:pt idx="66">
                  <c:v>106.70767352614912</c:v>
                </c:pt>
                <c:pt idx="67">
                  <c:v>106.41687168432949</c:v>
                </c:pt>
                <c:pt idx="68">
                  <c:v>106.12411254651821</c:v>
                </c:pt>
                <c:pt idx="69">
                  <c:v>105.82951151881514</c:v>
                </c:pt>
                <c:pt idx="70">
                  <c:v>105.53318011507015</c:v>
                </c:pt>
                <c:pt idx="71">
                  <c:v>105.23522607322629</c:v>
                </c:pt>
                <c:pt idx="72">
                  <c:v>104.93575346761781</c:v>
                </c:pt>
                <c:pt idx="73">
                  <c:v>104.63486281746124</c:v>
                </c:pt>
                <c:pt idx="74">
                  <c:v>104.33265119174604</c:v>
                </c:pt>
                <c:pt idx="75">
                  <c:v>104.0292123107287</c:v>
                </c:pt>
                <c:pt idx="76">
                  <c:v>103.72463664420984</c:v>
                </c:pt>
                <c:pt idx="77">
                  <c:v>103.41901150676318</c:v>
                </c:pt>
                <c:pt idx="78">
                  <c:v>103.11242115007776</c:v>
                </c:pt>
                <c:pt idx="79">
                  <c:v>102.80494685254844</c:v>
                </c:pt>
                <c:pt idx="80">
                  <c:v>102.49666700625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3093802816104097</c:v>
                </c:pt>
                <c:pt idx="1">
                  <c:v>0.31372380185185367</c:v>
                </c:pt>
                <c:pt idx="2">
                  <c:v>0.31801302809027948</c:v>
                </c:pt>
                <c:pt idx="3">
                  <c:v>0.32224897201518465</c:v>
                </c:pt>
                <c:pt idx="4">
                  <c:v>0.32643262033607851</c:v>
                </c:pt>
                <c:pt idx="5">
                  <c:v>0.3305649355487405</c:v>
                </c:pt>
                <c:pt idx="6">
                  <c:v>0.3346468566734434</c:v>
                </c:pt>
                <c:pt idx="7">
                  <c:v>0.33867929996633156</c:v>
                </c:pt>
                <c:pt idx="8">
                  <c:v>0.3426631596050887</c:v>
                </c:pt>
                <c:pt idx="9">
                  <c:v>0.34659930834996838</c:v>
                </c:pt>
                <c:pt idx="10">
                  <c:v>0.35048859818121858</c:v>
                </c:pt>
                <c:pt idx="11">
                  <c:v>0.35433186091387397</c:v>
                </c:pt>
                <c:pt idx="12">
                  <c:v>0.35812990879085133</c:v>
                </c:pt>
                <c:pt idx="13">
                  <c:v>0.36188353505523235</c:v>
                </c:pt>
                <c:pt idx="14">
                  <c:v>0.36559351450258565</c:v>
                </c:pt>
                <c:pt idx="15">
                  <c:v>0.3692606040141313</c:v>
                </c:pt>
                <c:pt idx="16">
                  <c:v>0.37288554307152144</c:v>
                </c:pt>
                <c:pt idx="17">
                  <c:v>0.37646905425396987</c:v>
                </c:pt>
                <c:pt idx="18">
                  <c:v>0.38001184371843583</c:v>
                </c:pt>
                <c:pt idx="19">
                  <c:v>0.38351460166352946</c:v>
                </c:pt>
                <c:pt idx="20">
                  <c:v>0.38697800277777933</c:v>
                </c:pt>
                <c:pt idx="21">
                  <c:v>0.39040270667287552</c:v>
                </c:pt>
                <c:pt idx="22">
                  <c:v>0.39378935830247069</c:v>
                </c:pt>
                <c:pt idx="23">
                  <c:v>0.39713858836709792</c:v>
                </c:pt>
                <c:pt idx="24">
                  <c:v>0.4004510137057401</c:v>
                </c:pt>
                <c:pt idx="25">
                  <c:v>0.4037272376745612</c:v>
                </c:pt>
                <c:pt idx="26">
                  <c:v>0.40696785051328638</c:v>
                </c:pt>
                <c:pt idx="27">
                  <c:v>0.41017342969970122</c:v>
                </c:pt>
                <c:pt idx="28">
                  <c:v>0.41334454029271356</c:v>
                </c:pt>
                <c:pt idx="29">
                  <c:v>0.41648173526441029</c:v>
                </c:pt>
                <c:pt idx="30">
                  <c:v>0.41958555582151447</c:v>
                </c:pt>
                <c:pt idx="31">
                  <c:v>0.42265653171663869</c:v>
                </c:pt>
                <c:pt idx="32">
                  <c:v>0.42569518154970909</c:v>
                </c:pt>
                <c:pt idx="33">
                  <c:v>0.42870201305992001</c:v>
                </c:pt>
                <c:pt idx="34">
                  <c:v>0.43167752340856624</c:v>
                </c:pt>
                <c:pt idx="35">
                  <c:v>0.43462219945308145</c:v>
                </c:pt>
                <c:pt idx="36">
                  <c:v>0.43753651801260152</c:v>
                </c:pt>
                <c:pt idx="37">
                  <c:v>0.44042094612535765</c:v>
                </c:pt>
                <c:pt idx="38">
                  <c:v>0.44327594129818743</c:v>
                </c:pt>
                <c:pt idx="39">
                  <c:v>0.4461019517484503</c:v>
                </c:pt>
                <c:pt idx="40">
                  <c:v>0.44889941663860972</c:v>
                </c:pt>
                <c:pt idx="41">
                  <c:v>0.45166876630374225</c:v>
                </c:pt>
                <c:pt idx="42">
                  <c:v>0.45441042247222352</c:v>
                </c:pt>
                <c:pt idx="43">
                  <c:v>0.45712479847982446</c:v>
                </c:pt>
                <c:pt idx="44">
                  <c:v>0.45981229947744917</c:v>
                </c:pt>
                <c:pt idx="45">
                  <c:v>0.46247332263273255</c:v>
                </c:pt>
                <c:pt idx="46">
                  <c:v>0.46510825732570948</c:v>
                </c:pt>
                <c:pt idx="47">
                  <c:v>0.46771748533875473</c:v>
                </c:pt>
                <c:pt idx="48">
                  <c:v>0.47030138104099378</c:v>
                </c:pt>
                <c:pt idx="49">
                  <c:v>0.47286031156736585</c:v>
                </c:pt>
                <c:pt idx="50">
                  <c:v>0.47539463699252271</c:v>
                </c:pt>
                <c:pt idx="51">
                  <c:v>0.47790471049973549</c:v>
                </c:pt>
                <c:pt idx="52">
                  <c:v>0.48039087854497486</c:v>
                </c:pt>
                <c:pt idx="53">
                  <c:v>0.48285348101632558</c:v>
                </c:pt>
                <c:pt idx="54">
                  <c:v>0.48529285138889022</c:v>
                </c:pt>
                <c:pt idx="55">
                  <c:v>0.48770931687532731</c:v>
                </c:pt>
                <c:pt idx="56">
                  <c:v>0.49010319857217161</c:v>
                </c:pt>
                <c:pt idx="57">
                  <c:v>0.49247481160206846</c:v>
                </c:pt>
                <c:pt idx="58">
                  <c:v>0.49482446525205886</c:v>
                </c:pt>
                <c:pt idx="59">
                  <c:v>0.49715246310804012</c:v>
                </c:pt>
                <c:pt idx="60">
                  <c:v>0.49945910318552617</c:v>
                </c:pt>
                <c:pt idx="61">
                  <c:v>0.50174467805682521</c:v>
                </c:pt>
                <c:pt idx="62">
                  <c:v>0.50400947497474879</c:v>
                </c:pt>
                <c:pt idx="63">
                  <c:v>0.50625377599296262</c:v>
                </c:pt>
                <c:pt idx="64">
                  <c:v>0.50847785808308432</c:v>
                </c:pt>
                <c:pt idx="65">
                  <c:v>0.51068199324863095</c:v>
                </c:pt>
                <c:pt idx="66">
                  <c:v>0.51286644863591391</c:v>
                </c:pt>
                <c:pt idx="67">
                  <c:v>0.51503148664197662</c:v>
                </c:pt>
                <c:pt idx="68">
                  <c:v>0.51717736501966693</c:v>
                </c:pt>
                <c:pt idx="69">
                  <c:v>0.51930433697993272</c:v>
                </c:pt>
                <c:pt idx="70">
                  <c:v>0.52141265129142411</c:v>
                </c:pt>
                <c:pt idx="71">
                  <c:v>0.52350255237748788</c:v>
                </c:pt>
                <c:pt idx="72">
                  <c:v>0.52557428041062926</c:v>
                </c:pt>
                <c:pt idx="73">
                  <c:v>0.52762807140452261</c:v>
                </c:pt>
                <c:pt idx="74">
                  <c:v>0.52966415730364103</c:v>
                </c:pt>
                <c:pt idx="75">
                  <c:v>0.53168276607057818</c:v>
                </c:pt>
                <c:pt idx="76">
                  <c:v>0.53368412177113123</c:v>
                </c:pt>
                <c:pt idx="77">
                  <c:v>0.53566844465721153</c:v>
                </c:pt>
                <c:pt idx="78">
                  <c:v>0.53763595124764718</c:v>
                </c:pt>
                <c:pt idx="79">
                  <c:v>0.53958685440693976</c:v>
                </c:pt>
                <c:pt idx="80">
                  <c:v>0.541521363422036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rut (étui) 750ml (1.2%)</c:v>
                </c:pt>
                <c:pt idx="4">
                  <c:v>Champagne Ruinart Blanc de Blancs 750ml (2.0%)</c:v>
                </c:pt>
                <c:pt idx="5">
                  <c:v>Champagne Vranken Demoiselle Rosé Prestige 750ml (2.0%)</c:v>
                </c:pt>
                <c:pt idx="6">
                  <c:v>Champagne Laurent-Perrier Blanc La Cuvée 750ml (2.7%)</c:v>
                </c:pt>
                <c:pt idx="7">
                  <c:v>Champagne Bollinger Special Cuvée Brut 750ml (1.2%)</c:v>
                </c:pt>
                <c:pt idx="8">
                  <c:v>Champagne Nicolas Feuillatte Réserve Exclusive Brut 750ml (3.0%)</c:v>
                </c:pt>
                <c:pt idx="9">
                  <c:v>Champagne Malard Brut 1er Cru 750ml (4.1%)</c:v>
                </c:pt>
              </c:strCache>
            </c:strRef>
          </c:cat>
          <c:val>
            <c:numRef>
              <c:f>Sheet1!$B$2:$B$11</c:f>
              <c:numCache>
                <c:formatCode>General</c:formatCode>
                <c:ptCount val="10"/>
                <c:pt idx="0">
                  <c:v>0.12267250172189983</c:v>
                </c:pt>
                <c:pt idx="1">
                  <c:v>5.9535441456521065E-2</c:v>
                </c:pt>
                <c:pt idx="2">
                  <c:v>4.6491766570734054E-2</c:v>
                </c:pt>
                <c:pt idx="3">
                  <c:v>3.5573306117935292E-2</c:v>
                </c:pt>
                <c:pt idx="4">
                  <c:v>3.5359892911389759E-2</c:v>
                </c:pt>
                <c:pt idx="5">
                  <c:v>3.383814340610556E-2</c:v>
                </c:pt>
                <c:pt idx="6">
                  <c:v>2.9504989266913802E-2</c:v>
                </c:pt>
                <c:pt idx="7">
                  <c:v>2.6272299178610434E-2</c:v>
                </c:pt>
                <c:pt idx="8">
                  <c:v>2.3700416017084218E-2</c:v>
                </c:pt>
                <c:pt idx="9">
                  <c:v>2.266960838429152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lanc de Blancs 750ml (2.0%)</c:v>
                </c:pt>
                <c:pt idx="4">
                  <c:v>Champagne Ruinart Brut (étui) 750ml (1.2%)</c:v>
                </c:pt>
                <c:pt idx="5">
                  <c:v>Champagne Ruinart Blanc de Blancs (étui) 750ml (0.8%)</c:v>
                </c:pt>
                <c:pt idx="6">
                  <c:v>Champagne Ruinart Brut (étui) 1500ml (0.7%)</c:v>
                </c:pt>
                <c:pt idx="7">
                  <c:v>Champagne Laurent-Perrier Blanc La Cuvée 1500ml (0.8%)</c:v>
                </c:pt>
                <c:pt idx="8">
                  <c:v>Champagne Vranken Demoiselle Rosé Prestige 750ml (2.0%)</c:v>
                </c:pt>
                <c:pt idx="9">
                  <c:v>Champagne Laurent-Perrier Blanc La Cuvée 750ml (2.7%)</c:v>
                </c:pt>
              </c:strCache>
            </c:strRef>
          </c:cat>
          <c:val>
            <c:numRef>
              <c:f>Sheet1!$B$2:$B$11</c:f>
              <c:numCache>
                <c:formatCode>General</c:formatCode>
                <c:ptCount val="10"/>
                <c:pt idx="0">
                  <c:v>9.0990854733988893E-2</c:v>
                </c:pt>
                <c:pt idx="1">
                  <c:v>5.2519948030385608E-2</c:v>
                </c:pt>
                <c:pt idx="2">
                  <c:v>5.2295999630618699E-2</c:v>
                </c:pt>
                <c:pt idx="3">
                  <c:v>4.2277280570230752E-2</c:v>
                </c:pt>
                <c:pt idx="4">
                  <c:v>3.4278285486201029E-2</c:v>
                </c:pt>
                <c:pt idx="5">
                  <c:v>3.3795327360940111E-2</c:v>
                </c:pt>
                <c:pt idx="6">
                  <c:v>3.1005072097778648E-2</c:v>
                </c:pt>
                <c:pt idx="7">
                  <c:v>2.9669579539441829E-2</c:v>
                </c:pt>
                <c:pt idx="8">
                  <c:v>2.9298531890026812E-2</c:v>
                </c:pt>
                <c:pt idx="9">
                  <c:v>2.78023860851465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93.40173174940904</c:v>
                </c:pt>
                <c:pt idx="1">
                  <c:v>187.99315546538037</c:v>
                </c:pt>
                <c:pt idx="2">
                  <c:v>182.86718447532417</c:v>
                </c:pt>
                <c:pt idx="3">
                  <c:v>178.00357478043293</c:v>
                </c:pt>
                <c:pt idx="4">
                  <c:v>173.11557852717257</c:v>
                </c:pt>
                <c:pt idx="5">
                  <c:v>166.20225442626884</c:v>
                </c:pt>
                <c:pt idx="6">
                  <c:v>159.76876749483739</c:v>
                </c:pt>
                <c:pt idx="7">
                  <c:v>153.76702122665449</c:v>
                </c:pt>
                <c:pt idx="8">
                  <c:v>148.15485608369434</c:v>
                </c:pt>
                <c:pt idx="9">
                  <c:v>142.89526470349657</c:v>
                </c:pt>
                <c:pt idx="10">
                  <c:v>137.95570383468393</c:v>
                </c:pt>
                <c:pt idx="11">
                  <c:v>133.30749532717704</c:v>
                </c:pt>
                <c:pt idx="12">
                  <c:v>128.92530728413021</c:v>
                </c:pt>
                <c:pt idx="13">
                  <c:v>124.78670625433072</c:v>
                </c:pt>
                <c:pt idx="14">
                  <c:v>121.05729851047361</c:v>
                </c:pt>
                <c:pt idx="15">
                  <c:v>119.12181387056344</c:v>
                </c:pt>
                <c:pt idx="16">
                  <c:v>117.23721297905951</c:v>
                </c:pt>
                <c:pt idx="17">
                  <c:v>115.40159932231846</c:v>
                </c:pt>
                <c:pt idx="18">
                  <c:v>113.61316742314943</c:v>
                </c:pt>
                <c:pt idx="19">
                  <c:v>111.87019758142993</c:v>
                </c:pt>
                <c:pt idx="20">
                  <c:v>110.17105098180053</c:v>
                </c:pt>
                <c:pt idx="21">
                  <c:v>108.51416513417347</c:v>
                </c:pt>
                <c:pt idx="22">
                  <c:v>106.89804961720991</c:v>
                </c:pt>
                <c:pt idx="23">
                  <c:v>103.36492052468454</c:v>
                </c:pt>
                <c:pt idx="24">
                  <c:v>100</c:v>
                </c:pt>
                <c:pt idx="25">
                  <c:v>96.792611311049811</c:v>
                </c:pt>
                <c:pt idx="26">
                  <c:v>93.732793191847975</c:v>
                </c:pt>
                <c:pt idx="27">
                  <c:v>90.811263077426389</c:v>
                </c:pt>
                <c:pt idx="28">
                  <c:v>88.019380881486668</c:v>
                </c:pt>
                <c:pt idx="29">
                  <c:v>85.349113638763313</c:v>
                </c:pt>
                <c:pt idx="30">
                  <c:v>82.79300121367929</c:v>
                </c:pt>
                <c:pt idx="31">
                  <c:v>80.344123176314412</c:v>
                </c:pt>
                <c:pt idx="32">
                  <c:v>77.996066866235836</c:v>
                </c:pt>
                <c:pt idx="33">
                  <c:v>75.742896604428438</c:v>
                </c:pt>
                <c:pt idx="34">
                  <c:v>73.579123973073379</c:v>
                </c:pt>
                <c:pt idx="35">
                  <c:v>71.499679061580196</c:v>
                </c:pt>
                <c:pt idx="36">
                  <c:v>69.499882573694507</c:v>
                </c:pt>
                <c:pt idx="37">
                  <c:v>67.575418702679428</c:v>
                </c:pt>
                <c:pt idx="38">
                  <c:v>65.722308706668628</c:v>
                </c:pt>
                <c:pt idx="39">
                  <c:v>63.936885150904466</c:v>
                </c:pt>
                <c:pt idx="40">
                  <c:v>62.215766823598315</c:v>
                </c:pt>
                <c:pt idx="41">
                  <c:v>60.555834373366721</c:v>
                </c:pt>
                <c:pt idx="42">
                  <c:v>58.9542067542865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54.82206633110385</c:v>
                </c:pt>
                <c:pt idx="1">
                  <c:v>152.05325507655161</c:v>
                </c:pt>
                <c:pt idx="2">
                  <c:v>149.4256704789421</c:v>
                </c:pt>
                <c:pt idx="3">
                  <c:v>146.9296230265696</c:v>
                </c:pt>
                <c:pt idx="4">
                  <c:v>144.33278547418124</c:v>
                </c:pt>
                <c:pt idx="5">
                  <c:v>139.9514728101903</c:v>
                </c:pt>
                <c:pt idx="6">
                  <c:v>135.86342129644299</c:v>
                </c:pt>
                <c:pt idx="7">
                  <c:v>132.03925504639597</c:v>
                </c:pt>
                <c:pt idx="8">
                  <c:v>128.45315607074846</c:v>
                </c:pt>
                <c:pt idx="9">
                  <c:v>125.08242170150636</c:v>
                </c:pt>
                <c:pt idx="10">
                  <c:v>121.90706895028582</c:v>
                </c:pt>
                <c:pt idx="11">
                  <c:v>118.90948443198626</c:v>
                </c:pt>
                <c:pt idx="12">
                  <c:v>116.07411691498942</c:v>
                </c:pt>
                <c:pt idx="13">
                  <c:v>113.38720878920677</c:v>
                </c:pt>
                <c:pt idx="14">
                  <c:v>111.0062217321522</c:v>
                </c:pt>
                <c:pt idx="15">
                  <c:v>110.21903674246438</c:v>
                </c:pt>
                <c:pt idx="16">
                  <c:v>109.44735643734941</c:v>
                </c:pt>
                <c:pt idx="17">
                  <c:v>108.69065291383787</c:v>
                </c:pt>
                <c:pt idx="18">
                  <c:v>107.94842241116392</c:v>
                </c:pt>
                <c:pt idx="19">
                  <c:v>107.22018399983469</c:v>
                </c:pt>
                <c:pt idx="20">
                  <c:v>106.50547836787617</c:v>
                </c:pt>
                <c:pt idx="21">
                  <c:v>105.80386669176922</c:v>
                </c:pt>
                <c:pt idx="22">
                  <c:v>105.11492958170143</c:v>
                </c:pt>
                <c:pt idx="23">
                  <c:v>102.50275849162014</c:v>
                </c:pt>
                <c:pt idx="24">
                  <c:v>100</c:v>
                </c:pt>
                <c:pt idx="25">
                  <c:v>97.600074844313994</c:v>
                </c:pt>
                <c:pt idx="26">
                  <c:v>95.296778313059818</c:v>
                </c:pt>
                <c:pt idx="27">
                  <c:v>93.084271884922487</c:v>
                </c:pt>
                <c:pt idx="28">
                  <c:v>90.95707366211488</c:v>
                </c:pt>
                <c:pt idx="29">
                  <c:v>88.910047955157552</c:v>
                </c:pt>
                <c:pt idx="30">
                  <c:v>86.938394272757634</c:v>
                </c:pt>
                <c:pt idx="31">
                  <c:v>85.037635878646327</c:v>
                </c:pt>
                <c:pt idx="32">
                  <c:v>83.203607999178146</c:v>
                </c:pt>
                <c:pt idx="33">
                  <c:v>81.432445702930238</c:v>
                </c:pt>
                <c:pt idx="34">
                  <c:v>79.72057142778128</c:v>
                </c:pt>
                <c:pt idx="35">
                  <c:v>78.064682102927591</c:v>
                </c:pt>
                <c:pt idx="36">
                  <c:v>76.461735803083897</c:v>
                </c:pt>
                <c:pt idx="37">
                  <c:v>74.908937878998117</c:v>
                </c:pt>
                <c:pt idx="38">
                  <c:v>73.403726530548525</c:v>
                </c:pt>
                <c:pt idx="39">
                  <c:v>71.94375782334464</c:v>
                </c:pt>
                <c:pt idx="40">
                  <c:v>70.526890193090679</c:v>
                </c:pt>
                <c:pt idx="41">
                  <c:v>69.151168529626133</c:v>
                </c:pt>
                <c:pt idx="42">
                  <c:v>67.8148079797133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106.01095596158842</c:v>
                </c:pt>
                <c:pt idx="1">
                  <c:v>106.58575852853059</c:v>
                </c:pt>
                <c:pt idx="2">
                  <c:v>107.12244893544498</c:v>
                </c:pt>
                <c:pt idx="3">
                  <c:v>107.6247495325275</c:v>
                </c:pt>
                <c:pt idx="4">
                  <c:v>107.92870657071536</c:v>
                </c:pt>
                <c:pt idx="5">
                  <c:v>106.74778526862343</c:v>
                </c:pt>
                <c:pt idx="6">
                  <c:v>105.623764196229</c:v>
                </c:pt>
                <c:pt idx="7">
                  <c:v>104.55104350968507</c:v>
                </c:pt>
                <c:pt idx="8">
                  <c:v>103.52454971648672</c:v>
                </c:pt>
                <c:pt idx="9">
                  <c:v>102.53973141183725</c:v>
                </c:pt>
                <c:pt idx="10">
                  <c:v>101.59253759262296</c:v>
                </c:pt>
                <c:pt idx="11">
                  <c:v>100.67938550176889</c:v>
                </c:pt>
                <c:pt idx="12">
                  <c:v>99.797122855973655</c:v>
                </c:pt>
                <c:pt idx="13">
                  <c:v>98.942987789352927</c:v>
                </c:pt>
                <c:pt idx="14">
                  <c:v>98.265165403405447</c:v>
                </c:pt>
                <c:pt idx="15">
                  <c:v>98.936858118287645</c:v>
                </c:pt>
                <c:pt idx="16">
                  <c:v>99.578889549089766</c:v>
                </c:pt>
                <c:pt idx="17">
                  <c:v>100.19248717938811</c:v>
                </c:pt>
                <c:pt idx="18">
                  <c:v>100.7788164183647</c:v>
                </c:pt>
                <c:pt idx="19">
                  <c:v>101.33898440649951</c:v>
                </c:pt>
                <c:pt idx="20">
                  <c:v>101.87404356657039</c:v>
                </c:pt>
                <c:pt idx="21">
                  <c:v>102.38499491600659</c:v>
                </c:pt>
                <c:pt idx="22">
                  <c:v>102.87279115573742</c:v>
                </c:pt>
                <c:pt idx="23">
                  <c:v>101.41881148690825</c:v>
                </c:pt>
                <c:pt idx="24">
                  <c:v>100</c:v>
                </c:pt>
                <c:pt idx="25">
                  <c:v>98.614979815821371</c:v>
                </c:pt>
                <c:pt idx="26">
                  <c:v>97.262312395088813</c:v>
                </c:pt>
                <c:pt idx="27">
                  <c:v>95.940526049132217</c:v>
                </c:pt>
                <c:pt idx="28">
                  <c:v>94.648140881046743</c:v>
                </c:pt>
                <c:pt idx="29">
                  <c:v>93.383690581089013</c:v>
                </c:pt>
                <c:pt idx="30">
                  <c:v>92.145741414630862</c:v>
                </c:pt>
                <c:pt idx="31">
                  <c:v>90.932908657536501</c:v>
                </c:pt>
                <c:pt idx="32">
                  <c:v>89.743870656450014</c:v>
                </c:pt>
                <c:pt idx="33">
                  <c:v>88.577380624045801</c:v>
                </c:pt>
                <c:pt idx="34">
                  <c:v>87.432276225191913</c:v>
                </c:pt>
                <c:pt idx="35">
                  <c:v>86.307486972125332</c:v>
                </c:pt>
                <c:pt idx="36">
                  <c:v>85.202039427044838</c:v>
                </c:pt>
                <c:pt idx="37">
                  <c:v>84.115060209839797</c:v>
                </c:pt>
                <c:pt idx="38">
                  <c:v>83.045776826381086</c:v>
                </c:pt>
                <c:pt idx="39">
                  <c:v>81.993516366964499</c:v>
                </c:pt>
                <c:pt idx="40">
                  <c:v>80.957702171565288</c:v>
                </c:pt>
                <c:pt idx="41">
                  <c:v>79.937848613982695</c:v>
                </c:pt>
                <c:pt idx="42">
                  <c:v>78.9335542151776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30326700674615992</c:v>
                </c:pt>
                <c:pt idx="1">
                  <c:v>0.31044982110960151</c:v>
                </c:pt>
                <c:pt idx="2">
                  <c:v>0.31748604742480979</c:v>
                </c:pt>
                <c:pt idx="3">
                  <c:v>0.32438012775385205</c:v>
                </c:pt>
                <c:pt idx="4">
                  <c:v>0.33113632647631358</c:v>
                </c:pt>
                <c:pt idx="5">
                  <c:v>0.33775873908545895</c:v>
                </c:pt>
                <c:pt idx="6">
                  <c:v>0.34425130046697394</c:v>
                </c:pt>
                <c:pt idx="7">
                  <c:v>0.35061779269545007</c:v>
                </c:pt>
                <c:pt idx="8">
                  <c:v>0.35686185238107082</c:v>
                </c:pt>
                <c:pt idx="9">
                  <c:v>0.3629869775964889</c:v>
                </c:pt>
                <c:pt idx="10">
                  <c:v>0.36899653441161639</c:v>
                </c:pt>
                <c:pt idx="11">
                  <c:v>0.37489376306197525</c:v>
                </c:pt>
                <c:pt idx="12">
                  <c:v>0.38068178377436429</c:v>
                </c:pt>
                <c:pt idx="13">
                  <c:v>0.3863636022718473</c:v>
                </c:pt>
                <c:pt idx="14">
                  <c:v>0.39194211497846682</c:v>
                </c:pt>
                <c:pt idx="15">
                  <c:v>0.39742011394262483</c:v>
                </c:pt>
                <c:pt idx="16">
                  <c:v>0.4028002914967086</c:v>
                </c:pt>
                <c:pt idx="17">
                  <c:v>0.40808524466930401</c:v>
                </c:pt>
                <c:pt idx="18">
                  <c:v>0.41327747936518733</c:v>
                </c:pt>
                <c:pt idx="19">
                  <c:v>0.41837941432722919</c:v>
                </c:pt>
                <c:pt idx="20">
                  <c:v>0.42339338489337364</c:v>
                </c:pt>
                <c:pt idx="21">
                  <c:v>0.42832164656095173</c:v>
                </c:pt>
                <c:pt idx="22">
                  <c:v>0.43316637836975719</c:v>
                </c:pt>
                <c:pt idx="23">
                  <c:v>0.43792968611454913</c:v>
                </c:pt>
                <c:pt idx="24">
                  <c:v>0.44261360539692784</c:v>
                </c:pt>
                <c:pt idx="25">
                  <c:v>0.4472201045258789</c:v>
                </c:pt>
                <c:pt idx="26">
                  <c:v>0.45175108727566682</c:v>
                </c:pt>
                <c:pt idx="27">
                  <c:v>0.45620839550919801</c:v>
                </c:pt>
                <c:pt idx="28">
                  <c:v>0.46059381167444635</c:v>
                </c:pt>
                <c:pt idx="29">
                  <c:v>0.46490906118105074</c:v>
                </c:pt>
                <c:pt idx="30">
                  <c:v>0.4691558146637409</c:v>
                </c:pt>
                <c:pt idx="31">
                  <c:v>0.47333569013882953</c:v>
                </c:pt>
                <c:pt idx="32">
                  <c:v>0.47745025505961991</c:v>
                </c:pt>
                <c:pt idx="33">
                  <c:v>0.48150102827621194</c:v>
                </c:pt>
                <c:pt idx="34">
                  <c:v>0.48548948190485641</c:v>
                </c:pt>
                <c:pt idx="35">
                  <c:v>0.48941704311168971</c:v>
                </c:pt>
                <c:pt idx="36">
                  <c:v>0.49328509581538899</c:v>
                </c:pt>
                <c:pt idx="37">
                  <c:v>0.49709498231301769</c:v>
                </c:pt>
                <c:pt idx="38">
                  <c:v>0.50084800483306968</c:v>
                </c:pt>
                <c:pt idx="39">
                  <c:v>0.50454542701949145</c:v>
                </c:pt>
                <c:pt idx="40">
                  <c:v>0.5081884753502306</c:v>
                </c:pt>
                <c:pt idx="41">
                  <c:v>0.51177834049365944</c:v>
                </c:pt>
                <c:pt idx="42">
                  <c:v>0.51531617860602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Laurent-Perrier Blanc La Cuvée 750ml (2.7%)</c:v>
                </c:pt>
                <c:pt idx="3">
                  <c:v>Champagne E.Nicolas Brut 750ml (11.6%)</c:v>
                </c:pt>
                <c:pt idx="4">
                  <c:v>Champagne Vranken Demoiselle Rosé Prestige 750ml (2.0%)</c:v>
                </c:pt>
                <c:pt idx="5">
                  <c:v>Champagne Taittinger Prestige Brut 750ml (1.6%)</c:v>
                </c:pt>
                <c:pt idx="6">
                  <c:v>Champagne Heidsieck Monopole Silver Top 750ml (4.2%)</c:v>
                </c:pt>
                <c:pt idx="7">
                  <c:v>Champagne Besserat de Bellefon Bleu Brut 750ml (1.7%)</c:v>
                </c:pt>
                <c:pt idx="8">
                  <c:v>Champagne Nicolas Feuillatte Réserve Exclusive Brut 750ml (3.0%)</c:v>
                </c:pt>
                <c:pt idx="9">
                  <c:v>Champagne Perrier-Jouët Blanc Grand Brut 750ml (0.9%)</c:v>
                </c:pt>
              </c:strCache>
            </c:strRef>
          </c:cat>
          <c:val>
            <c:numRef>
              <c:f>Sheet1!$B$2:$B$11</c:f>
              <c:numCache>
                <c:formatCode>General</c:formatCode>
                <c:ptCount val="10"/>
                <c:pt idx="0">
                  <c:v>0.10810936822867619</c:v>
                </c:pt>
                <c:pt idx="1">
                  <c:v>7.4734398889031189E-2</c:v>
                </c:pt>
                <c:pt idx="2">
                  <c:v>5.0900606368474641E-2</c:v>
                </c:pt>
                <c:pt idx="3">
                  <c:v>4.4135207691080973E-2</c:v>
                </c:pt>
                <c:pt idx="4">
                  <c:v>4.3119258517121471E-2</c:v>
                </c:pt>
                <c:pt idx="5">
                  <c:v>3.1799132583510144E-2</c:v>
                </c:pt>
                <c:pt idx="6">
                  <c:v>3.0545228911491862E-2</c:v>
                </c:pt>
                <c:pt idx="7">
                  <c:v>2.9578003157424114E-2</c:v>
                </c:pt>
                <c:pt idx="8">
                  <c:v>2.9342407273063278E-2</c:v>
                </c:pt>
                <c:pt idx="9">
                  <c:v>2.875427991345787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Vranken Demoiselle Rosé Prestige 750ml (2.0%)</c:v>
                </c:pt>
                <c:pt idx="3">
                  <c:v>Champagne Laurent-Perrier Blanc La Cuvée 750ml (2.7%)</c:v>
                </c:pt>
                <c:pt idx="4">
                  <c:v>Champagne E.Nicolas Brut 750ml (11.6%)</c:v>
                </c:pt>
                <c:pt idx="5">
                  <c:v>Champagne Perrier-Jouët Blanc Grand Brut 750ml (0.9%)</c:v>
                </c:pt>
                <c:pt idx="6">
                  <c:v>Champagne Taittinger Prestige Brut 750ml (1.6%)</c:v>
                </c:pt>
                <c:pt idx="7">
                  <c:v>Champagne Nicolas Feuillatte Réserve Exclusive Brut 750ml (3.0%)</c:v>
                </c:pt>
                <c:pt idx="8">
                  <c:v>Champagne Besserat de Bellefon Bleu Brut 750ml (1.7%)</c:v>
                </c:pt>
                <c:pt idx="9">
                  <c:v>Champagne Heidsieck Monopole Silver Top 750ml (4.2%)</c:v>
                </c:pt>
              </c:strCache>
            </c:strRef>
          </c:cat>
          <c:val>
            <c:numRef>
              <c:f>Sheet1!$B$2:$B$11</c:f>
              <c:numCache>
                <c:formatCode>General</c:formatCode>
                <c:ptCount val="10"/>
                <c:pt idx="0">
                  <c:v>0.11475685365040364</c:v>
                </c:pt>
                <c:pt idx="1">
                  <c:v>7.8734176243819842E-2</c:v>
                </c:pt>
                <c:pt idx="2">
                  <c:v>6.0802672335318893E-2</c:v>
                </c:pt>
                <c:pt idx="3">
                  <c:v>5.1302237985052811E-2</c:v>
                </c:pt>
                <c:pt idx="4">
                  <c:v>3.4728808873677339E-2</c:v>
                </c:pt>
                <c:pt idx="5">
                  <c:v>3.3692295150275935E-2</c:v>
                </c:pt>
                <c:pt idx="6">
                  <c:v>2.893269433977836E-2</c:v>
                </c:pt>
                <c:pt idx="7">
                  <c:v>2.5359640863723519E-2</c:v>
                </c:pt>
                <c:pt idx="8">
                  <c:v>2.4633256615997499E-2</c:v>
                </c:pt>
                <c:pt idx="9">
                  <c:v>2.447102367368207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osset Grande Réserv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0000000000003</c:v>
                </c:pt>
                <c:pt idx="1">
                  <c:v>44.95</c:v>
                </c:pt>
                <c:pt idx="2">
                  <c:v>49.95</c:v>
                </c:pt>
                <c:pt idx="3">
                  <c:v>54.95</c:v>
                </c:pt>
                <c:pt idx="4">
                  <c:v>59</c:v>
                </c:pt>
              </c:numCache>
            </c:numRef>
          </c:xVal>
          <c:yVal>
            <c:numRef>
              <c:f>Sheet1!$B$2:$B$6</c:f>
              <c:numCache>
                <c:formatCode>General</c:formatCode>
                <c:ptCount val="5"/>
                <c:pt idx="0">
                  <c:v>0.66887475145172393</c:v>
                </c:pt>
                <c:pt idx="1">
                  <c:v>0.15019983689503488</c:v>
                </c:pt>
                <c:pt idx="2">
                  <c:v>0</c:v>
                </c:pt>
                <c:pt idx="3">
                  <c:v>-0.13989802028193044</c:v>
                </c:pt>
                <c:pt idx="4">
                  <c:v>-0.1924606411331618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c:v>
                </c:pt>
                <c:pt idx="1">
                  <c:v>69</c:v>
                </c:pt>
                <c:pt idx="2">
                  <c:v>79</c:v>
                </c:pt>
                <c:pt idx="3">
                  <c:v>89</c:v>
                </c:pt>
                <c:pt idx="4">
                  <c:v>95</c:v>
                </c:pt>
              </c:numCache>
            </c:numRef>
          </c:xVal>
          <c:yVal>
            <c:numRef>
              <c:f>Sheet1!$B$9:$B$13</c:f>
              <c:numCache>
                <c:formatCode>General</c:formatCode>
                <c:ptCount val="5"/>
                <c:pt idx="0">
                  <c:v>0.64915169625661662</c:v>
                </c:pt>
                <c:pt idx="1">
                  <c:v>0.41610848622058244</c:v>
                </c:pt>
                <c:pt idx="2">
                  <c:v>0</c:v>
                </c:pt>
                <c:pt idx="3">
                  <c:v>-0.14240109233240922</c:v>
                </c:pt>
                <c:pt idx="4">
                  <c:v>-0.26648358140788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
          <c:min val="39.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0.21149644976242</c:v>
                </c:pt>
                <c:pt idx="1">
                  <c:v>153.3821821811101</c:v>
                </c:pt>
                <c:pt idx="2">
                  <c:v>147.13649392059938</c:v>
                </c:pt>
                <c:pt idx="3">
                  <c:v>141.40899612167368</c:v>
                </c:pt>
                <c:pt idx="4">
                  <c:v>136.14332058108815</c:v>
                </c:pt>
                <c:pt idx="5">
                  <c:v>131.29061976985008</c:v>
                </c:pt>
                <c:pt idx="6">
                  <c:v>126.80832803542937</c:v>
                </c:pt>
                <c:pt idx="7">
                  <c:v>122.65916802148055</c:v>
                </c:pt>
                <c:pt idx="8">
                  <c:v>118.81035001082591</c:v>
                </c:pt>
                <c:pt idx="9">
                  <c:v>115.23292189459838</c:v>
                </c:pt>
                <c:pt idx="10">
                  <c:v>113.30696608594496</c:v>
                </c:pt>
                <c:pt idx="11">
                  <c:v>111.61013318463145</c:v>
                </c:pt>
                <c:pt idx="12">
                  <c:v>109.97442660904579</c:v>
                </c:pt>
                <c:pt idx="13">
                  <c:v>108.39676735702888</c:v>
                </c:pt>
                <c:pt idx="14">
                  <c:v>106.8742697587449</c:v>
                </c:pt>
                <c:pt idx="15">
                  <c:v>105.40422682863215</c:v>
                </c:pt>
                <c:pt idx="16">
                  <c:v>103.98409691318228</c:v>
                </c:pt>
                <c:pt idx="17">
                  <c:v>102.61149150334828</c:v>
                </c:pt>
                <c:pt idx="18">
                  <c:v>101.28416409573788</c:v>
                </c:pt>
                <c:pt idx="19">
                  <c:v>100</c:v>
                </c:pt>
                <c:pt idx="20">
                  <c:v>98.379488412804804</c:v>
                </c:pt>
                <c:pt idx="21">
                  <c:v>96.783053627870459</c:v>
                </c:pt>
                <c:pt idx="22">
                  <c:v>95.249898435714101</c:v>
                </c:pt>
                <c:pt idx="23">
                  <c:v>93.776129199542297</c:v>
                </c:pt>
                <c:pt idx="24">
                  <c:v>92.358164276488552</c:v>
                </c:pt>
                <c:pt idx="25">
                  <c:v>90.992704232394985</c:v>
                </c:pt>
                <c:pt idx="26">
                  <c:v>89.676705405425992</c:v>
                </c:pt>
                <c:pt idx="27">
                  <c:v>88.407356339372882</c:v>
                </c:pt>
                <c:pt idx="28">
                  <c:v>87.182056699953733</c:v>
                </c:pt>
                <c:pt idx="29">
                  <c:v>85.998398358182087</c:v>
                </c:pt>
                <c:pt idx="30">
                  <c:v>85.26622574035143</c:v>
                </c:pt>
                <c:pt idx="31">
                  <c:v>84.591597391851565</c:v>
                </c:pt>
                <c:pt idx="32">
                  <c:v>83.927067190991238</c:v>
                </c:pt>
                <c:pt idx="33">
                  <c:v>83.272390230597054</c:v>
                </c:pt>
                <c:pt idx="34">
                  <c:v>82.627330748542249</c:v>
                </c:pt>
                <c:pt idx="35">
                  <c:v>81.991661613692386</c:v>
                </c:pt>
                <c:pt idx="36">
                  <c:v>81.365163850983762</c:v>
                </c:pt>
                <c:pt idx="37">
                  <c:v>80.7476262021043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29.72672516284644</c:v>
                </c:pt>
                <c:pt idx="1">
                  <c:v>125.73310032847036</c:v>
                </c:pt>
                <c:pt idx="2">
                  <c:v>122.08694980792632</c:v>
                </c:pt>
                <c:pt idx="3">
                  <c:v>118.75085683171889</c:v>
                </c:pt>
                <c:pt idx="4">
                  <c:v>115.69248875812721</c:v>
                </c:pt>
                <c:pt idx="5">
                  <c:v>112.88372127962694</c:v>
                </c:pt>
                <c:pt idx="6">
                  <c:v>110.29993748040687</c:v>
                </c:pt>
                <c:pt idx="7">
                  <c:v>107.91946820276657</c:v>
                </c:pt>
                <c:pt idx="8">
                  <c:v>105.72314437998571</c:v>
                </c:pt>
                <c:pt idx="9">
                  <c:v>103.69393679993199</c:v>
                </c:pt>
                <c:pt idx="10">
                  <c:v>103.09547319234539</c:v>
                </c:pt>
                <c:pt idx="11">
                  <c:v>102.6691809193339</c:v>
                </c:pt>
                <c:pt idx="12">
                  <c:v>102.26574843700401</c:v>
                </c:pt>
                <c:pt idx="13">
                  <c:v>101.88411766478976</c:v>
                </c:pt>
                <c:pt idx="14">
                  <c:v>101.52329088549293</c:v>
                </c:pt>
                <c:pt idx="15">
                  <c:v>101.18232635964921</c:v>
                </c:pt>
                <c:pt idx="16">
                  <c:v>100.86033431718545</c:v>
                </c:pt>
                <c:pt idx="17">
                  <c:v>100.55647328856978</c:v>
                </c:pt>
                <c:pt idx="18">
                  <c:v>100.26994674235605</c:v>
                </c:pt>
                <c:pt idx="19">
                  <c:v>100</c:v>
                </c:pt>
                <c:pt idx="20">
                  <c:v>99.3645975539483</c:v>
                </c:pt>
                <c:pt idx="21">
                  <c:v>98.721303139088775</c:v>
                </c:pt>
                <c:pt idx="22">
                  <c:v>98.111222384765256</c:v>
                </c:pt>
                <c:pt idx="23">
                  <c:v>97.532205930852626</c:v>
                </c:pt>
                <c:pt idx="24">
                  <c:v>96.982276167879974</c:v>
                </c:pt>
                <c:pt idx="25">
                  <c:v>96.459611270840256</c:v>
                </c:pt>
                <c:pt idx="26">
                  <c:v>95.962531028762058</c:v>
                </c:pt>
                <c:pt idx="27">
                  <c:v>95.489484186996549</c:v>
                </c:pt>
                <c:pt idx="28">
                  <c:v>95.039037081607603</c:v>
                </c:pt>
                <c:pt idx="29">
                  <c:v>94.609863392167284</c:v>
                </c:pt>
                <c:pt idx="30">
                  <c:v>94.658097705015862</c:v>
                </c:pt>
                <c:pt idx="31">
                  <c:v>94.756116387587298</c:v>
                </c:pt>
                <c:pt idx="32">
                  <c:v>94.852037231769216</c:v>
                </c:pt>
                <c:pt idx="33">
                  <c:v>94.945884388122565</c:v>
                </c:pt>
                <c:pt idx="34">
                  <c:v>95.037682714598006</c:v>
                </c:pt>
                <c:pt idx="35">
                  <c:v>95.127457638036702</c:v>
                </c:pt>
                <c:pt idx="36">
                  <c:v>95.215235030583102</c:v>
                </c:pt>
                <c:pt idx="37">
                  <c:v>95.3010410995858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0.67899439048513</c:v>
                </c:pt>
                <c:pt idx="1">
                  <c:v>90.317240747746396</c:v>
                </c:pt>
                <c:pt idx="2">
                  <c:v>90.000484568135292</c:v>
                </c:pt>
                <c:pt idx="3">
                  <c:v>89.727199670482463</c:v>
                </c:pt>
                <c:pt idx="4">
                  <c:v>89.49584162309111</c:v>
                </c:pt>
                <c:pt idx="5">
                  <c:v>89.304831284897219</c:v>
                </c:pt>
                <c:pt idx="6">
                  <c:v>89.152542818160185</c:v>
                </c:pt>
                <c:pt idx="7">
                  <c:v>89.037299920330454</c:v>
                </c:pt>
                <c:pt idx="8">
                  <c:v>88.957380329984275</c:v>
                </c:pt>
                <c:pt idx="9">
                  <c:v>88.911026819105984</c:v>
                </c:pt>
                <c:pt idx="10">
                  <c:v>90.013200543592802</c:v>
                </c:pt>
                <c:pt idx="11">
                  <c:v>91.214640877426106</c:v>
                </c:pt>
                <c:pt idx="12">
                  <c:v>92.389914393110104</c:v>
                </c:pt>
                <c:pt idx="13">
                  <c:v>93.54055288298801</c:v>
                </c:pt>
                <c:pt idx="14">
                  <c:v>94.667978064463796</c:v>
                </c:pt>
                <c:pt idx="15">
                  <c:v>95.773510351150421</c:v>
                </c:pt>
                <c:pt idx="16">
                  <c:v>96.858376823469982</c:v>
                </c:pt>
                <c:pt idx="17">
                  <c:v>97.923718480702178</c:v>
                </c:pt>
                <c:pt idx="18">
                  <c:v>98.970596847503487</c:v>
                </c:pt>
                <c:pt idx="19">
                  <c:v>100</c:v>
                </c:pt>
                <c:pt idx="20">
                  <c:v>100.6267060733542</c:v>
                </c:pt>
                <c:pt idx="21">
                  <c:v>101.20455633871681</c:v>
                </c:pt>
                <c:pt idx="22">
                  <c:v>101.77708994840368</c:v>
                </c:pt>
                <c:pt idx="23">
                  <c:v>102.34439386832838</c:v>
                </c:pt>
                <c:pt idx="24">
                  <c:v>102.90654693259459</c:v>
                </c:pt>
                <c:pt idx="25">
                  <c:v>103.46362160945056</c:v>
                </c:pt>
                <c:pt idx="26">
                  <c:v>104.01568556935494</c:v>
                </c:pt>
                <c:pt idx="27">
                  <c:v>104.56280302392469</c:v>
                </c:pt>
                <c:pt idx="28">
                  <c:v>105.1050358284248</c:v>
                </c:pt>
                <c:pt idx="29">
                  <c:v>105.642444356729</c:v>
                </c:pt>
                <c:pt idx="30">
                  <c:v>106.69070644926745</c:v>
                </c:pt>
                <c:pt idx="31">
                  <c:v>107.77883708906153</c:v>
                </c:pt>
                <c:pt idx="32">
                  <c:v>108.84924434623531</c:v>
                </c:pt>
                <c:pt idx="33">
                  <c:v>109.90229699002263</c:v>
                </c:pt>
                <c:pt idx="34">
                  <c:v>110.93835369110651</c:v>
                </c:pt>
                <c:pt idx="35">
                  <c:v>111.95776336416156</c:v>
                </c:pt>
                <c:pt idx="36">
                  <c:v>112.96086549427076</c:v>
                </c:pt>
                <c:pt idx="37">
                  <c:v>113.94799044849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666278686434417</c:v>
                </c:pt>
                <c:pt idx="1">
                  <c:v>0.31513879191490241</c:v>
                </c:pt>
                <c:pt idx="2">
                  <c:v>0.32341006254394933</c:v>
                </c:pt>
                <c:pt idx="3">
                  <c:v>0.33148392814605021</c:v>
                </c:pt>
                <c:pt idx="4">
                  <c:v>0.33936737238961084</c:v>
                </c:pt>
                <c:pt idx="5">
                  <c:v>0.3470670533640911</c:v>
                </c:pt>
                <c:pt idx="6">
                  <c:v>0.35458932233455082</c:v>
                </c:pt>
                <c:pt idx="7">
                  <c:v>0.3619402412145673</c:v>
                </c:pt>
                <c:pt idx="8">
                  <c:v>0.36912559885854729</c:v>
                </c:pt>
                <c:pt idx="9">
                  <c:v>0.37615092626546776</c:v>
                </c:pt>
                <c:pt idx="10">
                  <c:v>0.3830215107779627</c:v>
                </c:pt>
                <c:pt idx="11">
                  <c:v>0.38974240935336618</c:v>
                </c:pt>
                <c:pt idx="12">
                  <c:v>0.39631846097671353</c:v>
                </c:pt>
                <c:pt idx="13">
                  <c:v>0.40275429827973364</c:v>
                </c:pt>
                <c:pt idx="14">
                  <c:v>0.40905435842446214</c:v>
                </c:pt>
                <c:pt idx="15">
                  <c:v>0.4152228933052089</c:v>
                </c:pt>
                <c:pt idx="16">
                  <c:v>0.42126397911817159</c:v>
                </c:pt>
                <c:pt idx="17">
                  <c:v>0.42718152534395715</c:v>
                </c:pt>
                <c:pt idx="18">
                  <c:v>0.43297928318460538</c:v>
                </c:pt>
                <c:pt idx="19">
                  <c:v>0.43866085349337686</c:v>
                </c:pt>
                <c:pt idx="20">
                  <c:v>0.44422969423252995</c:v>
                </c:pt>
                <c:pt idx="21">
                  <c:v>0.44968912749154238</c:v>
                </c:pt>
                <c:pt idx="22">
                  <c:v>0.45504234609571015</c:v>
                </c:pt>
                <c:pt idx="23">
                  <c:v>0.46029241983274577</c:v>
                </c:pt>
                <c:pt idx="24">
                  <c:v>0.46544230132289133</c:v>
                </c:pt>
                <c:pt idx="25">
                  <c:v>0.47049483155613431</c:v>
                </c:pt>
                <c:pt idx="26">
                  <c:v>0.47545274511834273</c:v>
                </c:pt>
                <c:pt idx="27">
                  <c:v>0.48031867512652138</c:v>
                </c:pt>
                <c:pt idx="28">
                  <c:v>0.48509515789190261</c:v>
                </c:pt>
                <c:pt idx="29">
                  <c:v>0.48978463732822419</c:v>
                </c:pt>
                <c:pt idx="30">
                  <c:v>0.49438946912129073</c:v>
                </c:pt>
                <c:pt idx="31">
                  <c:v>0.49891192467476742</c:v>
                </c:pt>
                <c:pt idx="32">
                  <c:v>0.50335419484609045</c:v>
                </c:pt>
                <c:pt idx="33">
                  <c:v>0.50771839348540437</c:v>
                </c:pt>
                <c:pt idx="34">
                  <c:v>0.51200656078953843</c:v>
                </c:pt>
                <c:pt idx="35">
                  <c:v>0.51622066648220222</c:v>
                </c:pt>
                <c:pt idx="36">
                  <c:v>0.52036261283081353</c:v>
                </c:pt>
                <c:pt idx="37">
                  <c:v>0.5244342375096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Savian (2.1%)</c:v>
                </c:pt>
                <c:pt idx="2">
                  <c:v>Bottega (3.7%)</c:v>
                </c:pt>
                <c:pt idx="3">
                  <c:v>Patriarche (2.6%)</c:v>
                </c:pt>
                <c:pt idx="4">
                  <c:v>Bouvet Ladubay (1.5%)</c:v>
                </c:pt>
                <c:pt idx="5">
                  <c:v>Muré (1.3%)</c:v>
                </c:pt>
                <c:pt idx="6">
                  <c:v>Malard (6.0%)</c:v>
                </c:pt>
                <c:pt idx="7">
                  <c:v>Les Grumes  (1.0%)</c:v>
                </c:pt>
                <c:pt idx="8">
                  <c:v>Heidsieck &amp; C° Monopole (4.2%)</c:v>
                </c:pt>
                <c:pt idx="9">
                  <c:v>Nicolas Feuillatte (4.5%)</c:v>
                </c:pt>
              </c:strCache>
            </c:strRef>
          </c:cat>
          <c:val>
            <c:numRef>
              <c:f>Sheet1!$B$2:$B$11</c:f>
              <c:numCache>
                <c:formatCode>General</c:formatCode>
                <c:ptCount val="10"/>
                <c:pt idx="0">
                  <c:v>0.17005163017753272</c:v>
                </c:pt>
                <c:pt idx="1">
                  <c:v>0.13009483015341286</c:v>
                </c:pt>
                <c:pt idx="2">
                  <c:v>0.10782933056277894</c:v>
                </c:pt>
                <c:pt idx="3">
                  <c:v>5.0598255158411466E-2</c:v>
                </c:pt>
                <c:pt idx="4">
                  <c:v>4.603626773119459E-2</c:v>
                </c:pt>
                <c:pt idx="5">
                  <c:v>4.4979604844290005E-2</c:v>
                </c:pt>
                <c:pt idx="6">
                  <c:v>4.0627318097837671E-2</c:v>
                </c:pt>
                <c:pt idx="7">
                  <c:v>4.008550917812808E-2</c:v>
                </c:pt>
                <c:pt idx="8">
                  <c:v>3.6191707555751858E-2</c:v>
                </c:pt>
                <c:pt idx="9">
                  <c:v>2.925713636098472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Heidsieck Monopole Silver Top 750ml (4.2%)</c:v>
                </c:pt>
                <c:pt idx="4">
                  <c:v>Champagne Ruinart Brut 750ml (7.3%)</c:v>
                </c:pt>
                <c:pt idx="5">
                  <c:v>Champagne Laurent-Perrier Blanc La Cuvée 750ml (2.7%)</c:v>
                </c:pt>
                <c:pt idx="6">
                  <c:v>Champagne Vranken Demoiselle Rosé Prestige 750ml (2.0%)</c:v>
                </c:pt>
                <c:pt idx="7">
                  <c:v>Champagne Nicolas Feuillatte Réserve Exclusive Brut 750ml (3.0%)</c:v>
                </c:pt>
                <c:pt idx="8">
                  <c:v>Champagne Taittinger Prestige Brut 750ml (1.6%)</c:v>
                </c:pt>
                <c:pt idx="9">
                  <c:v>Champagne Deutz Brut Classique 750ml (3.4%)</c:v>
                </c:pt>
              </c:strCache>
            </c:strRef>
          </c:cat>
          <c:val>
            <c:numRef>
              <c:f>Sheet1!$B$2:$B$11</c:f>
              <c:numCache>
                <c:formatCode>General</c:formatCode>
                <c:ptCount val="10"/>
                <c:pt idx="0">
                  <c:v>7.7050729003018417E-2</c:v>
                </c:pt>
                <c:pt idx="1">
                  <c:v>5.644587851119362E-2</c:v>
                </c:pt>
                <c:pt idx="2">
                  <c:v>4.5011960253943058E-2</c:v>
                </c:pt>
                <c:pt idx="3">
                  <c:v>4.4557899282419773E-2</c:v>
                </c:pt>
                <c:pt idx="4">
                  <c:v>4.2806754066796286E-2</c:v>
                </c:pt>
                <c:pt idx="5">
                  <c:v>4.0782081541367247E-2</c:v>
                </c:pt>
                <c:pt idx="6">
                  <c:v>3.7213049905574253E-2</c:v>
                </c:pt>
                <c:pt idx="7">
                  <c:v>3.1052657054096156E-2</c:v>
                </c:pt>
                <c:pt idx="8">
                  <c:v>2.9547124867189054E-2</c:v>
                </c:pt>
                <c:pt idx="9">
                  <c:v>2.90138039650454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Laurent-Perrier Blanc La Cuvée 750ml (2.7%)</c:v>
                </c:pt>
                <c:pt idx="5">
                  <c:v>Champagne Canard-Duchêne Blanc Cuvée Léonie Brut 750ml (2.6%)</c:v>
                </c:pt>
                <c:pt idx="6">
                  <c:v>Champagne Heidsieck Monopole Silver Top 750ml (4.2%)</c:v>
                </c:pt>
                <c:pt idx="7">
                  <c:v>Champagne Malard Brut 1er Cru 750ml (4.1%)</c:v>
                </c:pt>
                <c:pt idx="8">
                  <c:v>Champagne Vranken Demoiselle Rosé Prestige 750ml (2.0%)</c:v>
                </c:pt>
                <c:pt idx="9">
                  <c:v>Champagne Veuve Clicquot Réserve Cuvée 750ml (1.7%)</c:v>
                </c:pt>
              </c:strCache>
            </c:strRef>
          </c:cat>
          <c:val>
            <c:numRef>
              <c:f>Sheet1!$B$2:$B$11</c:f>
              <c:numCache>
                <c:formatCode>General</c:formatCode>
                <c:ptCount val="10"/>
                <c:pt idx="0">
                  <c:v>6.4544054342302024E-2</c:v>
                </c:pt>
                <c:pt idx="1">
                  <c:v>5.7744973770329118E-2</c:v>
                </c:pt>
                <c:pt idx="2">
                  <c:v>5.553120228230414E-2</c:v>
                </c:pt>
                <c:pt idx="3">
                  <c:v>4.5146496308295009E-2</c:v>
                </c:pt>
                <c:pt idx="4">
                  <c:v>4.2269909288505041E-2</c:v>
                </c:pt>
                <c:pt idx="5">
                  <c:v>3.8659172041152289E-2</c:v>
                </c:pt>
                <c:pt idx="6">
                  <c:v>3.8009872437843054E-2</c:v>
                </c:pt>
                <c:pt idx="7">
                  <c:v>3.5978313172124007E-2</c:v>
                </c:pt>
                <c:pt idx="8">
                  <c:v>3.2799890644873098E-2</c:v>
                </c:pt>
                <c:pt idx="9">
                  <c:v>3.082414132966444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B$2:$B$62</c:f>
              <c:numCache>
                <c:formatCode>General</c:formatCode>
                <c:ptCount val="61"/>
                <c:pt idx="0">
                  <c:v>173.02100874732787</c:v>
                </c:pt>
                <c:pt idx="1">
                  <c:v>169.61971442059144</c:v>
                </c:pt>
                <c:pt idx="2">
                  <c:v>166.32558319746238</c:v>
                </c:pt>
                <c:pt idx="3">
                  <c:v>163.13398259821827</c:v>
                </c:pt>
                <c:pt idx="4">
                  <c:v>160.04054130464286</c:v>
                </c:pt>
                <c:pt idx="5">
                  <c:v>157.04113066074305</c:v>
                </c:pt>
                <c:pt idx="6">
                  <c:v>154.131847725369</c:v>
                </c:pt>
                <c:pt idx="7">
                  <c:v>151.3089997320771</c:v>
                </c:pt>
                <c:pt idx="8">
                  <c:v>148.56908982577252</c:v>
                </c:pt>
                <c:pt idx="9">
                  <c:v>145.14666728958886</c:v>
                </c:pt>
                <c:pt idx="10">
                  <c:v>141.87608899914025</c:v>
                </c:pt>
                <c:pt idx="11">
                  <c:v>138.74817851109685</c:v>
                </c:pt>
                <c:pt idx="12">
                  <c:v>135.75443732140755</c:v>
                </c:pt>
                <c:pt idx="13">
                  <c:v>132.88698495223542</c:v>
                </c:pt>
                <c:pt idx="14">
                  <c:v>130.13850527714709</c:v>
                </c:pt>
                <c:pt idx="15">
                  <c:v>127.50219834191547</c:v>
                </c:pt>
                <c:pt idx="16">
                  <c:v>124.97173703581919</c:v>
                </c:pt>
                <c:pt idx="17">
                  <c:v>122.54122805214492</c:v>
                </c:pt>
                <c:pt idx="18">
                  <c:v>120.20517664872234</c:v>
                </c:pt>
                <c:pt idx="19">
                  <c:v>117.95845478147437</c:v>
                </c:pt>
                <c:pt idx="20">
                  <c:v>115.7962722375965</c:v>
                </c:pt>
                <c:pt idx="21">
                  <c:v>114.34806352103932</c:v>
                </c:pt>
                <c:pt idx="22">
                  <c:v>112.92690883259635</c:v>
                </c:pt>
                <c:pt idx="23">
                  <c:v>111.53215003352616</c:v>
                </c:pt>
                <c:pt idx="24">
                  <c:v>110.16314854740894</c:v>
                </c:pt>
                <c:pt idx="25">
                  <c:v>108.81928465121027</c:v>
                </c:pt>
                <c:pt idx="26">
                  <c:v>107.49995679815972</c:v>
                </c:pt>
                <c:pt idx="27">
                  <c:v>106.20458097070396</c:v>
                </c:pt>
                <c:pt idx="28">
                  <c:v>104.9325900618836</c:v>
                </c:pt>
                <c:pt idx="29">
                  <c:v>104.08016700195921</c:v>
                </c:pt>
                <c:pt idx="30">
                  <c:v>103.24020939032226</c:v>
                </c:pt>
                <c:pt idx="31">
                  <c:v>102.41246067369725</c:v>
                </c:pt>
                <c:pt idx="32">
                  <c:v>101.59667089007823</c:v>
                </c:pt>
                <c:pt idx="33">
                  <c:v>100.79259646238887</c:v>
                </c:pt>
                <c:pt idx="34">
                  <c:v>100</c:v>
                </c:pt>
                <c:pt idx="35">
                  <c:v>99.218650107758918</c:v>
                </c:pt>
                <c:pt idx="36">
                  <c:v>98.448321202175208</c:v>
                </c:pt>
                <c:pt idx="37">
                  <c:v>97.688793334457614</c:v>
                </c:pt>
                <c:pt idx="38">
                  <c:v>96.939852020088495</c:v>
                </c:pt>
                <c:pt idx="39">
                  <c:v>96.201288074649597</c:v>
                </c:pt>
                <c:pt idx="40">
                  <c:v>95.472897455624889</c:v>
                </c:pt>
                <c:pt idx="41">
                  <c:v>94.754481109920746</c:v>
                </c:pt>
                <c:pt idx="42">
                  <c:v>94.045844826854619</c:v>
                </c:pt>
                <c:pt idx="43">
                  <c:v>93.346799096378689</c:v>
                </c:pt>
                <c:pt idx="44">
                  <c:v>92.657158972313908</c:v>
                </c:pt>
                <c:pt idx="45">
                  <c:v>91.976743940383571</c:v>
                </c:pt>
                <c:pt idx="46">
                  <c:v>91.305377790843238</c:v>
                </c:pt>
                <c:pt idx="47">
                  <c:v>90.642888495517425</c:v>
                </c:pt>
                <c:pt idx="48">
                  <c:v>89.989108089057396</c:v>
                </c:pt>
                <c:pt idx="49">
                  <c:v>88.771222752766491</c:v>
                </c:pt>
                <c:pt idx="50">
                  <c:v>87.580043628090337</c:v>
                </c:pt>
                <c:pt idx="51">
                  <c:v>86.414762647513072</c:v>
                </c:pt>
                <c:pt idx="52">
                  <c:v>85.274602186956898</c:v>
                </c:pt>
                <c:pt idx="53">
                  <c:v>84.158813712823331</c:v>
                </c:pt>
                <c:pt idx="54">
                  <c:v>83.066676497001026</c:v>
                </c:pt>
                <c:pt idx="55">
                  <c:v>81.997496396206458</c:v>
                </c:pt>
                <c:pt idx="56">
                  <c:v>80.950604692204905</c:v>
                </c:pt>
                <c:pt idx="57">
                  <c:v>79.925356989636853</c:v>
                </c:pt>
                <c:pt idx="58">
                  <c:v>78.921132168357104</c:v>
                </c:pt>
                <c:pt idx="59">
                  <c:v>77.937331387344969</c:v>
                </c:pt>
                <c:pt idx="60">
                  <c:v>76.9733771374174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C$2:$C$62</c:f>
              <c:numCache>
                <c:formatCode>General</c:formatCode>
                <c:ptCount val="61"/>
                <c:pt idx="0">
                  <c:v>137.16071858225857</c:v>
                </c:pt>
                <c:pt idx="1">
                  <c:v>135.49822672393245</c:v>
                </c:pt>
                <c:pt idx="2">
                  <c:v>133.88054020688395</c:v>
                </c:pt>
                <c:pt idx="3">
                  <c:v>132.30586059285787</c:v>
                </c:pt>
                <c:pt idx="4">
                  <c:v>130.77248998314687</c:v>
                </c:pt>
                <c:pt idx="5">
                  <c:v>129.27882374092172</c:v>
                </c:pt>
                <c:pt idx="6">
                  <c:v>127.8233438248642</c:v>
                </c:pt>
                <c:pt idx="7">
                  <c:v>126.40461267937202</c:v>
                </c:pt>
                <c:pt idx="8">
                  <c:v>125.02126763150838</c:v>
                </c:pt>
                <c:pt idx="9">
                  <c:v>123.02606348574568</c:v>
                </c:pt>
                <c:pt idx="10">
                  <c:v>121.11877001142966</c:v>
                </c:pt>
                <c:pt idx="11">
                  <c:v>119.2942734346462</c:v>
                </c:pt>
                <c:pt idx="12">
                  <c:v>117.54782333689771</c:v>
                </c:pt>
                <c:pt idx="13">
                  <c:v>115.87500106459873</c:v>
                </c:pt>
                <c:pt idx="14">
                  <c:v>114.27169142622392</c:v>
                </c:pt>
                <c:pt idx="15">
                  <c:v>112.73405728650121</c:v>
                </c:pt>
                <c:pt idx="16">
                  <c:v>111.25851671767242</c:v>
                </c:pt>
                <c:pt idx="17">
                  <c:v>109.8417224115494</c:v>
                </c:pt>
                <c:pt idx="18">
                  <c:v>108.48054309381448</c:v>
                </c:pt>
                <c:pt idx="19">
                  <c:v>107.17204671465888</c:v>
                </c:pt>
                <c:pt idx="20">
                  <c:v>105.91348521808432</c:v>
                </c:pt>
                <c:pt idx="21">
                  <c:v>105.28594353731826</c:v>
                </c:pt>
                <c:pt idx="22">
                  <c:v>104.66582186136395</c:v>
                </c:pt>
                <c:pt idx="23">
                  <c:v>104.05300085743055</c:v>
                </c:pt>
                <c:pt idx="24">
                  <c:v>103.44736351885359</c:v>
                </c:pt>
                <c:pt idx="25">
                  <c:v>102.84879509109801</c:v>
                </c:pt>
                <c:pt idx="26">
                  <c:v>102.25718300210369</c:v>
                </c:pt>
                <c:pt idx="27">
                  <c:v>101.67241679666719</c:v>
                </c:pt>
                <c:pt idx="28">
                  <c:v>101.09438807455253</c:v>
                </c:pt>
                <c:pt idx="29">
                  <c:v>100.90764757682568</c:v>
                </c:pt>
                <c:pt idx="30">
                  <c:v>100.72267568182076</c:v>
                </c:pt>
                <c:pt idx="31">
                  <c:v>100.53944849280437</c:v>
                </c:pt>
                <c:pt idx="32">
                  <c:v>100.35794236840925</c:v>
                </c:pt>
                <c:pt idx="33">
                  <c:v>100.17813391844153</c:v>
                </c:pt>
                <c:pt idx="34">
                  <c:v>100</c:v>
                </c:pt>
                <c:pt idx="35">
                  <c:v>99.823517713892656</c:v>
                </c:pt>
                <c:pt idx="36">
                  <c:v>99.648664401312871</c:v>
                </c:pt>
                <c:pt idx="37">
                  <c:v>99.475417640769635</c:v>
                </c:pt>
                <c:pt idx="38">
                  <c:v>99.30375524524267</c:v>
                </c:pt>
                <c:pt idx="39">
                  <c:v>99.133655259545222</c:v>
                </c:pt>
                <c:pt idx="40">
                  <c:v>98.965095957879853</c:v>
                </c:pt>
                <c:pt idx="41">
                  <c:v>98.798055841568086</c:v>
                </c:pt>
                <c:pt idx="42">
                  <c:v>98.632513636940416</c:v>
                </c:pt>
                <c:pt idx="43">
                  <c:v>98.468448293368866</c:v>
                </c:pt>
                <c:pt idx="44">
                  <c:v>98.305838981433709</c:v>
                </c:pt>
                <c:pt idx="45">
                  <c:v>98.144665091206491</c:v>
                </c:pt>
                <c:pt idx="46">
                  <c:v>97.984906230640931</c:v>
                </c:pt>
                <c:pt idx="47">
                  <c:v>97.82654222406066</c:v>
                </c:pt>
                <c:pt idx="48">
                  <c:v>97.669553110731201</c:v>
                </c:pt>
                <c:pt idx="49">
                  <c:v>96.888896729583564</c:v>
                </c:pt>
                <c:pt idx="50">
                  <c:v>96.122703818947343</c:v>
                </c:pt>
                <c:pt idx="51">
                  <c:v>95.370570892314305</c:v>
                </c:pt>
                <c:pt idx="52">
                  <c:v>94.632108548718477</c:v>
                </c:pt>
                <c:pt idx="53">
                  <c:v>93.906940890603579</c:v>
                </c:pt>
                <c:pt idx="54">
                  <c:v>93.194704968488381</c:v>
                </c:pt>
                <c:pt idx="55">
                  <c:v>92.49505025122383</c:v>
                </c:pt>
                <c:pt idx="56">
                  <c:v>91.807638120674156</c:v>
                </c:pt>
                <c:pt idx="57">
                  <c:v>91.132141389681905</c:v>
                </c:pt>
                <c:pt idx="58">
                  <c:v>90.468243842227352</c:v>
                </c:pt>
                <c:pt idx="59">
                  <c:v>89.815639794719814</c:v>
                </c:pt>
                <c:pt idx="60">
                  <c:v>89.1740336774091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D$2:$D$62</c:f>
              <c:numCache>
                <c:formatCode>General</c:formatCode>
                <c:ptCount val="61"/>
                <c:pt idx="0">
                  <c:v>85.983687634434247</c:v>
                </c:pt>
                <c:pt idx="1">
                  <c:v>86.802994356361381</c:v>
                </c:pt>
                <c:pt idx="2">
                  <c:v>87.578080125024854</c:v>
                </c:pt>
                <c:pt idx="3">
                  <c:v>88.311193761359263</c:v>
                </c:pt>
                <c:pt idx="4">
                  <c:v>89.004455169633843</c:v>
                </c:pt>
                <c:pt idx="5">
                  <c:v>89.659864095604334</c:v>
                </c:pt>
                <c:pt idx="6">
                  <c:v>90.279308151428381</c:v>
                </c:pt>
                <c:pt idx="7">
                  <c:v>90.864570181198872</c:v>
                </c:pt>
                <c:pt idx="8">
                  <c:v>91.417335032565859</c:v>
                </c:pt>
                <c:pt idx="9">
                  <c:v>91.458962725582822</c:v>
                </c:pt>
                <c:pt idx="10">
                  <c:v>91.4972437566379</c:v>
                </c:pt>
                <c:pt idx="11">
                  <c:v>91.532864185698699</c:v>
                </c:pt>
                <c:pt idx="12">
                  <c:v>91.566424265148456</c:v>
                </c:pt>
                <c:pt idx="13">
                  <c:v>91.598447293994312</c:v>
                </c:pt>
                <c:pt idx="14">
                  <c:v>91.62938754573652</c:v>
                </c:pt>
                <c:pt idx="15">
                  <c:v>91.659637382108158</c:v>
                </c:pt>
                <c:pt idx="16">
                  <c:v>91.689533648543005</c:v>
                </c:pt>
                <c:pt idx="17">
                  <c:v>91.719363433616081</c:v>
                </c:pt>
                <c:pt idx="18">
                  <c:v>91.749369263305738</c:v>
                </c:pt>
                <c:pt idx="19">
                  <c:v>91.779753791395009</c:v>
                </c:pt>
                <c:pt idx="20">
                  <c:v>91.810684039301876</c:v>
                </c:pt>
                <c:pt idx="21">
                  <c:v>92.354281048870007</c:v>
                </c:pt>
                <c:pt idx="22">
                  <c:v>92.87727501506842</c:v>
                </c:pt>
                <c:pt idx="23">
                  <c:v>93.380315739499324</c:v>
                </c:pt>
                <c:pt idx="24">
                  <c:v>93.86403074195799</c:v>
                </c:pt>
                <c:pt idx="25">
                  <c:v>94.329026093063632</c:v>
                </c:pt>
                <c:pt idx="26">
                  <c:v>94.775887212003724</c:v>
                </c:pt>
                <c:pt idx="27">
                  <c:v>95.205179631130136</c:v>
                </c:pt>
                <c:pt idx="28">
                  <c:v>95.617449729014268</c:v>
                </c:pt>
                <c:pt idx="29">
                  <c:v>96.380609910751573</c:v>
                </c:pt>
                <c:pt idx="30">
                  <c:v>97.130273872681812</c:v>
                </c:pt>
                <c:pt idx="31">
                  <c:v>97.866749744197918</c:v>
                </c:pt>
                <c:pt idx="32">
                  <c:v>98.590336867650933</c:v>
                </c:pt>
                <c:pt idx="33">
                  <c:v>99.301326082665867</c:v>
                </c:pt>
                <c:pt idx="34">
                  <c:v>100</c:v>
                </c:pt>
                <c:pt idx="35">
                  <c:v>100.686633265401</c:v>
                </c:pt>
                <c:pt idx="36">
                  <c:v>101.36149281388278</c:v>
                </c:pt>
                <c:pt idx="37">
                  <c:v>102.02483811483746</c:v>
                </c:pt>
                <c:pt idx="38">
                  <c:v>102.67692140836387</c:v>
                </c:pt>
                <c:pt idx="39">
                  <c:v>103.3179879331783</c:v>
                </c:pt>
                <c:pt idx="40">
                  <c:v>103.94827614646162</c:v>
                </c:pt>
                <c:pt idx="41">
                  <c:v>104.56801793596948</c:v>
                </c:pt>
                <c:pt idx="42">
                  <c:v>105.17743882472521</c:v>
                </c:pt>
                <c:pt idx="43">
                  <c:v>105.77675816859042</c:v>
                </c:pt>
                <c:pt idx="44">
                  <c:v>106.36618934700604</c:v>
                </c:pt>
                <c:pt idx="45">
                  <c:v>106.94593994716838</c:v>
                </c:pt>
                <c:pt idx="46">
                  <c:v>107.51621194190646</c:v>
                </c:pt>
                <c:pt idx="47">
                  <c:v>108.0772018615038</c:v>
                </c:pt>
                <c:pt idx="48">
                  <c:v>108.62910095970155</c:v>
                </c:pt>
                <c:pt idx="49">
                  <c:v>108.47235652290286</c:v>
                </c:pt>
                <c:pt idx="50">
                  <c:v>108.31260208994603</c:v>
                </c:pt>
                <c:pt idx="51">
                  <c:v>108.1500117363387</c:v>
                </c:pt>
                <c:pt idx="52">
                  <c:v>107.98475026581349</c:v>
                </c:pt>
                <c:pt idx="53">
                  <c:v>107.81697372915382</c:v>
                </c:pt>
                <c:pt idx="54">
                  <c:v>107.64682991099399</c:v>
                </c:pt>
                <c:pt idx="55">
                  <c:v>107.47445878686621</c:v>
                </c:pt>
                <c:pt idx="56">
                  <c:v>107.29999295258517</c:v>
                </c:pt>
                <c:pt idx="57">
                  <c:v>107.12355802788367</c:v>
                </c:pt>
                <c:pt idx="58">
                  <c:v>106.94527303607467</c:v>
                </c:pt>
                <c:pt idx="59">
                  <c:v>106.76525076135701</c:v>
                </c:pt>
                <c:pt idx="60">
                  <c:v>106.58359808527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E$2:$E$62</c:f>
              <c:numCache>
                <c:formatCode>General</c:formatCode>
                <c:ptCount val="61"/>
                <c:pt idx="0">
                  <c:v>0.25837239811350549</c:v>
                </c:pt>
                <c:pt idx="1">
                  <c:v>0.26403367751721901</c:v>
                </c:pt>
                <c:pt idx="2">
                  <c:v>0.26960917996027051</c:v>
                </c:pt>
                <c:pt idx="3">
                  <c:v>0.27510084026132109</c:v>
                </c:pt>
                <c:pt idx="4">
                  <c:v>0.28051053548325167</c:v>
                </c:pt>
                <c:pt idx="5">
                  <c:v>0.28584008707226444</c:v>
                </c:pt>
                <c:pt idx="6">
                  <c:v>0.2910912629026155</c:v>
                </c:pt>
                <c:pt idx="7">
                  <c:v>0.29626577923179348</c:v>
                </c:pt>
                <c:pt idx="8">
                  <c:v>0.30136530257069355</c:v>
                </c:pt>
                <c:pt idx="9">
                  <c:v>0.30639145147306263</c:v>
                </c:pt>
                <c:pt idx="10">
                  <c:v>0.31134579824825498</c:v>
                </c:pt>
                <c:pt idx="11">
                  <c:v>0.31622987060110419</c:v>
                </c:pt>
                <c:pt idx="12">
                  <c:v>0.32104515320250498</c:v>
                </c:pt>
                <c:pt idx="13">
                  <c:v>0.32579308919409589</c:v>
                </c:pt>
                <c:pt idx="14">
                  <c:v>0.33047508163024797</c:v>
                </c:pt>
                <c:pt idx="15">
                  <c:v>0.33509249486038417</c:v>
                </c:pt>
                <c:pt idx="16">
                  <c:v>0.33964665585449105</c:v>
                </c:pt>
                <c:pt idx="17">
                  <c:v>0.34413885547452877</c:v>
                </c:pt>
                <c:pt idx="18">
                  <c:v>0.34857034969429529</c:v>
                </c:pt>
                <c:pt idx="19">
                  <c:v>0.35294236077017255</c:v>
                </c:pt>
                <c:pt idx="20">
                  <c:v>0.35725607836503814</c:v>
                </c:pt>
                <c:pt idx="21">
                  <c:v>0.36151266062752124</c:v>
                </c:pt>
                <c:pt idx="22">
                  <c:v>0.36571323522865595</c:v>
                </c:pt>
                <c:pt idx="23">
                  <c:v>0.36985890035788049</c:v>
                </c:pt>
                <c:pt idx="24">
                  <c:v>0.37395072568023185</c:v>
                </c:pt>
                <c:pt idx="25">
                  <c:v>0.37798975325648854</c:v>
                </c:pt>
                <c:pt idx="26">
                  <c:v>0.38197699842792104</c:v>
                </c:pt>
                <c:pt idx="27">
                  <c:v>0.3859134506672337</c:v>
                </c:pt>
                <c:pt idx="28">
                  <c:v>0.38980007439718795</c:v>
                </c:pt>
                <c:pt idx="29">
                  <c:v>0.39363780977833773</c:v>
                </c:pt>
                <c:pt idx="30">
                  <c:v>0.39742757346722313</c:v>
                </c:pt>
                <c:pt idx="31">
                  <c:v>0.40117025934630873</c:v>
                </c:pt>
                <c:pt idx="32">
                  <c:v>0.40486673922688715</c:v>
                </c:pt>
                <c:pt idx="33">
                  <c:v>0.40851786352610858</c:v>
                </c:pt>
                <c:pt idx="34">
                  <c:v>0.41212446191924201</c:v>
                </c:pt>
                <c:pt idx="35">
                  <c:v>0.41568734396821633</c:v>
                </c:pt>
                <c:pt idx="36">
                  <c:v>0.41920729972744403</c:v>
                </c:pt>
                <c:pt idx="37">
                  <c:v>0.42268510032787843</c:v>
                </c:pt>
                <c:pt idx="38">
                  <c:v>0.42612149854021258</c:v>
                </c:pt>
                <c:pt idx="39">
                  <c:v>0.42951722931808112</c:v>
                </c:pt>
                <c:pt idx="40">
                  <c:v>0.43287301032209241</c:v>
                </c:pt>
                <c:pt idx="41">
                  <c:v>0.43618954242547187</c:v>
                </c:pt>
                <c:pt idx="42">
                  <c:v>0.43946751020206809</c:v>
                </c:pt>
                <c:pt idx="43">
                  <c:v>0.44270758239743169</c:v>
                </c:pt>
                <c:pt idx="44">
                  <c:v>0.44591041238365353</c:v>
                </c:pt>
                <c:pt idx="45">
                  <c:v>0.44907663859860397</c:v>
                </c:pt>
                <c:pt idx="46">
                  <c:v>0.45220688497020295</c:v>
                </c:pt>
                <c:pt idx="47">
                  <c:v>0.45530176132630346</c:v>
                </c:pt>
                <c:pt idx="48">
                  <c:v>0.45836186379076238</c:v>
                </c:pt>
                <c:pt idx="49">
                  <c:v>0.46138777516623292</c:v>
                </c:pt>
                <c:pt idx="50">
                  <c:v>0.46438006530419834</c:v>
                </c:pt>
                <c:pt idx="51">
                  <c:v>0.46733929146273867</c:v>
                </c:pt>
                <c:pt idx="52">
                  <c:v>0.4702659986525039</c:v>
                </c:pt>
                <c:pt idx="53">
                  <c:v>0.47316071997134262</c:v>
                </c:pt>
                <c:pt idx="54">
                  <c:v>0.47602397692802012</c:v>
                </c:pt>
                <c:pt idx="55">
                  <c:v>0.47885627975543621</c:v>
                </c:pt>
                <c:pt idx="56">
                  <c:v>0.48165812771374034</c:v>
                </c:pt>
                <c:pt idx="57">
                  <c:v>0.48443000938372033</c:v>
                </c:pt>
                <c:pt idx="58">
                  <c:v>0.48717240295082825</c:v>
                </c:pt>
                <c:pt idx="59">
                  <c:v>0.48988577648018894</c:v>
                </c:pt>
                <c:pt idx="60">
                  <c:v>0.4925705881829247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Malard Brut 1er Cru 750ml (4.1%)</c:v>
                </c:pt>
                <c:pt idx="4">
                  <c:v>Champagne Laurent-Perrier Blanc La Cuvée 750ml (2.7%)</c:v>
                </c:pt>
                <c:pt idx="5">
                  <c:v>Champagne Vranken Demoiselle Rosé Prestige 750ml (2.0%)</c:v>
                </c:pt>
                <c:pt idx="6">
                  <c:v>Champagne Nicolas Feuillatte Réserve Exclusive Brut 750ml (3.0%)</c:v>
                </c:pt>
                <c:pt idx="7">
                  <c:v>Champagne Ruinart Brut (étui) 1500ml (0.7%)</c:v>
                </c:pt>
                <c:pt idx="8">
                  <c:v>Champagne Heidsieck Monopole Silver Top 750ml (4.2%)</c:v>
                </c:pt>
                <c:pt idx="9">
                  <c:v>Champagne Bollinger Special Cuvée Brut 750ml (1.2%)</c:v>
                </c:pt>
              </c:strCache>
            </c:strRef>
          </c:cat>
          <c:val>
            <c:numRef>
              <c:f>Sheet1!$B$2:$B$11</c:f>
              <c:numCache>
                <c:formatCode>General</c:formatCode>
                <c:ptCount val="10"/>
                <c:pt idx="0">
                  <c:v>6.2393862453488366E-2</c:v>
                </c:pt>
                <c:pt idx="1">
                  <c:v>6.1809904109840212E-2</c:v>
                </c:pt>
                <c:pt idx="2">
                  <c:v>3.7777357598440031E-2</c:v>
                </c:pt>
                <c:pt idx="3">
                  <c:v>3.5465289461427532E-2</c:v>
                </c:pt>
                <c:pt idx="4">
                  <c:v>3.5102456909077345E-2</c:v>
                </c:pt>
                <c:pt idx="5">
                  <c:v>3.0803150089227991E-2</c:v>
                </c:pt>
                <c:pt idx="6">
                  <c:v>2.7762909414787804E-2</c:v>
                </c:pt>
                <c:pt idx="7">
                  <c:v>2.7221761084516346E-2</c:v>
                </c:pt>
                <c:pt idx="8">
                  <c:v>2.6369175132242226E-2</c:v>
                </c:pt>
                <c:pt idx="9">
                  <c:v>2.62707423646359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Malard Brut 1er Cru 750ml (4.1%)</c:v>
                </c:pt>
                <c:pt idx="3">
                  <c:v>Champagne Deutz Brut Classique 750ml (3.4%)</c:v>
                </c:pt>
                <c:pt idx="4">
                  <c:v>Champagne Laurent-Perrier Blanc La Cuvée 750ml (2.7%)</c:v>
                </c:pt>
                <c:pt idx="5">
                  <c:v>Champagne Vranken Demoiselle Rosé Prestige 750ml (2.0%)</c:v>
                </c:pt>
                <c:pt idx="6">
                  <c:v>Champagne Ruinart Brut (étui) 1500ml (0.7%)</c:v>
                </c:pt>
                <c:pt idx="7">
                  <c:v>Champagne Nicolas Feuillatte Réserve Exclusive Brut 750ml (3.0%)</c:v>
                </c:pt>
                <c:pt idx="8">
                  <c:v>Champagne Bollinger Special Cuvée Brut 750ml (1.2%)</c:v>
                </c:pt>
                <c:pt idx="9">
                  <c:v>Champagne Ruinart Brut (étui) 750ml (1.2%)</c:v>
                </c:pt>
              </c:strCache>
            </c:strRef>
          </c:cat>
          <c:val>
            <c:numRef>
              <c:f>Sheet1!$B$2:$B$11</c:f>
              <c:numCache>
                <c:formatCode>General</c:formatCode>
                <c:ptCount val="10"/>
                <c:pt idx="0">
                  <c:v>7.5683466492477522E-2</c:v>
                </c:pt>
                <c:pt idx="1">
                  <c:v>6.5077036536172056E-2</c:v>
                </c:pt>
                <c:pt idx="2">
                  <c:v>3.6883251489238107E-2</c:v>
                </c:pt>
                <c:pt idx="3">
                  <c:v>3.5364895609507965E-2</c:v>
                </c:pt>
                <c:pt idx="4">
                  <c:v>3.2030557603951938E-2</c:v>
                </c:pt>
                <c:pt idx="5">
                  <c:v>3.0556241940209578E-2</c:v>
                </c:pt>
                <c:pt idx="6">
                  <c:v>2.840360122874374E-2</c:v>
                </c:pt>
                <c:pt idx="7">
                  <c:v>2.7662168145226033E-2</c:v>
                </c:pt>
                <c:pt idx="8">
                  <c:v>2.7504357677797121E-2</c:v>
                </c:pt>
                <c:pt idx="9">
                  <c:v>2.655040201531845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nriot Brut Souverain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0.95</c:v>
                </c:pt>
                <c:pt idx="2">
                  <c:v>23.5</c:v>
                </c:pt>
                <c:pt idx="3">
                  <c:v>25.95</c:v>
                </c:pt>
                <c:pt idx="4">
                  <c:v>27.95</c:v>
                </c:pt>
              </c:numCache>
            </c:numRef>
          </c:xVal>
          <c:yVal>
            <c:numRef>
              <c:f>Sheet1!$B$2:$B$6</c:f>
              <c:numCache>
                <c:formatCode>General</c:formatCode>
                <c:ptCount val="5"/>
                <c:pt idx="0">
                  <c:v>0.45437683867601925</c:v>
                </c:pt>
                <c:pt idx="1">
                  <c:v>0.20675095699111501</c:v>
                </c:pt>
                <c:pt idx="2">
                  <c:v>0</c:v>
                </c:pt>
                <c:pt idx="3">
                  <c:v>-0.2394312745805823</c:v>
                </c:pt>
                <c:pt idx="4">
                  <c:v>-0.4427028277970392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Henriot Brut Souverain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8.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0000000000003</c:v>
                </c:pt>
                <c:pt idx="1">
                  <c:v>39.950000000000003</c:v>
                </c:pt>
                <c:pt idx="2">
                  <c:v>44.95</c:v>
                </c:pt>
                <c:pt idx="3">
                  <c:v>49.95</c:v>
                </c:pt>
                <c:pt idx="4">
                  <c:v>54.95</c:v>
                </c:pt>
              </c:numCache>
            </c:numRef>
          </c:xVal>
          <c:yVal>
            <c:numRef>
              <c:f>Sheet1!$B$9:$B$13</c:f>
              <c:numCache>
                <c:formatCode>General</c:formatCode>
                <c:ptCount val="5"/>
                <c:pt idx="0">
                  <c:v>2.3069715135766953</c:v>
                </c:pt>
                <c:pt idx="1">
                  <c:v>0.94993700047326324</c:v>
                </c:pt>
                <c:pt idx="2">
                  <c:v>0</c:v>
                </c:pt>
                <c:pt idx="3">
                  <c:v>-0.2534816446010682</c:v>
                </c:pt>
                <c:pt idx="4">
                  <c:v>-0.4926726214990781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8.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B$2:$B$19</c:f>
              <c:numCache>
                <c:formatCode>General</c:formatCode>
                <c:ptCount val="18"/>
                <c:pt idx="0">
                  <c:v>144.44289257505847</c:v>
                </c:pt>
                <c:pt idx="1">
                  <c:v>136.59644926199826</c:v>
                </c:pt>
                <c:pt idx="2">
                  <c:v>129.63775842084226</c:v>
                </c:pt>
                <c:pt idx="3">
                  <c:v>124.77285859849616</c:v>
                </c:pt>
                <c:pt idx="4">
                  <c:v>120.13374920552495</c:v>
                </c:pt>
                <c:pt idx="5">
                  <c:v>115.71102205857461</c:v>
                </c:pt>
                <c:pt idx="6">
                  <c:v>111.49537927337872</c:v>
                </c:pt>
                <c:pt idx="7">
                  <c:v>107.4776487948788</c:v>
                </c:pt>
                <c:pt idx="8">
                  <c:v>103.64880620019841</c:v>
                </c:pt>
                <c:pt idx="9">
                  <c:v>100</c:v>
                </c:pt>
                <c:pt idx="10">
                  <c:v>96.5225780947424</c:v>
                </c:pt>
                <c:pt idx="11">
                  <c:v>93.20811351705612</c:v>
                </c:pt>
                <c:pt idx="12">
                  <c:v>89.563582697933626</c:v>
                </c:pt>
                <c:pt idx="13">
                  <c:v>82.126581867751554</c:v>
                </c:pt>
                <c:pt idx="14">
                  <c:v>75.521943037581465</c:v>
                </c:pt>
                <c:pt idx="15">
                  <c:v>69.642221401995855</c:v>
                </c:pt>
                <c:pt idx="16">
                  <c:v>64.39401390492344</c:v>
                </c:pt>
                <c:pt idx="17">
                  <c:v>59.69635142605589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C$2:$C$19</c:f>
              <c:numCache>
                <c:formatCode>General</c:formatCode>
                <c:ptCount val="18"/>
                <c:pt idx="0">
                  <c:v>116.80978496766667</c:v>
                </c:pt>
                <c:pt idx="1">
                  <c:v>113.36862004047134</c:v>
                </c:pt>
                <c:pt idx="2">
                  <c:v>110.34941769531595</c:v>
                </c:pt>
                <c:pt idx="3">
                  <c:v>108.85987518529321</c:v>
                </c:pt>
                <c:pt idx="4">
                  <c:v>107.36554396962489</c:v>
                </c:pt>
                <c:pt idx="5">
                  <c:v>105.87218501494868</c:v>
                </c:pt>
                <c:pt idx="6">
                  <c:v>104.38486484181864</c:v>
                </c:pt>
                <c:pt idx="7">
                  <c:v>102.90798218773112</c:v>
                </c:pt>
                <c:pt idx="8">
                  <c:v>101.44530272426069</c:v>
                </c:pt>
                <c:pt idx="9">
                  <c:v>100</c:v>
                </c:pt>
                <c:pt idx="10">
                  <c:v>98.574700748785702</c:v>
                </c:pt>
                <c:pt idx="11">
                  <c:v>97.171532798029105</c:v>
                </c:pt>
                <c:pt idx="12">
                  <c:v>95.277087751165354</c:v>
                </c:pt>
                <c:pt idx="13">
                  <c:v>89.118072747338474</c:v>
                </c:pt>
                <c:pt idx="14">
                  <c:v>83.5624143142837</c:v>
                </c:pt>
                <c:pt idx="15">
                  <c:v>78.542288437069857</c:v>
                </c:pt>
                <c:pt idx="16">
                  <c:v>73.996822015104627</c:v>
                </c:pt>
                <c:pt idx="17">
                  <c:v>69.87171130126510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D$2:$D$19</c:f>
              <c:numCache>
                <c:formatCode>General</c:formatCode>
                <c:ptCount val="18"/>
                <c:pt idx="0">
                  <c:v>87.524323678097204</c:v>
                </c:pt>
                <c:pt idx="1">
                  <c:v>88.750554244758291</c:v>
                </c:pt>
                <c:pt idx="2">
                  <c:v>89.905354785628603</c:v>
                </c:pt>
                <c:pt idx="3">
                  <c:v>91.994540828752577</c:v>
                </c:pt>
                <c:pt idx="4">
                  <c:v>93.834077876357355</c:v>
                </c:pt>
                <c:pt idx="5">
                  <c:v>95.445863470399161</c:v>
                </c:pt>
                <c:pt idx="6">
                  <c:v>96.850243252887864</c:v>
                </c:pt>
                <c:pt idx="7">
                  <c:v>98.06604928273434</c:v>
                </c:pt>
                <c:pt idx="8">
                  <c:v>99.110648430623925</c:v>
                </c:pt>
                <c:pt idx="9">
                  <c:v>100</c:v>
                </c:pt>
                <c:pt idx="10">
                  <c:v>100.7487212002785</c:v>
                </c:pt>
                <c:pt idx="11">
                  <c:v>101.37015879383024</c:v>
                </c:pt>
                <c:pt idx="12">
                  <c:v>101.32793436561656</c:v>
                </c:pt>
                <c:pt idx="13">
                  <c:v>96.5098979619803</c:v>
                </c:pt>
                <c:pt idx="14">
                  <c:v>92.055201120041758</c:v>
                </c:pt>
                <c:pt idx="15">
                  <c:v>87.937505239734008</c:v>
                </c:pt>
                <c:pt idx="16">
                  <c:v>84.129999649572312</c:v>
                </c:pt>
                <c:pt idx="17">
                  <c:v>80.6063046398833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E$2:$E$19</c:f>
              <c:numCache>
                <c:formatCode>General</c:formatCode>
                <c:ptCount val="18"/>
                <c:pt idx="0">
                  <c:v>0.3641947695343638</c:v>
                </c:pt>
                <c:pt idx="1">
                  <c:v>0.38049746775143151</c:v>
                </c:pt>
                <c:pt idx="2">
                  <c:v>0.39598503105764565</c:v>
                </c:pt>
                <c:pt idx="3">
                  <c:v>0.41071710347087381</c:v>
                </c:pt>
                <c:pt idx="4">
                  <c:v>0.42474764862632919</c:v>
                </c:pt>
                <c:pt idx="5">
                  <c:v>0.43812561028618202</c:v>
                </c:pt>
                <c:pt idx="6">
                  <c:v>0.45089548277967784</c:v>
                </c:pt>
                <c:pt idx="7">
                  <c:v>0.4630978053845739</c:v>
                </c:pt>
                <c:pt idx="8">
                  <c:v>0.47476959222403964</c:v>
                </c:pt>
                <c:pt idx="9">
                  <c:v>0.48594470728310263</c:v>
                </c:pt>
                <c:pt idx="10">
                  <c:v>0.496654192548038</c:v>
                </c:pt>
                <c:pt idx="11">
                  <c:v>0.50692655596542502</c:v>
                </c:pt>
                <c:pt idx="12">
                  <c:v>0.51678802484611652</c:v>
                </c:pt>
                <c:pt idx="13">
                  <c:v>0.52626276945697692</c:v>
                </c:pt>
                <c:pt idx="14">
                  <c:v>0.53537310081357359</c:v>
                </c:pt>
                <c:pt idx="15">
                  <c:v>0.54413964608124199</c:v>
                </c:pt>
                <c:pt idx="16">
                  <c:v>0.55258150448714494</c:v>
                </c:pt>
                <c:pt idx="17">
                  <c:v>0.56071638622374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Saumur Bouvet Cuvée Saphir Brut 750ml (1.5%)</c:v>
                </c:pt>
                <c:pt idx="5">
                  <c:v>Champagne Heidsieck Monopole Silver Top 750ml (4.2%)</c:v>
                </c:pt>
                <c:pt idx="6">
                  <c:v>Mousseux Château Moncontour Brut Vouvray 750ml (1.5%)</c:v>
                </c:pt>
                <c:pt idx="7">
                  <c:v>Crémant de Bourgogne Patriarche Brut 750ml (1.8%)</c:v>
                </c:pt>
                <c:pt idx="8">
                  <c:v>Crémant d'Alsace Muré Prestige Bio 750ml (1.3%)</c:v>
                </c:pt>
                <c:pt idx="9">
                  <c:v>Prosecco Bottega 750ml (2.6%)</c:v>
                </c:pt>
              </c:strCache>
            </c:strRef>
          </c:cat>
          <c:val>
            <c:numRef>
              <c:f>Sheet1!$B$2:$B$11</c:f>
              <c:numCache>
                <c:formatCode>General</c:formatCode>
                <c:ptCount val="10"/>
                <c:pt idx="0">
                  <c:v>0.31017124063741142</c:v>
                </c:pt>
                <c:pt idx="1">
                  <c:v>7.8553957600648719E-2</c:v>
                </c:pt>
                <c:pt idx="2">
                  <c:v>4.800784338135522E-2</c:v>
                </c:pt>
                <c:pt idx="3">
                  <c:v>3.849195998770244E-2</c:v>
                </c:pt>
                <c:pt idx="4">
                  <c:v>2.8074104464239292E-2</c:v>
                </c:pt>
                <c:pt idx="5">
                  <c:v>2.6462052961466264E-2</c:v>
                </c:pt>
                <c:pt idx="6">
                  <c:v>2.600559840532651E-2</c:v>
                </c:pt>
                <c:pt idx="7">
                  <c:v>2.4521578982228821E-2</c:v>
                </c:pt>
                <c:pt idx="8">
                  <c:v>2.1200479967727521E-2</c:v>
                </c:pt>
                <c:pt idx="9">
                  <c:v>2.009424183515316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Heidsieck Monopole Silver Top 750ml (4.2%)</c:v>
                </c:pt>
                <c:pt idx="5">
                  <c:v>Crémant Saumur Bouvet Cuvée Saphir Brut 750ml (1.5%)</c:v>
                </c:pt>
                <c:pt idx="6">
                  <c:v>Mousseux Château Moncontour Brut Vouvray 750ml (1.5%)</c:v>
                </c:pt>
                <c:pt idx="7">
                  <c:v>Crémant de Bourgogne Patriarche Brut 750ml (1.8%)</c:v>
                </c:pt>
                <c:pt idx="8">
                  <c:v>Prosecco Bottega 750ml (2.6%)</c:v>
                </c:pt>
                <c:pt idx="9">
                  <c:v>Champagne Besserat de Bellefon Bleu Brut 750ml (1.7%)</c:v>
                </c:pt>
              </c:strCache>
            </c:strRef>
          </c:cat>
          <c:val>
            <c:numRef>
              <c:f>Sheet1!$B$2:$B$11</c:f>
              <c:numCache>
                <c:formatCode>General</c:formatCode>
                <c:ptCount val="10"/>
                <c:pt idx="0">
                  <c:v>0.31736759421658728</c:v>
                </c:pt>
                <c:pt idx="1">
                  <c:v>7.0489867483030544E-2</c:v>
                </c:pt>
                <c:pt idx="2">
                  <c:v>5.8928513990033488E-2</c:v>
                </c:pt>
                <c:pt idx="3">
                  <c:v>3.6031687402869043E-2</c:v>
                </c:pt>
                <c:pt idx="4">
                  <c:v>2.7119253990548264E-2</c:v>
                </c:pt>
                <c:pt idx="5">
                  <c:v>2.613603148335902E-2</c:v>
                </c:pt>
                <c:pt idx="6">
                  <c:v>2.5650752133512044E-2</c:v>
                </c:pt>
                <c:pt idx="7">
                  <c:v>2.3380695732135661E-2</c:v>
                </c:pt>
                <c:pt idx="8">
                  <c:v>2.1950985273118683E-2</c:v>
                </c:pt>
                <c:pt idx="9">
                  <c:v>2.05434101173789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314.36405024499715</c:v>
                </c:pt>
                <c:pt idx="1">
                  <c:v>294.97254152618535</c:v>
                </c:pt>
                <c:pt idx="2">
                  <c:v>277.43583974683958</c:v>
                </c:pt>
                <c:pt idx="3">
                  <c:v>261.58134148463006</c:v>
                </c:pt>
                <c:pt idx="4">
                  <c:v>247.24292990721577</c:v>
                </c:pt>
                <c:pt idx="5">
                  <c:v>234.26386125493877</c:v>
                </c:pt>
                <c:pt idx="6">
                  <c:v>222.49863296024253</c:v>
                </c:pt>
                <c:pt idx="7">
                  <c:v>211.81400979153651</c:v>
                </c:pt>
                <c:pt idx="8">
                  <c:v>202.08937193617112</c:v>
                </c:pt>
                <c:pt idx="9">
                  <c:v>193.21653983543627</c:v>
                </c:pt>
                <c:pt idx="10">
                  <c:v>184.31475354510178</c:v>
                </c:pt>
                <c:pt idx="11">
                  <c:v>169.77804689367221</c:v>
                </c:pt>
                <c:pt idx="12">
                  <c:v>157.03905963996323</c:v>
                </c:pt>
                <c:pt idx="13">
                  <c:v>145.82235584012372</c:v>
                </c:pt>
                <c:pt idx="14">
                  <c:v>135.8984770628191</c:v>
                </c:pt>
                <c:pt idx="15">
                  <c:v>127.07655804214792</c:v>
                </c:pt>
                <c:pt idx="16">
                  <c:v>119.19775007854292</c:v>
                </c:pt>
                <c:pt idx="17">
                  <c:v>112.12959487413347</c:v>
                </c:pt>
                <c:pt idx="18">
                  <c:v>105.76132601931923</c:v>
                </c:pt>
                <c:pt idx="19">
                  <c:v>100</c:v>
                </c:pt>
                <c:pt idx="20">
                  <c:v>94.961142946338839</c:v>
                </c:pt>
                <c:pt idx="21">
                  <c:v>91.976199326605041</c:v>
                </c:pt>
                <c:pt idx="22">
                  <c:v>89.148851650869361</c:v>
                </c:pt>
                <c:pt idx="23">
                  <c:v>86.467513581748037</c:v>
                </c:pt>
                <c:pt idx="24">
                  <c:v>83.921581599623906</c:v>
                </c:pt>
                <c:pt idx="25">
                  <c:v>81.501352719937685</c:v>
                </c:pt>
                <c:pt idx="26">
                  <c:v>79.197947715014521</c:v>
                </c:pt>
                <c:pt idx="27">
                  <c:v>77.00323975379051</c:v>
                </c:pt>
                <c:pt idx="28">
                  <c:v>74.90978833629309</c:v>
                </c:pt>
                <c:pt idx="29">
                  <c:v>72.910778357574756</c:v>
                </c:pt>
                <c:pt idx="30">
                  <c:v>70.863517676600779</c:v>
                </c:pt>
                <c:pt idx="31">
                  <c:v>67.771597628348474</c:v>
                </c:pt>
                <c:pt idx="32">
                  <c:v>64.922602038140425</c:v>
                </c:pt>
                <c:pt idx="33">
                  <c:v>62.289150276657658</c:v>
                </c:pt>
                <c:pt idx="34">
                  <c:v>59.847434925560286</c:v>
                </c:pt>
                <c:pt idx="35">
                  <c:v>57.576750018510992</c:v>
                </c:pt>
                <c:pt idx="36">
                  <c:v>55.459070424793488</c:v>
                </c:pt>
                <c:pt idx="37">
                  <c:v>53.478682931165856</c:v>
                </c:pt>
                <c:pt idx="38">
                  <c:v>51.62186605507911</c:v>
                </c:pt>
                <c:pt idx="39">
                  <c:v>49.8766139933093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247.5983895901266</c:v>
                </c:pt>
                <c:pt idx="1">
                  <c:v>235.60541296406043</c:v>
                </c:pt>
                <c:pt idx="2">
                  <c:v>224.68587191509809</c:v>
                </c:pt>
                <c:pt idx="3">
                  <c:v>214.75911810599152</c:v>
                </c:pt>
                <c:pt idx="4">
                  <c:v>205.742439068023</c:v>
                </c:pt>
                <c:pt idx="5">
                  <c:v>197.55380412814679</c:v>
                </c:pt>
                <c:pt idx="6">
                  <c:v>190.11394130770327</c:v>
                </c:pt>
                <c:pt idx="7">
                  <c:v>183.34781806367124</c:v>
                </c:pt>
                <c:pt idx="8">
                  <c:v>177.18560312845332</c:v>
                </c:pt>
                <c:pt idx="9">
                  <c:v>171.56319303519294</c:v>
                </c:pt>
                <c:pt idx="10">
                  <c:v>165.71781923518151</c:v>
                </c:pt>
                <c:pt idx="11">
                  <c:v>154.55066644272739</c:v>
                </c:pt>
                <c:pt idx="12">
                  <c:v>144.71444059510361</c:v>
                </c:pt>
                <c:pt idx="13">
                  <c:v>136.01263354577213</c:v>
                </c:pt>
                <c:pt idx="14">
                  <c:v>128.27980704376492</c:v>
                </c:pt>
                <c:pt idx="15">
                  <c:v>121.37710802063806</c:v>
                </c:pt>
                <c:pt idx="16">
                  <c:v>115.18807168264564</c:v>
                </c:pt>
                <c:pt idx="17">
                  <c:v>109.61491347569969</c:v>
                </c:pt>
                <c:pt idx="18">
                  <c:v>104.57536099748856</c:v>
                </c:pt>
                <c:pt idx="19">
                  <c:v>100</c:v>
                </c:pt>
                <c:pt idx="20">
                  <c:v>96.025861733776736</c:v>
                </c:pt>
                <c:pt idx="21">
                  <c:v>94.037091454170294</c:v>
                </c:pt>
                <c:pt idx="22">
                  <c:v>92.144502337086053</c:v>
                </c:pt>
                <c:pt idx="23">
                  <c:v>90.341263019370857</c:v>
                </c:pt>
                <c:pt idx="24">
                  <c:v>88.62106394660583</c:v>
                </c:pt>
                <c:pt idx="25">
                  <c:v>86.978084145127795</c:v>
                </c:pt>
                <c:pt idx="26">
                  <c:v>85.406958469443509</c:v>
                </c:pt>
                <c:pt idx="27">
                  <c:v>83.902745652187548</c:v>
                </c:pt>
                <c:pt idx="28">
                  <c:v>82.460897437133227</c:v>
                </c:pt>
                <c:pt idx="29">
                  <c:v>81.077229019030341</c:v>
                </c:pt>
                <c:pt idx="30">
                  <c:v>79.594666915821676</c:v>
                </c:pt>
                <c:pt idx="31">
                  <c:v>76.881537535703444</c:v>
                </c:pt>
                <c:pt idx="32">
                  <c:v>74.377498881929853</c:v>
                </c:pt>
                <c:pt idx="33">
                  <c:v>72.059018445930903</c:v>
                </c:pt>
                <c:pt idx="34">
                  <c:v>69.90551607103761</c:v>
                </c:pt>
                <c:pt idx="35">
                  <c:v>67.899006333918877</c:v>
                </c:pt>
                <c:pt idx="36">
                  <c:v>66.023770471476084</c:v>
                </c:pt>
                <c:pt idx="37">
                  <c:v>64.266062435776306</c:v>
                </c:pt>
                <c:pt idx="38">
                  <c:v>62.613849461051949</c:v>
                </c:pt>
                <c:pt idx="39">
                  <c:v>61.0565852852138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166.91791660464045</c:v>
                </c:pt>
                <c:pt idx="1">
                  <c:v>163.90323318835883</c:v>
                </c:pt>
                <c:pt idx="2">
                  <c:v>161.00758239011142</c:v>
                </c:pt>
                <c:pt idx="3">
                  <c:v>158.26389648500921</c:v>
                </c:pt>
                <c:pt idx="4">
                  <c:v>155.69214903710395</c:v>
                </c:pt>
                <c:pt idx="5">
                  <c:v>153.30204444364841</c:v>
                </c:pt>
                <c:pt idx="6">
                  <c:v>151.09544345483567</c:v>
                </c:pt>
                <c:pt idx="7">
                  <c:v>149.06847283184464</c:v>
                </c:pt>
                <c:pt idx="8">
                  <c:v>147.21329305409066</c:v>
                </c:pt>
                <c:pt idx="9">
                  <c:v>145.51952350257</c:v>
                </c:pt>
                <c:pt idx="10">
                  <c:v>143.36516695202414</c:v>
                </c:pt>
                <c:pt idx="11">
                  <c:v>136.24921428939658</c:v>
                </c:pt>
                <c:pt idx="12">
                  <c:v>129.90263426329841</c:v>
                </c:pt>
                <c:pt idx="13">
                  <c:v>124.22392137650908</c:v>
                </c:pt>
                <c:pt idx="14">
                  <c:v>119.12467528167335</c:v>
                </c:pt>
                <c:pt idx="15">
                  <c:v>114.52862054233945</c:v>
                </c:pt>
                <c:pt idx="16">
                  <c:v>110.37028059195634</c:v>
                </c:pt>
                <c:pt idx="17">
                  <c:v>106.59358111189094</c:v>
                </c:pt>
                <c:pt idx="18">
                  <c:v>103.15052484317484</c:v>
                </c:pt>
                <c:pt idx="19">
                  <c:v>100</c:v>
                </c:pt>
                <c:pt idx="20">
                  <c:v>97.305333143491168</c:v>
                </c:pt>
                <c:pt idx="21">
                  <c:v>96.517208378161811</c:v>
                </c:pt>
                <c:pt idx="22">
                  <c:v>95.750979352052752</c:v>
                </c:pt>
                <c:pt idx="23">
                  <c:v>95.00558679449388</c:v>
                </c:pt>
                <c:pt idx="24">
                  <c:v>94.279931489458505</c:v>
                </c:pt>
                <c:pt idx="25">
                  <c:v>93.572901113707047</c:v>
                </c:pt>
                <c:pt idx="26">
                  <c:v>92.883391343375237</c:v>
                </c:pt>
                <c:pt idx="27">
                  <c:v>92.210322076446076</c:v>
                </c:pt>
                <c:pt idx="28">
                  <c:v>91.55264955681676</c:v>
                </c:pt>
                <c:pt idx="29">
                  <c:v>90.909375108790528</c:v>
                </c:pt>
                <c:pt idx="30">
                  <c:v>90.106053534008907</c:v>
                </c:pt>
                <c:pt idx="31">
                  <c:v>87.84753730765496</c:v>
                </c:pt>
                <c:pt idx="32">
                  <c:v>85.757250749630629</c:v>
                </c:pt>
                <c:pt idx="33">
                  <c:v>83.816340800259496</c:v>
                </c:pt>
                <c:pt idx="34">
                  <c:v>82.008147074394699</c:v>
                </c:pt>
                <c:pt idx="35">
                  <c:v>80.317984808164226</c:v>
                </c:pt>
                <c:pt idx="36">
                  <c:v>78.732930536287341</c:v>
                </c:pt>
                <c:pt idx="37">
                  <c:v>77.241620139962251</c:v>
                </c:pt>
                <c:pt idx="38">
                  <c:v>75.834063840385241</c:v>
                </c:pt>
                <c:pt idx="39">
                  <c:v>74.5014796936590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0.30727351427430311</c:v>
                </c:pt>
                <c:pt idx="1">
                  <c:v>0.31703022534086206</c:v>
                </c:pt>
                <c:pt idx="2">
                  <c:v>0.32651591665557239</c:v>
                </c:pt>
                <c:pt idx="3">
                  <c:v>0.33574172601645486</c:v>
                </c:pt>
                <c:pt idx="4">
                  <c:v>0.34471818917839481</c:v>
                </c:pt>
                <c:pt idx="5">
                  <c:v>0.35345527998934945</c:v>
                </c:pt>
                <c:pt idx="6">
                  <c:v>0.36196244735791056</c:v>
                </c:pt>
                <c:pt idx="7">
                  <c:v>0.37024864934027552</c:v>
                </c:pt>
                <c:pt idx="8">
                  <c:v>0.37832238460514372</c:v>
                </c:pt>
                <c:pt idx="9">
                  <c:v>0.38619172150887621</c:v>
                </c:pt>
                <c:pt idx="10">
                  <c:v>0.39386432499001511</c:v>
                </c:pt>
                <c:pt idx="11">
                  <c:v>0.40134748147161975</c:v>
                </c:pt>
                <c:pt idx="12">
                  <c:v>0.40864812194147815</c:v>
                </c:pt>
                <c:pt idx="13">
                  <c:v>0.41577284336386994</c:v>
                </c:pt>
                <c:pt idx="14">
                  <c:v>0.42272792856191921</c:v>
                </c:pt>
                <c:pt idx="15">
                  <c:v>0.42951936469648477</c:v>
                </c:pt>
                <c:pt idx="16">
                  <c:v>0.43615286045582796</c:v>
                </c:pt>
                <c:pt idx="17">
                  <c:v>0.44263386205978406</c:v>
                </c:pt>
                <c:pt idx="18">
                  <c:v>0.44896756817274103</c:v>
                </c:pt>
                <c:pt idx="19">
                  <c:v>0.45515894381124949</c:v>
                </c:pt>
                <c:pt idx="20">
                  <c:v>0.46121273332445784</c:v>
                </c:pt>
                <c:pt idx="21">
                  <c:v>0.46713347251869458</c:v>
                </c:pt>
                <c:pt idx="22">
                  <c:v>0.47292549999131756</c:v>
                </c:pt>
                <c:pt idx="23">
                  <c:v>0.47859296773334636</c:v>
                </c:pt>
                <c:pt idx="24">
                  <c:v>0.48413985105533208</c:v>
                </c:pt>
                <c:pt idx="25">
                  <c:v>0.48956995788632857</c:v>
                </c:pt>
                <c:pt idx="26">
                  <c:v>0.49488693749167928</c:v>
                </c:pt>
                <c:pt idx="27">
                  <c:v>0.50009428865155903</c:v>
                </c:pt>
                <c:pt idx="28">
                  <c:v>0.50519536733878789</c:v>
                </c:pt>
                <c:pt idx="29">
                  <c:v>0.51019339393132535</c:v>
                </c:pt>
                <c:pt idx="30">
                  <c:v>0.51509145999201211</c:v>
                </c:pt>
                <c:pt idx="31">
                  <c:v>0.51989253464555651</c:v>
                </c:pt>
                <c:pt idx="32">
                  <c:v>0.52459947058040401</c:v>
                </c:pt>
                <c:pt idx="33">
                  <c:v>0.52921500970098256</c:v>
                </c:pt>
                <c:pt idx="34">
                  <c:v>0.53374178845385778</c:v>
                </c:pt>
                <c:pt idx="35">
                  <c:v>0.53818234284953537</c:v>
                </c:pt>
                <c:pt idx="36">
                  <c:v>0.54253911320001136</c:v>
                </c:pt>
                <c:pt idx="37">
                  <c:v>0.54681444859066541</c:v>
                </c:pt>
                <c:pt idx="38">
                  <c:v>0.55101061110371485</c:v>
                </c:pt>
                <c:pt idx="39">
                  <c:v>0.555129779809185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rPr lang="en-US"/>
                      <a:t>Roederer</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59B-445F-8727-0B1EDEE5B9E7}"/>
                </c:ext>
              </c:extLst>
            </c:dLbl>
            <c:dLbl>
              <c:idx val="20"/>
              <c:tx>
                <c:rich>
                  <a:bodyPr/>
                  <a:lstStyle/>
                  <a:p>
                    <a:r>
                      <a:rPr lang="en-US"/>
                      <a:t>Taittinger</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59B-445F-8727-0B1EDEE5B9E7}"/>
                </c:ext>
              </c:extLst>
            </c:dLbl>
            <c:dLbl>
              <c:idx val="21"/>
              <c:tx>
                <c:rich>
                  <a:bodyPr/>
                  <a:lstStyle/>
                  <a:p>
                    <a:r>
                      <a:rPr lang="en-US"/>
                      <a:t>Nicolas Feuillatt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59B-445F-8727-0B1EDEE5B9E7}"/>
                </c:ext>
              </c:extLst>
            </c:dLbl>
            <c:dLbl>
              <c:idx val="22"/>
              <c:tx>
                <c:rich>
                  <a:bodyPr/>
                  <a:lstStyle/>
                  <a:p>
                    <a:r>
                      <a:rPr lang="en-US"/>
                      <a:t>De Saint-Gall</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59B-445F-8727-0B1EDEE5B9E7}"/>
                </c:ext>
              </c:extLst>
            </c:dLbl>
            <c:dLbl>
              <c:idx val="23"/>
              <c:tx>
                <c:rich>
                  <a:bodyPr/>
                  <a:lstStyle/>
                  <a:p>
                    <a:r>
                      <a:rPr lang="en-US"/>
                      <a:t>De Venog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59B-445F-8727-0B1EDEE5B9E7}"/>
                </c:ext>
              </c:extLst>
            </c:dLbl>
            <c:dLbl>
              <c:idx val="24"/>
              <c:tx>
                <c:rich>
                  <a:bodyPr/>
                  <a:lstStyle/>
                  <a:p>
                    <a:r>
                      <a:rPr lang="en-US"/>
                      <a:t>Vessel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59B-445F-8727-0B1EDEE5B9E7}"/>
                </c:ext>
              </c:extLst>
            </c:dLbl>
            <c:dLbl>
              <c:idx val="25"/>
              <c:tx>
                <c:rich>
                  <a:bodyPr/>
                  <a:lstStyle/>
                  <a:p>
                    <a:r>
                      <a:rPr lang="en-US"/>
                      <a:t>Demoisel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59B-445F-8727-0B1EDEE5B9E7}"/>
                </c:ext>
              </c:extLst>
            </c:dLbl>
            <c:dLbl>
              <c:idx val="26"/>
              <c:tx>
                <c:rich>
                  <a:bodyPr/>
                  <a:lstStyle/>
                  <a:p>
                    <a:r>
                      <a:rPr lang="en-US"/>
                      <a:t>Heidsieck &amp; C° Monopol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59B-445F-8727-0B1EDEE5B9E7}"/>
                </c:ext>
              </c:extLst>
            </c:dLbl>
            <c:dLbl>
              <c:idx val="27"/>
              <c:tx>
                <c:rich>
                  <a:bodyPr/>
                  <a:lstStyle/>
                  <a:p>
                    <a:r>
                      <a:rPr lang="en-US"/>
                      <a:t>Pommery</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59B-445F-8727-0B1EDEE5B9E7}"/>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9</c:f>
              <c:numCache>
                <c:formatCode>General</c:formatCode>
                <c:ptCount val="28"/>
                <c:pt idx="0">
                  <c:v>-0.87189859950186099</c:v>
                </c:pt>
                <c:pt idx="1">
                  <c:v>-3.7298890498633677</c:v>
                </c:pt>
                <c:pt idx="2">
                  <c:v>-2.7584765313536042</c:v>
                </c:pt>
                <c:pt idx="3">
                  <c:v>-2.7664407518419969</c:v>
                </c:pt>
                <c:pt idx="4">
                  <c:v>-2.8804199789518066</c:v>
                </c:pt>
                <c:pt idx="5">
                  <c:v>-4.4032833384295813</c:v>
                </c:pt>
                <c:pt idx="6">
                  <c:v>-2.065916697908571</c:v>
                </c:pt>
                <c:pt idx="7">
                  <c:v>-5.994585927907643</c:v>
                </c:pt>
                <c:pt idx="8">
                  <c:v>-3.7648441801541597</c:v>
                </c:pt>
                <c:pt idx="9">
                  <c:v>-5.8567549544702846</c:v>
                </c:pt>
                <c:pt idx="10">
                  <c:v>-3.1406353091950896</c:v>
                </c:pt>
                <c:pt idx="11">
                  <c:v>-4.5519553056501216</c:v>
                </c:pt>
                <c:pt idx="12">
                  <c:v>-8.7620769559713825</c:v>
                </c:pt>
                <c:pt idx="13">
                  <c:v>-1.650835724726462</c:v>
                </c:pt>
                <c:pt idx="14">
                  <c:v>-4.5070629576161627</c:v>
                </c:pt>
                <c:pt idx="15">
                  <c:v>-2.97235746062147</c:v>
                </c:pt>
                <c:pt idx="16">
                  <c:v>-1.675772966700996</c:v>
                </c:pt>
                <c:pt idx="17">
                  <c:v>-6.1732117797843014</c:v>
                </c:pt>
                <c:pt idx="18">
                  <c:v>-3.0626521630707773</c:v>
                </c:pt>
                <c:pt idx="19">
                  <c:v>-2.2665452219232991</c:v>
                </c:pt>
                <c:pt idx="20">
                  <c:v>-2.9509799493615105</c:v>
                </c:pt>
                <c:pt idx="21">
                  <c:v>-3.6204906874426697</c:v>
                </c:pt>
                <c:pt idx="22">
                  <c:v>-4.1204139833649078</c:v>
                </c:pt>
                <c:pt idx="23">
                  <c:v>-3.3663864540191355</c:v>
                </c:pt>
                <c:pt idx="24">
                  <c:v>-6.1704837588986186</c:v>
                </c:pt>
                <c:pt idx="25">
                  <c:v>-2.7238985624634298</c:v>
                </c:pt>
                <c:pt idx="26">
                  <c:v>-2.8875399437414626</c:v>
                </c:pt>
                <c:pt idx="27">
                  <c:v>-7.2016531234393408</c:v>
                </c:pt>
              </c:numCache>
            </c:numRef>
          </c:xVal>
          <c:yVal>
            <c:numRef>
              <c:f>Sheet1!$B$2:$B$29</c:f>
              <c:numCache>
                <c:formatCode>General</c:formatCode>
                <c:ptCount val="28"/>
                <c:pt idx="0">
                  <c:v>-0.88731495152874862</c:v>
                </c:pt>
                <c:pt idx="1">
                  <c:v>-3.2437350767890938</c:v>
                </c:pt>
                <c:pt idx="2">
                  <c:v>-2.356653572711453</c:v>
                </c:pt>
                <c:pt idx="3">
                  <c:v>-2.397428869253031</c:v>
                </c:pt>
                <c:pt idx="4">
                  <c:v>-2.4115362215604779</c:v>
                </c:pt>
                <c:pt idx="5">
                  <c:v>-3.2642033214260078</c:v>
                </c:pt>
                <c:pt idx="6">
                  <c:v>-2.4742652533139773</c:v>
                </c:pt>
                <c:pt idx="7">
                  <c:v>-2.3800240880376591</c:v>
                </c:pt>
                <c:pt idx="8">
                  <c:v>-1.8795349271952344</c:v>
                </c:pt>
                <c:pt idx="9">
                  <c:v>-3.3985356133279576</c:v>
                </c:pt>
                <c:pt idx="10">
                  <c:v>-2.7421514668878872</c:v>
                </c:pt>
                <c:pt idx="11">
                  <c:v>-2.2609643543966258</c:v>
                </c:pt>
                <c:pt idx="12">
                  <c:v>-4.1731335876609146</c:v>
                </c:pt>
                <c:pt idx="13">
                  <c:v>-1.117295663616622</c:v>
                </c:pt>
                <c:pt idx="14">
                  <c:v>-2.2978464718797746</c:v>
                </c:pt>
                <c:pt idx="15">
                  <c:v>-2.6933712561811212</c:v>
                </c:pt>
                <c:pt idx="16">
                  <c:v>-2.0803962690225446</c:v>
                </c:pt>
                <c:pt idx="17">
                  <c:v>-3.9244942739374</c:v>
                </c:pt>
                <c:pt idx="18">
                  <c:v>-1.8841690828780906</c:v>
                </c:pt>
                <c:pt idx="19">
                  <c:v>-1.8206275030000529</c:v>
                </c:pt>
                <c:pt idx="20">
                  <c:v>-2.4263587224907281</c:v>
                </c:pt>
                <c:pt idx="21">
                  <c:v>-2.1600671041770534</c:v>
                </c:pt>
                <c:pt idx="22">
                  <c:v>-2.0252634584695266</c:v>
                </c:pt>
                <c:pt idx="23">
                  <c:v>-2.0111415520263574</c:v>
                </c:pt>
                <c:pt idx="24">
                  <c:v>-2.8923657392763924</c:v>
                </c:pt>
                <c:pt idx="25">
                  <c:v>-2.9169172156273317</c:v>
                </c:pt>
                <c:pt idx="26">
                  <c:v>-2.7234734017247519</c:v>
                </c:pt>
                <c:pt idx="27">
                  <c:v>-2.5169816577217103</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9"/>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5"/>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avian (2.1%)</c:v>
                </c:pt>
                <c:pt idx="1">
                  <c:v>Bottega (3.7%)</c:v>
                </c:pt>
                <c:pt idx="2">
                  <c:v>Nicolas (14.4%)</c:v>
                </c:pt>
                <c:pt idx="3">
                  <c:v>Les Grumes  (1.0%)</c:v>
                </c:pt>
                <c:pt idx="4">
                  <c:v>Patriarche (2.6%)</c:v>
                </c:pt>
                <c:pt idx="5">
                  <c:v>Bouvet Ladubay (1.5%)</c:v>
                </c:pt>
                <c:pt idx="6">
                  <c:v>Muré (1.3%)</c:v>
                </c:pt>
                <c:pt idx="7">
                  <c:v>Heidsieck &amp; C° Monopole (4.2%)</c:v>
                </c:pt>
                <c:pt idx="8">
                  <c:v>Dea Augusta (0.5%)</c:v>
                </c:pt>
                <c:pt idx="9">
                  <c:v>Malard (6.0%)</c:v>
                </c:pt>
              </c:strCache>
            </c:strRef>
          </c:cat>
          <c:val>
            <c:numRef>
              <c:f>Sheet1!$B$2:$B$11</c:f>
              <c:numCache>
                <c:formatCode>General</c:formatCode>
                <c:ptCount val="10"/>
                <c:pt idx="0">
                  <c:v>0.28026913436447232</c:v>
                </c:pt>
                <c:pt idx="1">
                  <c:v>0.13863084424138941</c:v>
                </c:pt>
                <c:pt idx="2">
                  <c:v>8.0571395395179476E-2</c:v>
                </c:pt>
                <c:pt idx="3">
                  <c:v>7.3088378688002623E-2</c:v>
                </c:pt>
                <c:pt idx="4">
                  <c:v>5.5584648968756034E-2</c:v>
                </c:pt>
                <c:pt idx="5">
                  <c:v>4.5113428436155491E-2</c:v>
                </c:pt>
                <c:pt idx="6">
                  <c:v>4.1054459770541479E-2</c:v>
                </c:pt>
                <c:pt idx="7">
                  <c:v>2.9551727246056977E-2</c:v>
                </c:pt>
                <c:pt idx="8">
                  <c:v>2.5802887187803592E-2</c:v>
                </c:pt>
                <c:pt idx="9">
                  <c:v>2.50633767683823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Deutz Brut Classique 750ml (3.4%)</c:v>
                </c:pt>
                <c:pt idx="6">
                  <c:v>Champagne Laurent-Perrier Blanc La Cuvée 750ml (2.7%)</c:v>
                </c:pt>
                <c:pt idx="7">
                  <c:v>Champagne Canard-Duchêne Blanc Cuvée Léonie Brut 750ml (2.6%)</c:v>
                </c:pt>
                <c:pt idx="8">
                  <c:v>Champagne Vranken Demoiselle Tête de Cuvée 750ml (1.4%)</c:v>
                </c:pt>
                <c:pt idx="9">
                  <c:v>Champagne Vranken Demoiselle Rosé Prestige 750ml (2.0%)</c:v>
                </c:pt>
              </c:strCache>
            </c:strRef>
          </c:cat>
          <c:val>
            <c:numRef>
              <c:f>Sheet1!$B$2:$B$11</c:f>
              <c:numCache>
                <c:formatCode>General</c:formatCode>
                <c:ptCount val="10"/>
                <c:pt idx="0">
                  <c:v>8.4059573035172072E-2</c:v>
                </c:pt>
                <c:pt idx="1">
                  <c:v>8.3407804645713318E-2</c:v>
                </c:pt>
                <c:pt idx="2">
                  <c:v>8.098082574912463E-2</c:v>
                </c:pt>
                <c:pt idx="3">
                  <c:v>5.4673249423472077E-2</c:v>
                </c:pt>
                <c:pt idx="4">
                  <c:v>5.1311770393978405E-2</c:v>
                </c:pt>
                <c:pt idx="5">
                  <c:v>3.856716156501739E-2</c:v>
                </c:pt>
                <c:pt idx="6">
                  <c:v>3.6829266780320599E-2</c:v>
                </c:pt>
                <c:pt idx="7">
                  <c:v>3.1243348785294466E-2</c:v>
                </c:pt>
                <c:pt idx="8">
                  <c:v>2.6589315877908179E-2</c:v>
                </c:pt>
                <c:pt idx="9">
                  <c:v>2.552777202852184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E.Nicolas Brut 750ml (11.6%)</c:v>
                </c:pt>
                <c:pt idx="2">
                  <c:v>Champagne Heidsieck Monopole Silver Top 750ml (4.2%)</c:v>
                </c:pt>
                <c:pt idx="3">
                  <c:v>Champagne Malard Brut 1er Cru 750ml (4.1%)</c:v>
                </c:pt>
                <c:pt idx="4">
                  <c:v>Champagne Besserat de Bellefon Bleu Brut 750ml (1.7%)</c:v>
                </c:pt>
                <c:pt idx="5">
                  <c:v>Champagne Laurent-Perrier Blanc La Cuvée 750ml (2.7%)</c:v>
                </c:pt>
                <c:pt idx="6">
                  <c:v>Champagne Ruinart Brut 750ml (7.3%)</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7.4537761663870106E-2</c:v>
                </c:pt>
                <c:pt idx="1">
                  <c:v>5.8587950196807452E-2</c:v>
                </c:pt>
                <c:pt idx="2">
                  <c:v>5.7195680712650777E-2</c:v>
                </c:pt>
                <c:pt idx="3">
                  <c:v>5.1961795677259989E-2</c:v>
                </c:pt>
                <c:pt idx="4">
                  <c:v>5.1075385336653942E-2</c:v>
                </c:pt>
                <c:pt idx="5">
                  <c:v>4.9561808101716315E-2</c:v>
                </c:pt>
                <c:pt idx="6">
                  <c:v>4.4394322983400354E-2</c:v>
                </c:pt>
                <c:pt idx="7">
                  <c:v>3.9357784297099276E-2</c:v>
                </c:pt>
                <c:pt idx="8">
                  <c:v>3.3674101456684723E-2</c:v>
                </c:pt>
                <c:pt idx="9">
                  <c:v>2.839719337995749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urent-Perrier Blanc La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0000000000003</c:v>
                </c:pt>
                <c:pt idx="1">
                  <c:v>39.950000000000003</c:v>
                </c:pt>
                <c:pt idx="2">
                  <c:v>42.95</c:v>
                </c:pt>
                <c:pt idx="3">
                  <c:v>47.95</c:v>
                </c:pt>
                <c:pt idx="4">
                  <c:v>49.95</c:v>
                </c:pt>
              </c:numCache>
            </c:numRef>
          </c:xVal>
          <c:yVal>
            <c:numRef>
              <c:f>Sheet1!$B$2:$B$6</c:f>
              <c:numCache>
                <c:formatCode>General</c:formatCode>
                <c:ptCount val="5"/>
                <c:pt idx="0">
                  <c:v>0.79908874091153825</c:v>
                </c:pt>
                <c:pt idx="1">
                  <c:v>0.36954478392281132</c:v>
                </c:pt>
                <c:pt idx="2">
                  <c:v>0</c:v>
                </c:pt>
                <c:pt idx="3">
                  <c:v>-0.28006215079530228</c:v>
                </c:pt>
                <c:pt idx="4">
                  <c:v>-0.3453038693394878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Laurent-Perrier Blanc La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c:v>
                </c:pt>
                <c:pt idx="1">
                  <c:v>69</c:v>
                </c:pt>
                <c:pt idx="2">
                  <c:v>79</c:v>
                </c:pt>
                <c:pt idx="3">
                  <c:v>89</c:v>
                </c:pt>
                <c:pt idx="4">
                  <c:v>95</c:v>
                </c:pt>
              </c:numCache>
            </c:numRef>
          </c:xVal>
          <c:yVal>
            <c:numRef>
              <c:f>Sheet1!$B$9:$B$13</c:f>
              <c:numCache>
                <c:formatCode>General</c:formatCode>
                <c:ptCount val="5"/>
                <c:pt idx="0">
                  <c:v>0.40351887050324931</c:v>
                </c:pt>
                <c:pt idx="1">
                  <c:v>0.23188474587818042</c:v>
                </c:pt>
                <c:pt idx="2">
                  <c:v>0</c:v>
                </c:pt>
                <c:pt idx="3">
                  <c:v>-0.14856547651769186</c:v>
                </c:pt>
                <c:pt idx="4">
                  <c:v>-0.2430198172426408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Laurent-Perrier Blanc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5.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9</c:v>
                </c:pt>
                <c:pt idx="1">
                  <c:v>69</c:v>
                </c:pt>
                <c:pt idx="2">
                  <c:v>75</c:v>
                </c:pt>
                <c:pt idx="3">
                  <c:v>79</c:v>
                </c:pt>
                <c:pt idx="4">
                  <c:v>89</c:v>
                </c:pt>
              </c:numCache>
            </c:numRef>
          </c:xVal>
          <c:yVal>
            <c:numRef>
              <c:f>Sheet1!$B$16:$B$20</c:f>
              <c:numCache>
                <c:formatCode>General</c:formatCode>
                <c:ptCount val="5"/>
                <c:pt idx="0">
                  <c:v>1.2275427291252798</c:v>
                </c:pt>
                <c:pt idx="1">
                  <c:v>0.28274079250688838</c:v>
                </c:pt>
                <c:pt idx="2">
                  <c:v>0</c:v>
                </c:pt>
                <c:pt idx="3">
                  <c:v>-0.10450938995915629</c:v>
                </c:pt>
                <c:pt idx="4">
                  <c:v>-0.296494484058710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
          <c:min val="34.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4.27807878123926</c:v>
                </c:pt>
                <c:pt idx="1">
                  <c:v>168.80682293312483</c:v>
                </c:pt>
                <c:pt idx="2">
                  <c:v>163.74066256183534</c:v>
                </c:pt>
                <c:pt idx="3">
                  <c:v>159.03978067109995</c:v>
                </c:pt>
                <c:pt idx="4">
                  <c:v>154.66768547206095</c:v>
                </c:pt>
                <c:pt idx="5">
                  <c:v>150.59135282727584</c:v>
                </c:pt>
                <c:pt idx="6">
                  <c:v>146.78118280800783</c:v>
                </c:pt>
                <c:pt idx="7">
                  <c:v>143.21082954829433</c:v>
                </c:pt>
                <c:pt idx="8">
                  <c:v>139.85695507565188</c:v>
                </c:pt>
                <c:pt idx="9">
                  <c:v>136.69894615299992</c:v>
                </c:pt>
                <c:pt idx="10">
                  <c:v>129.47411251170124</c:v>
                </c:pt>
                <c:pt idx="11">
                  <c:v>122.45518077574306</c:v>
                </c:pt>
                <c:pt idx="12">
                  <c:v>116.06428061015717</c:v>
                </c:pt>
                <c:pt idx="13">
                  <c:v>110.23143300457963</c:v>
                </c:pt>
                <c:pt idx="14">
                  <c:v>104.89482015132101</c:v>
                </c:pt>
                <c:pt idx="15">
                  <c:v>100</c:v>
                </c:pt>
                <c:pt idx="16">
                  <c:v>95.499156698437943</c:v>
                </c:pt>
                <c:pt idx="17">
                  <c:v>91.350379037735024</c:v>
                </c:pt>
                <c:pt idx="18">
                  <c:v>87.516971396942111</c:v>
                </c:pt>
                <c:pt idx="19">
                  <c:v>83.966807216936772</c:v>
                </c:pt>
                <c:pt idx="20">
                  <c:v>81.633257406642528</c:v>
                </c:pt>
                <c:pt idx="21">
                  <c:v>79.50727901203004</c:v>
                </c:pt>
                <c:pt idx="22">
                  <c:v>77.469756739792544</c:v>
                </c:pt>
                <c:pt idx="23">
                  <c:v>75.516144245936445</c:v>
                </c:pt>
                <c:pt idx="24">
                  <c:v>73.642158482452231</c:v>
                </c:pt>
                <c:pt idx="25">
                  <c:v>71.84376131345698</c:v>
                </c:pt>
                <c:pt idx="26">
                  <c:v>70.117143089975912</c:v>
                </c:pt>
                <c:pt idx="27">
                  <c:v>68.458707920651946</c:v>
                </c:pt>
                <c:pt idx="28">
                  <c:v>66.865060381114276</c:v>
                </c:pt>
                <c:pt idx="29">
                  <c:v>65.3329934271234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4.62155546269187</c:v>
                </c:pt>
                <c:pt idx="1">
                  <c:v>141.97715332600987</c:v>
                </c:pt>
                <c:pt idx="2">
                  <c:v>139.55682991378342</c:v>
                </c:pt>
                <c:pt idx="3">
                  <c:v>137.33947610017319</c:v>
                </c:pt>
                <c:pt idx="4">
                  <c:v>135.30518302094484</c:v>
                </c:pt>
                <c:pt idx="5">
                  <c:v>133.43553823527364</c:v>
                </c:pt>
                <c:pt idx="6">
                  <c:v>131.71376769201095</c:v>
                </c:pt>
                <c:pt idx="7">
                  <c:v>130.12476238069698</c:v>
                </c:pt>
                <c:pt idx="8">
                  <c:v>128.65502594237958</c:v>
                </c:pt>
                <c:pt idx="9">
                  <c:v>127.29257320006991</c:v>
                </c:pt>
                <c:pt idx="10">
                  <c:v>122.04504903748021</c:v>
                </c:pt>
                <c:pt idx="11">
                  <c:v>116.83201285608085</c:v>
                </c:pt>
                <c:pt idx="12">
                  <c:v>112.06562685952008</c:v>
                </c:pt>
                <c:pt idx="13">
                  <c:v>107.69882320107698</c:v>
                </c:pt>
                <c:pt idx="14">
                  <c:v>103.68946262818051</c:v>
                </c:pt>
                <c:pt idx="15">
                  <c:v>100</c:v>
                </c:pt>
                <c:pt idx="16">
                  <c:v>96.597135837970455</c:v>
                </c:pt>
                <c:pt idx="17">
                  <c:v>93.451448071994321</c:v>
                </c:pt>
                <c:pt idx="18">
                  <c:v>90.53701027518963</c:v>
                </c:pt>
                <c:pt idx="19">
                  <c:v>87.831008934736303</c:v>
                </c:pt>
                <c:pt idx="20">
                  <c:v>86.324618120473019</c:v>
                </c:pt>
                <c:pt idx="21">
                  <c:v>84.98652560116966</c:v>
                </c:pt>
                <c:pt idx="22">
                  <c:v>83.695758898134926</c:v>
                </c:pt>
                <c:pt idx="23">
                  <c:v>82.45033766674112</c:v>
                </c:pt>
                <c:pt idx="24">
                  <c:v>81.248369572095825</c:v>
                </c:pt>
                <c:pt idx="25">
                  <c:v>80.088044297529038</c:v>
                </c:pt>
                <c:pt idx="26">
                  <c:v>78.967628556725828</c:v>
                </c:pt>
                <c:pt idx="27">
                  <c:v>77.885461958866344</c:v>
                </c:pt>
                <c:pt idx="28">
                  <c:v>76.839953560153432</c:v>
                </c:pt>
                <c:pt idx="29">
                  <c:v>75.82957893896272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96.006819167997008</c:v>
                </c:pt>
                <c:pt idx="1">
                  <c:v>98.047066048961611</c:v>
                </c:pt>
                <c:pt idx="2">
                  <c:v>100.00709990257963</c:v>
                </c:pt>
                <c:pt idx="3">
                  <c:v>101.89779678514583</c:v>
                </c:pt>
                <c:pt idx="4">
                  <c:v>103.72749413025008</c:v>
                </c:pt>
                <c:pt idx="5">
                  <c:v>105.50258834589179</c:v>
                </c:pt>
                <c:pt idx="6">
                  <c:v>107.22802220543261</c:v>
                </c:pt>
                <c:pt idx="7">
                  <c:v>108.90766808009018</c:v>
                </c:pt>
                <c:pt idx="8">
                  <c:v>110.54462051547536</c:v>
                </c:pt>
                <c:pt idx="9">
                  <c:v>112.14141424073078</c:v>
                </c:pt>
                <c:pt idx="10">
                  <c:v>110.09110128338668</c:v>
                </c:pt>
                <c:pt idx="11">
                  <c:v>107.78939100265931</c:v>
                </c:pt>
                <c:pt idx="12">
                  <c:v>105.63899074812575</c:v>
                </c:pt>
                <c:pt idx="13">
                  <c:v>103.63052395120305</c:v>
                </c:pt>
                <c:pt idx="14">
                  <c:v>101.75414988551586</c:v>
                </c:pt>
                <c:pt idx="15">
                  <c:v>100</c:v>
                </c:pt>
                <c:pt idx="16">
                  <c:v>98.358510109975043</c:v>
                </c:pt>
                <c:pt idx="17">
                  <c:v>96.820647613437131</c:v>
                </c:pt>
                <c:pt idx="18">
                  <c:v>95.378044501119703</c:v>
                </c:pt>
                <c:pt idx="19">
                  <c:v>94.023054202646875</c:v>
                </c:pt>
                <c:pt idx="20">
                  <c:v>93.854220456486431</c:v>
                </c:pt>
                <c:pt idx="21">
                  <c:v>93.790509399265645</c:v>
                </c:pt>
                <c:pt idx="22">
                  <c:v>93.706485378879151</c:v>
                </c:pt>
                <c:pt idx="23">
                  <c:v>93.60445850048788</c:v>
                </c:pt>
                <c:pt idx="24">
                  <c:v>93.486528624820551</c:v>
                </c:pt>
                <c:pt idx="25">
                  <c:v>93.354600896886893</c:v>
                </c:pt>
                <c:pt idx="26">
                  <c:v>93.21040057581132</c:v>
                </c:pt>
                <c:pt idx="27">
                  <c:v>93.055487219191207</c:v>
                </c:pt>
                <c:pt idx="28">
                  <c:v>92.891268220021317</c:v>
                </c:pt>
                <c:pt idx="29">
                  <c:v>92.7190116643681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5987096528581471</c:v>
                </c:pt>
                <c:pt idx="1">
                  <c:v>0.27017916911191775</c:v>
                </c:pt>
                <c:pt idx="2">
                  <c:v>0.28020418052521556</c:v>
                </c:pt>
                <c:pt idx="3">
                  <c:v>0.28995751141240778</c:v>
                </c:pt>
                <c:pt idx="4">
                  <c:v>0.29945005805127922</c:v>
                </c:pt>
                <c:pt idx="5">
                  <c:v>0.30869214171814874</c:v>
                </c:pt>
                <c:pt idx="6">
                  <c:v>0.31769354612286049</c:v>
                </c:pt>
                <c:pt idx="7">
                  <c:v>0.32646355195675686</c:v>
                </c:pt>
                <c:pt idx="8">
                  <c:v>0.33501096881009756</c:v>
                </c:pt>
                <c:pt idx="9">
                  <c:v>0.34334416468967022</c:v>
                </c:pt>
                <c:pt idx="10">
                  <c:v>0.35147109334450088</c:v>
                </c:pt>
                <c:pt idx="11">
                  <c:v>0.35939931958723337</c:v>
                </c:pt>
                <c:pt idx="12">
                  <c:v>0.36713604278062428</c:v>
                </c:pt>
                <c:pt idx="13">
                  <c:v>0.37468811864243062</c:v>
                </c:pt>
                <c:pt idx="14">
                  <c:v>0.38206207950749627</c:v>
                </c:pt>
                <c:pt idx="15">
                  <c:v>0.38926415317291002</c:v>
                </c:pt>
                <c:pt idx="16">
                  <c:v>0.39630028044050325</c:v>
                </c:pt>
                <c:pt idx="17">
                  <c:v>0.40317613146054304</c:v>
                </c:pt>
                <c:pt idx="18">
                  <c:v>0.40989712097112257</c:v>
                </c:pt>
                <c:pt idx="19">
                  <c:v>0.41646842251932842</c:v>
                </c:pt>
                <c:pt idx="20">
                  <c:v>0.4228949817426837</c:v>
                </c:pt>
                <c:pt idx="21">
                  <c:v>0.42918152878252375</c:v>
                </c:pt>
                <c:pt idx="22">
                  <c:v>0.43533258989478107</c:v>
                </c:pt>
                <c:pt idx="23">
                  <c:v>0.4413524983180776</c:v>
                </c:pt>
                <c:pt idx="24">
                  <c:v>0.44724540445396299</c:v>
                </c:pt>
                <c:pt idx="25">
                  <c:v>0.45301528540955838</c:v>
                </c:pt>
                <c:pt idx="26">
                  <c:v>0.45866595394871579</c:v>
                </c:pt>
                <c:pt idx="27">
                  <c:v>0.4642010668940254</c:v>
                </c:pt>
                <c:pt idx="28">
                  <c:v>0.46962413301857991</c:v>
                </c:pt>
                <c:pt idx="29">
                  <c:v>0.474938520463283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Malard Brut 1er Cru 750ml (4.1%)</c:v>
                </c:pt>
                <c:pt idx="4">
                  <c:v>Champagne Canard-Duchêne Blanc Cuvée Léonie Brut 750ml (2.6%)</c:v>
                </c:pt>
                <c:pt idx="5">
                  <c:v>Champagne Vranken Demoiselle Tête de Cuvée 750ml (1.4%)</c:v>
                </c:pt>
                <c:pt idx="6">
                  <c:v>Champagne Besserat de Bellefon Bleu Brut 750ml (1.7%)</c:v>
                </c:pt>
                <c:pt idx="7">
                  <c:v>Champagne Vranken Demoiselle Rosé Prestige 750ml (2.0%)</c:v>
                </c:pt>
                <c:pt idx="8">
                  <c:v>Champagne Deutz Brut Classique 750ml (3.4%)</c:v>
                </c:pt>
                <c:pt idx="9">
                  <c:v>Champagne Ruinart Brut 750ml (7.3%)</c:v>
                </c:pt>
              </c:strCache>
            </c:strRef>
          </c:cat>
          <c:val>
            <c:numRef>
              <c:f>Sheet1!$B$2:$B$11</c:f>
              <c:numCache>
                <c:formatCode>General</c:formatCode>
                <c:ptCount val="10"/>
                <c:pt idx="0">
                  <c:v>0.13249848255155333</c:v>
                </c:pt>
                <c:pt idx="1">
                  <c:v>6.8309149207530145E-2</c:v>
                </c:pt>
                <c:pt idx="2">
                  <c:v>6.7431974132902583E-2</c:v>
                </c:pt>
                <c:pt idx="3">
                  <c:v>5.2337237968325664E-2</c:v>
                </c:pt>
                <c:pt idx="4">
                  <c:v>4.2216896562557553E-2</c:v>
                </c:pt>
                <c:pt idx="5">
                  <c:v>3.916954786800942E-2</c:v>
                </c:pt>
                <c:pt idx="6">
                  <c:v>3.6368546437997869E-2</c:v>
                </c:pt>
                <c:pt idx="7">
                  <c:v>2.7209813008775726E-2</c:v>
                </c:pt>
                <c:pt idx="8">
                  <c:v>2.6553020081600792E-2</c:v>
                </c:pt>
                <c:pt idx="9">
                  <c:v>2.64018855722950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Taittinger Prestige Brut 750ml (1.6%)</c:v>
                </c:pt>
                <c:pt idx="4">
                  <c:v>Champagne Vranken Demoiselle Tête de Cuvée 750ml (1.4%)</c:v>
                </c:pt>
                <c:pt idx="5">
                  <c:v>Champagne Malard Brut 1er Cru 750ml (4.1%)</c:v>
                </c:pt>
                <c:pt idx="6">
                  <c:v>Champagne Moët &amp; Chandon Réserve Impériale 750ml (1.1%)</c:v>
                </c:pt>
                <c:pt idx="7">
                  <c:v>Champagne Deutz Brut Classique 750ml (3.4%)</c:v>
                </c:pt>
                <c:pt idx="8">
                  <c:v>Champagne Veuve Clicquot Réserve Cuvée 750ml (1.7%)</c:v>
                </c:pt>
                <c:pt idx="9">
                  <c:v>Champagne Ruinart Brut 750ml (7.3%)</c:v>
                </c:pt>
              </c:strCache>
            </c:strRef>
          </c:cat>
          <c:val>
            <c:numRef>
              <c:f>Sheet1!$B$2:$B$11</c:f>
              <c:numCache>
                <c:formatCode>General</c:formatCode>
                <c:ptCount val="10"/>
                <c:pt idx="0">
                  <c:v>0.10025053190697332</c:v>
                </c:pt>
                <c:pt idx="1">
                  <c:v>6.1454021708435537E-2</c:v>
                </c:pt>
                <c:pt idx="2">
                  <c:v>5.8219656257510237E-2</c:v>
                </c:pt>
                <c:pt idx="3">
                  <c:v>3.8594918865717726E-2</c:v>
                </c:pt>
                <c:pt idx="4">
                  <c:v>3.7894712205145918E-2</c:v>
                </c:pt>
                <c:pt idx="5">
                  <c:v>3.7524947585661661E-2</c:v>
                </c:pt>
                <c:pt idx="6">
                  <c:v>3.7499039141287931E-2</c:v>
                </c:pt>
                <c:pt idx="7">
                  <c:v>3.5346865469878676E-2</c:v>
                </c:pt>
                <c:pt idx="8">
                  <c:v>3.4688277798547718E-2</c:v>
                </c:pt>
                <c:pt idx="9">
                  <c:v>3.427310802987157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B$2:$B$61</c:f>
              <c:numCache>
                <c:formatCode>General</c:formatCode>
                <c:ptCount val="60"/>
                <c:pt idx="0">
                  <c:v>140.62649445742261</c:v>
                </c:pt>
                <c:pt idx="1">
                  <c:v>138.24632429289667</c:v>
                </c:pt>
                <c:pt idx="2">
                  <c:v>135.94593085934969</c:v>
                </c:pt>
                <c:pt idx="3">
                  <c:v>133.72133036501532</c:v>
                </c:pt>
                <c:pt idx="4">
                  <c:v>131.56878316878488</c:v>
                </c:pt>
                <c:pt idx="5">
                  <c:v>129.48477751526218</c:v>
                </c:pt>
                <c:pt idx="6">
                  <c:v>127.46601431176445</c:v>
                </c:pt>
                <c:pt idx="7">
                  <c:v>125.50939290263787</c:v>
                </c:pt>
                <c:pt idx="8">
                  <c:v>123.9618919448553</c:v>
                </c:pt>
                <c:pt idx="9">
                  <c:v>122.55349993448459</c:v>
                </c:pt>
                <c:pt idx="10">
                  <c:v>121.19358292140487</c:v>
                </c:pt>
                <c:pt idx="11">
                  <c:v>119.87967752070399</c:v>
                </c:pt>
                <c:pt idx="12">
                  <c:v>118.60947045934492</c:v>
                </c:pt>
                <c:pt idx="13">
                  <c:v>117.38078785626995</c:v>
                </c:pt>
                <c:pt idx="14">
                  <c:v>116.1915854234862</c:v>
                </c:pt>
                <c:pt idx="15">
                  <c:v>115.03993949165854</c:v>
                </c:pt>
                <c:pt idx="16">
                  <c:v>113.92403877573844</c:v>
                </c:pt>
                <c:pt idx="17">
                  <c:v>112.84217680646434</c:v>
                </c:pt>
                <c:pt idx="18">
                  <c:v>111.7927449624564</c:v>
                </c:pt>
                <c:pt idx="19">
                  <c:v>110.77422604528475</c:v>
                </c:pt>
                <c:pt idx="20">
                  <c:v>109.6172164380812</c:v>
                </c:pt>
                <c:pt idx="21">
                  <c:v>108.43916355312024</c:v>
                </c:pt>
                <c:pt idx="22">
                  <c:v>107.28081383267288</c:v>
                </c:pt>
                <c:pt idx="23">
                  <c:v>106.14179700022454</c:v>
                </c:pt>
                <c:pt idx="24">
                  <c:v>105.02175795239741</c:v>
                </c:pt>
                <c:pt idx="25">
                  <c:v>103.92035544484584</c:v>
                </c:pt>
                <c:pt idx="26">
                  <c:v>102.83726084628582</c:v>
                </c:pt>
                <c:pt idx="27">
                  <c:v>101.77215696244086</c:v>
                </c:pt>
                <c:pt idx="28">
                  <c:v>100.86196469160656</c:v>
                </c:pt>
                <c:pt idx="29">
                  <c:v>100</c:v>
                </c:pt>
                <c:pt idx="30">
                  <c:v>99.15137045673211</c:v>
                </c:pt>
                <c:pt idx="31">
                  <c:v>98.315886158599014</c:v>
                </c:pt>
                <c:pt idx="32">
                  <c:v>97.493360708114963</c:v>
                </c:pt>
                <c:pt idx="33">
                  <c:v>96.683610773630548</c:v>
                </c:pt>
                <c:pt idx="34">
                  <c:v>95.886455688393028</c:v>
                </c:pt>
                <c:pt idx="35">
                  <c:v>95.101717087881738</c:v>
                </c:pt>
                <c:pt idx="36">
                  <c:v>94.329218584527382</c:v>
                </c:pt>
                <c:pt idx="37">
                  <c:v>93.568785478729936</c:v>
                </c:pt>
                <c:pt idx="38">
                  <c:v>92.820244504899847</c:v>
                </c:pt>
                <c:pt idx="39">
                  <c:v>92.08342361109915</c:v>
                </c:pt>
                <c:pt idx="40">
                  <c:v>91.358151770718138</c:v>
                </c:pt>
                <c:pt idx="41">
                  <c:v>90.644258824510914</c:v>
                </c:pt>
                <c:pt idx="42">
                  <c:v>89.941575351228749</c:v>
                </c:pt>
                <c:pt idx="43">
                  <c:v>89.249932565010667</c:v>
                </c:pt>
                <c:pt idx="44">
                  <c:v>88.569162237653984</c:v>
                </c:pt>
                <c:pt idx="45">
                  <c:v>87.8990966438502</c:v>
                </c:pt>
                <c:pt idx="46">
                  <c:v>87.239568527470112</c:v>
                </c:pt>
                <c:pt idx="47">
                  <c:v>86.590411086983082</c:v>
                </c:pt>
                <c:pt idx="48">
                  <c:v>85.746374311045884</c:v>
                </c:pt>
                <c:pt idx="49">
                  <c:v>84.869001676617231</c:v>
                </c:pt>
                <c:pt idx="50">
                  <c:v>84.009862223469057</c:v>
                </c:pt>
                <c:pt idx="51">
                  <c:v>83.168372099190506</c:v>
                </c:pt>
                <c:pt idx="52">
                  <c:v>82.343972424115336</c:v>
                </c:pt>
                <c:pt idx="53">
                  <c:v>81.5361280063766</c:v>
                </c:pt>
                <c:pt idx="54">
                  <c:v>80.744326129261083</c:v>
                </c:pt>
                <c:pt idx="55">
                  <c:v>79.96807540654784</c:v>
                </c:pt>
                <c:pt idx="56">
                  <c:v>79.206904701788773</c:v>
                </c:pt>
                <c:pt idx="57">
                  <c:v>78.460362107753198</c:v>
                </c:pt>
                <c:pt idx="58">
                  <c:v>77.728013982506639</c:v>
                </c:pt>
                <c:pt idx="59">
                  <c:v>77.0094440388333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C$2:$C$61</c:f>
              <c:numCache>
                <c:formatCode>General</c:formatCode>
                <c:ptCount val="60"/>
                <c:pt idx="0">
                  <c:v>115.47754061067405</c:v>
                </c:pt>
                <c:pt idx="1">
                  <c:v>114.3709185292322</c:v>
                </c:pt>
                <c:pt idx="2">
                  <c:v>113.30191932262463</c:v>
                </c:pt>
                <c:pt idx="3">
                  <c:v>112.26863286321449</c:v>
                </c:pt>
                <c:pt idx="4">
                  <c:v>111.26926099594701</c:v>
                </c:pt>
                <c:pt idx="5">
                  <c:v>110.30211084271548</c:v>
                </c:pt>
                <c:pt idx="6">
                  <c:v>109.36558843680544</c:v>
                </c:pt>
                <c:pt idx="7">
                  <c:v>108.45819268987395</c:v>
                </c:pt>
                <c:pt idx="8">
                  <c:v>107.8860873252189</c:v>
                </c:pt>
                <c:pt idx="9">
                  <c:v>107.41765114758672</c:v>
                </c:pt>
                <c:pt idx="10">
                  <c:v>106.97466404528984</c:v>
                </c:pt>
                <c:pt idx="11">
                  <c:v>106.55582766745471</c:v>
                </c:pt>
                <c:pt idx="12">
                  <c:v>106.15991780986313</c:v>
                </c:pt>
                <c:pt idx="13">
                  <c:v>105.7857793272223</c:v>
                </c:pt>
                <c:pt idx="14">
                  <c:v>105.43232149032048</c:v>
                </c:pt>
                <c:pt idx="15">
                  <c:v>105.09851373903423</c:v>
                </c:pt>
                <c:pt idx="16">
                  <c:v>104.78338178850515</c:v>
                </c:pt>
                <c:pt idx="17">
                  <c:v>104.4860040512557</c:v>
                </c:pt>
                <c:pt idx="18">
                  <c:v>104.20550834269456</c:v>
                </c:pt>
                <c:pt idx="19">
                  <c:v>103.941068841481</c:v>
                </c:pt>
                <c:pt idx="20">
                  <c:v>103.53161337224934</c:v>
                </c:pt>
                <c:pt idx="21">
                  <c:v>103.08753033638212</c:v>
                </c:pt>
                <c:pt idx="22">
                  <c:v>102.64783316810657</c:v>
                </c:pt>
                <c:pt idx="23">
                  <c:v>102.21252730178693</c:v>
                </c:pt>
                <c:pt idx="24">
                  <c:v>101.78162384780588</c:v>
                </c:pt>
                <c:pt idx="25">
                  <c:v>101.35513876990441</c:v>
                </c:pt>
                <c:pt idx="26">
                  <c:v>100.93309208167338</c:v>
                </c:pt>
                <c:pt idx="27">
                  <c:v>100.5155070668383</c:v>
                </c:pt>
                <c:pt idx="28">
                  <c:v>100.23919246006511</c:v>
                </c:pt>
                <c:pt idx="29">
                  <c:v>100</c:v>
                </c:pt>
                <c:pt idx="30">
                  <c:v>99.763610286250042</c:v>
                </c:pt>
                <c:pt idx="31">
                  <c:v>99.530077216212476</c:v>
                </c:pt>
                <c:pt idx="32">
                  <c:v>99.299453573558267</c:v>
                </c:pt>
                <c:pt idx="33">
                  <c:v>99.071790685216868</c:v>
                </c:pt>
                <c:pt idx="34">
                  <c:v>98.847138102415073</c:v>
                </c:pt>
                <c:pt idx="35">
                  <c:v>98.625543306738749</c:v>
                </c:pt>
                <c:pt idx="36">
                  <c:v>98.407051441922349</c:v>
                </c:pt>
                <c:pt idx="37">
                  <c:v>98.19170507182173</c:v>
                </c:pt>
                <c:pt idx="38">
                  <c:v>97.979543964773981</c:v>
                </c:pt>
                <c:pt idx="39">
                  <c:v>97.77060490432666</c:v>
                </c:pt>
                <c:pt idx="40">
                  <c:v>97.564921526101628</c:v>
                </c:pt>
                <c:pt idx="41">
                  <c:v>97.362524180359344</c:v>
                </c:pt>
                <c:pt idx="42">
                  <c:v>97.163439819657341</c:v>
                </c:pt>
                <c:pt idx="43">
                  <c:v>96.967691910825366</c:v>
                </c:pt>
                <c:pt idx="44">
                  <c:v>96.775300370347793</c:v>
                </c:pt>
                <c:pt idx="45">
                  <c:v>96.586281522114248</c:v>
                </c:pt>
                <c:pt idx="46">
                  <c:v>96.400648076401353</c:v>
                </c:pt>
                <c:pt idx="47">
                  <c:v>96.2184091288578</c:v>
                </c:pt>
                <c:pt idx="48">
                  <c:v>95.810098866992277</c:v>
                </c:pt>
                <c:pt idx="49">
                  <c:v>95.353884341702994</c:v>
                </c:pt>
                <c:pt idx="50">
                  <c:v>94.907486525543305</c:v>
                </c:pt>
                <c:pt idx="51">
                  <c:v>94.470576413816289</c:v>
                </c:pt>
                <c:pt idx="52">
                  <c:v>94.042839337273264</c:v>
                </c:pt>
                <c:pt idx="53">
                  <c:v>93.623974240811847</c:v>
                </c:pt>
                <c:pt idx="54">
                  <c:v>93.213692999341518</c:v>
                </c:pt>
                <c:pt idx="55">
                  <c:v>92.811719768825469</c:v>
                </c:pt>
                <c:pt idx="56">
                  <c:v>92.417790370621205</c:v>
                </c:pt>
                <c:pt idx="57">
                  <c:v>92.03165170736267</c:v>
                </c:pt>
                <c:pt idx="58">
                  <c:v>91.653061208740439</c:v>
                </c:pt>
                <c:pt idx="59">
                  <c:v>91.2817863056507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D$2:$D$61</c:f>
              <c:numCache>
                <c:formatCode>General</c:formatCode>
                <c:ptCount val="60"/>
                <c:pt idx="0">
                  <c:v>67.448163039925575</c:v>
                </c:pt>
                <c:pt idx="1">
                  <c:v>68.787252020021143</c:v>
                </c:pt>
                <c:pt idx="2">
                  <c:v>70.082047860075306</c:v>
                </c:pt>
                <c:pt idx="3">
                  <c:v>71.334719896436539</c:v>
                </c:pt>
                <c:pt idx="4">
                  <c:v>72.547286151224469</c:v>
                </c:pt>
                <c:pt idx="5">
                  <c:v>73.721625977050493</c:v>
                </c:pt>
                <c:pt idx="6">
                  <c:v>74.859491562522663</c:v>
                </c:pt>
                <c:pt idx="7">
                  <c:v>75.962518402395446</c:v>
                </c:pt>
                <c:pt idx="8">
                  <c:v>77.250281044601678</c:v>
                </c:pt>
                <c:pt idx="9">
                  <c:v>78.571692963781246</c:v>
                </c:pt>
                <c:pt idx="10">
                  <c:v>79.874508930557326</c:v>
                </c:pt>
                <c:pt idx="11">
                  <c:v>81.159670704742382</c:v>
                </c:pt>
                <c:pt idx="12">
                  <c:v>82.42804755575871</c:v>
                </c:pt>
                <c:pt idx="13">
                  <c:v>83.680442088432088</c:v>
                </c:pt>
                <c:pt idx="14">
                  <c:v>84.91759558773488</c:v>
                </c:pt>
                <c:pt idx="15">
                  <c:v>86.140192925923273</c:v>
                </c:pt>
                <c:pt idx="16">
                  <c:v>87.34886707086325</c:v>
                </c:pt>
                <c:pt idx="17">
                  <c:v>88.544203230308426</c:v>
                </c:pt>
                <c:pt idx="18">
                  <c:v>89.726742663372562</c:v>
                </c:pt>
                <c:pt idx="19">
                  <c:v>90.896986187356148</c:v>
                </c:pt>
                <c:pt idx="20">
                  <c:v>91.914552169167962</c:v>
                </c:pt>
                <c:pt idx="21">
                  <c:v>92.872573086075263</c:v>
                </c:pt>
                <c:pt idx="22">
                  <c:v>93.805544526942441</c:v>
                </c:pt>
                <c:pt idx="23">
                  <c:v>94.714196736626093</c:v>
                </c:pt>
                <c:pt idx="24">
                  <c:v>95.599247194941427</c:v>
                </c:pt>
                <c:pt idx="25">
                  <c:v>96.461400758206224</c:v>
                </c:pt>
                <c:pt idx="26">
                  <c:v>97.301349723769803</c:v>
                </c:pt>
                <c:pt idx="27">
                  <c:v>98.119773827804195</c:v>
                </c:pt>
                <c:pt idx="28">
                  <c:v>99.052105542694576</c:v>
                </c:pt>
                <c:pt idx="29">
                  <c:v>100</c:v>
                </c:pt>
                <c:pt idx="30">
                  <c:v>100.9305348374475</c:v>
                </c:pt>
                <c:pt idx="31">
                  <c:v>101.84423119117079</c:v>
                </c:pt>
                <c:pt idx="32">
                  <c:v>102.74160026130825</c:v>
                </c:pt>
                <c:pt idx="33">
                  <c:v>103.62314315507975</c:v>
                </c:pt>
                <c:pt idx="34">
                  <c:v>104.48935072494096</c:v>
                </c:pt>
                <c:pt idx="35">
                  <c:v>105.3407034059658</c:v>
                </c:pt>
                <c:pt idx="36">
                  <c:v>106.17767105626383</c:v>
                </c:pt>
                <c:pt idx="37">
                  <c:v>107.00071280388556</c:v>
                </c:pt>
                <c:pt idx="38">
                  <c:v>107.81027690329468</c:v>
                </c:pt>
                <c:pt idx="39">
                  <c:v>108.60680060412653</c:v>
                </c:pt>
                <c:pt idx="40">
                  <c:v>109.39071003458159</c:v>
                </c:pt>
                <c:pt idx="41">
                  <c:v>110.16242010143907</c:v>
                </c:pt>
                <c:pt idx="42">
                  <c:v>110.9223344083323</c:v>
                </c:pt>
                <c:pt idx="43">
                  <c:v>111.67084519357482</c:v>
                </c:pt>
                <c:pt idx="44">
                  <c:v>112.40833328851664</c:v>
                </c:pt>
                <c:pt idx="45">
                  <c:v>113.13516809708956</c:v>
                </c:pt>
                <c:pt idx="46">
                  <c:v>113.85170759692753</c:v>
                </c:pt>
                <c:pt idx="47">
                  <c:v>114.55829836217086</c:v>
                </c:pt>
                <c:pt idx="48">
                  <c:v>114.98027184258981</c:v>
                </c:pt>
                <c:pt idx="49">
                  <c:v>115.32665528530839</c:v>
                </c:pt>
                <c:pt idx="50">
                  <c:v>115.6666555685747</c:v>
                </c:pt>
                <c:pt idx="51">
                  <c:v>116.00043987904714</c:v>
                </c:pt>
                <c:pt idx="52">
                  <c:v>116.32816877622787</c:v>
                </c:pt>
                <c:pt idx="53">
                  <c:v>116.64999659469537</c:v>
                </c:pt>
                <c:pt idx="54">
                  <c:v>116.96607181272935</c:v>
                </c:pt>
                <c:pt idx="55">
                  <c:v>117.27653739007789</c:v>
                </c:pt>
                <c:pt idx="56">
                  <c:v>117.58153107740799</c:v>
                </c:pt>
                <c:pt idx="57">
                  <c:v>117.88118569979457</c:v>
                </c:pt>
                <c:pt idx="58">
                  <c:v>118.17562941643807</c:v>
                </c:pt>
                <c:pt idx="59">
                  <c:v>118.4649859586619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E$2:$E$61</c:f>
              <c:numCache>
                <c:formatCode>General</c:formatCode>
                <c:ptCount val="60"/>
                <c:pt idx="0">
                  <c:v>0.20435152232382875</c:v>
                </c:pt>
                <c:pt idx="1">
                  <c:v>0.21038830895263128</c:v>
                </c:pt>
                <c:pt idx="2">
                  <c:v>0.21633418012015665</c:v>
                </c:pt>
                <c:pt idx="3">
                  <c:v>0.22219117428966209</c:v>
                </c:pt>
                <c:pt idx="4">
                  <c:v>0.22796126943588138</c:v>
                </c:pt>
                <c:pt idx="5">
                  <c:v>0.23364638527214132</c:v>
                </c:pt>
                <c:pt idx="6">
                  <c:v>0.23924838537980134</c:v>
                </c:pt>
                <c:pt idx="7">
                  <c:v>0.24476907924496957</c:v>
                </c:pt>
                <c:pt idx="8">
                  <c:v>0.25021022420718148</c:v>
                </c:pt>
                <c:pt idx="9">
                  <c:v>0.25557352732444066</c:v>
                </c:pt>
                <c:pt idx="10">
                  <c:v>0.26086064715878404</c:v>
                </c:pt>
                <c:pt idx="11">
                  <c:v>0.26607319548629604</c:v>
                </c:pt>
                <c:pt idx="12">
                  <c:v>0.27121273893527176</c:v>
                </c:pt>
                <c:pt idx="13">
                  <c:v>0.27628080055602788</c:v>
                </c:pt>
                <c:pt idx="14">
                  <c:v>0.28127886132566843</c:v>
                </c:pt>
                <c:pt idx="15">
                  <c:v>0.28620836159092466</c:v>
                </c:pt>
                <c:pt idx="16">
                  <c:v>0.29107070245202188</c:v>
                </c:pt>
                <c:pt idx="17">
                  <c:v>0.29586724709037071</c:v>
                </c:pt>
                <c:pt idx="18">
                  <c:v>0.30059932204272044</c:v>
                </c:pt>
                <c:pt idx="19">
                  <c:v>0.30526821842427759</c:v>
                </c:pt>
                <c:pt idx="20">
                  <c:v>0.30987519310316186</c:v>
                </c:pt>
                <c:pt idx="21">
                  <c:v>0.31442146982843727</c:v>
                </c:pt>
                <c:pt idx="22">
                  <c:v>0.31890824031385334</c:v>
                </c:pt>
                <c:pt idx="23">
                  <c:v>0.32333666527930299</c:v>
                </c:pt>
                <c:pt idx="24">
                  <c:v>0.32770787545191732</c:v>
                </c:pt>
                <c:pt idx="25">
                  <c:v>0.33202297252860602</c:v>
                </c:pt>
                <c:pt idx="26">
                  <c:v>0.33628303010176519</c:v>
                </c:pt>
                <c:pt idx="27">
                  <c:v>0.34048909454978976</c:v>
                </c:pt>
                <c:pt idx="28">
                  <c:v>0.34464218589393447</c:v>
                </c:pt>
                <c:pt idx="29">
                  <c:v>0.34874329862300862</c:v>
                </c:pt>
                <c:pt idx="30">
                  <c:v>0.35279340248729346</c:v>
                </c:pt>
                <c:pt idx="31">
                  <c:v>0.35679344326302104</c:v>
                </c:pt>
                <c:pt idx="32">
                  <c:v>0.36074434348867818</c:v>
                </c:pt>
                <c:pt idx="33">
                  <c:v>0.3646470031743394</c:v>
                </c:pt>
                <c:pt idx="34">
                  <c:v>0.36850230048517485</c:v>
                </c:pt>
                <c:pt idx="35">
                  <c:v>0.37231109240022198</c:v>
                </c:pt>
                <c:pt idx="36">
                  <c:v>0.37607421534746288</c:v>
                </c:pt>
                <c:pt idx="37">
                  <c:v>0.37979248581619063</c:v>
                </c:pt>
                <c:pt idx="38">
                  <c:v>0.38346670094761137</c:v>
                </c:pt>
                <c:pt idx="39">
                  <c:v>0.38709763910457484</c:v>
                </c:pt>
                <c:pt idx="40">
                  <c:v>0.39068606042129278</c:v>
                </c:pt>
                <c:pt idx="41">
                  <c:v>0.39423270733385801</c:v>
                </c:pt>
                <c:pt idx="42">
                  <c:v>0.39773830509234265</c:v>
                </c:pt>
                <c:pt idx="43">
                  <c:v>0.40120356225521753</c:v>
                </c:pt>
                <c:pt idx="44">
                  <c:v>0.40462917116680097</c:v>
                </c:pt>
                <c:pt idx="45">
                  <c:v>0.40801580841841184</c:v>
                </c:pt>
                <c:pt idx="46">
                  <c:v>0.41136413529387328</c:v>
                </c:pt>
                <c:pt idx="47">
                  <c:v>0.41467479819998188</c:v>
                </c:pt>
                <c:pt idx="48">
                  <c:v>0.41794842908253249</c:v>
                </c:pt>
                <c:pt idx="49">
                  <c:v>0.42118564582845824</c:v>
                </c:pt>
                <c:pt idx="50">
                  <c:v>0.42438705265462828</c:v>
                </c:pt>
                <c:pt idx="51">
                  <c:v>0.42755324048381077</c:v>
                </c:pt>
                <c:pt idx="52">
                  <c:v>0.43068478730829757</c:v>
                </c:pt>
                <c:pt idx="53">
                  <c:v>0.43378225854165836</c:v>
                </c:pt>
                <c:pt idx="54">
                  <c:v>0.43684620735907354</c:v>
                </c:pt>
                <c:pt idx="55">
                  <c:v>0.43987717502667817</c:v>
                </c:pt>
                <c:pt idx="56">
                  <c:v>0.44287569122032544</c:v>
                </c:pt>
                <c:pt idx="57">
                  <c:v>0.44584227433416818</c:v>
                </c:pt>
                <c:pt idx="58">
                  <c:v>0.44877743177943219</c:v>
                </c:pt>
                <c:pt idx="59">
                  <c:v>0.451681660273745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Veuve Clicquot Réserve Cuvée 750ml (1.7%)</c:v>
                </c:pt>
                <c:pt idx="4">
                  <c:v>Champagne Ruinart Blanc de Blancs 750ml (2.0%)</c:v>
                </c:pt>
                <c:pt idx="5">
                  <c:v>Champagne Taittinger Prestige Brut 750ml (1.6%)</c:v>
                </c:pt>
                <c:pt idx="6">
                  <c:v>Champagne Ruinart Brut (étui) 750ml (1.2%)</c:v>
                </c:pt>
                <c:pt idx="7">
                  <c:v>Champagne Taittinger Prestige Brut 1500ml (0.5%)</c:v>
                </c:pt>
                <c:pt idx="8">
                  <c:v>Champagne E.Nicolas Brut 750ml (11.6%)</c:v>
                </c:pt>
                <c:pt idx="9">
                  <c:v>Champagne Moët &amp; Chandon Réserve Impériale 750ml (1.1%)</c:v>
                </c:pt>
              </c:strCache>
            </c:strRef>
          </c:cat>
          <c:val>
            <c:numRef>
              <c:f>Sheet1!$B$2:$B$11</c:f>
              <c:numCache>
                <c:formatCode>General</c:formatCode>
                <c:ptCount val="10"/>
                <c:pt idx="0">
                  <c:v>0.16350813326358538</c:v>
                </c:pt>
                <c:pt idx="1">
                  <c:v>9.24511973021276E-2</c:v>
                </c:pt>
                <c:pt idx="2">
                  <c:v>6.0408441832777313E-2</c:v>
                </c:pt>
                <c:pt idx="3">
                  <c:v>4.1497129251077972E-2</c:v>
                </c:pt>
                <c:pt idx="4">
                  <c:v>3.7579226162846147E-2</c:v>
                </c:pt>
                <c:pt idx="5">
                  <c:v>3.4109784775240896E-2</c:v>
                </c:pt>
                <c:pt idx="6">
                  <c:v>2.6666457316349937E-2</c:v>
                </c:pt>
                <c:pt idx="7">
                  <c:v>2.5209502229947698E-2</c:v>
                </c:pt>
                <c:pt idx="8">
                  <c:v>2.4816453760867791E-2</c:v>
                </c:pt>
                <c:pt idx="9">
                  <c:v>2.32933256222398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Ruinart Blanc de Blancs 750ml (2.0%)</c:v>
                </c:pt>
                <c:pt idx="4">
                  <c:v>Champagne Veuve Clicquot Réserve Cuvée 750ml (1.7%)</c:v>
                </c:pt>
                <c:pt idx="5">
                  <c:v>Champagne Taittinger Prestige Brut 750ml (1.6%)</c:v>
                </c:pt>
                <c:pt idx="6">
                  <c:v>Champagne Ruinart Brut (étui) 750ml (1.2%)</c:v>
                </c:pt>
                <c:pt idx="7">
                  <c:v>Champagne Taittinger Prestige Brut 1500ml (0.5%)</c:v>
                </c:pt>
                <c:pt idx="8">
                  <c:v>Champagne Moët &amp; Chandon Réserve Impériale 750ml (1.1%)</c:v>
                </c:pt>
                <c:pt idx="9">
                  <c:v>Champagne Perrier-Jouët Blanc Grand Brut 750ml (0.9%)</c:v>
                </c:pt>
              </c:strCache>
            </c:strRef>
          </c:cat>
          <c:val>
            <c:numRef>
              <c:f>Sheet1!$B$2:$B$11</c:f>
              <c:numCache>
                <c:formatCode>General</c:formatCode>
                <c:ptCount val="10"/>
                <c:pt idx="0">
                  <c:v>0.20884336164424946</c:v>
                </c:pt>
                <c:pt idx="1">
                  <c:v>9.2730704776650338E-2</c:v>
                </c:pt>
                <c:pt idx="2">
                  <c:v>5.8673473805938868E-2</c:v>
                </c:pt>
                <c:pt idx="3">
                  <c:v>4.9003171832231268E-2</c:v>
                </c:pt>
                <c:pt idx="4">
                  <c:v>4.5202997262313312E-2</c:v>
                </c:pt>
                <c:pt idx="5">
                  <c:v>3.4545185645148857E-2</c:v>
                </c:pt>
                <c:pt idx="6">
                  <c:v>3.2296829356813161E-2</c:v>
                </c:pt>
                <c:pt idx="7">
                  <c:v>2.9099869342975052E-2</c:v>
                </c:pt>
                <c:pt idx="8">
                  <c:v>2.761670704531748E-2</c:v>
                </c:pt>
                <c:pt idx="9">
                  <c:v>2.216755409632621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B$2:$B$61</c:f>
              <c:numCache>
                <c:formatCode>General</c:formatCode>
                <c:ptCount val="60"/>
                <c:pt idx="0">
                  <c:v>216.92311418576534</c:v>
                </c:pt>
                <c:pt idx="1">
                  <c:v>210.39203812350539</c:v>
                </c:pt>
                <c:pt idx="2">
                  <c:v>204.12911504879409</c:v>
                </c:pt>
                <c:pt idx="3">
                  <c:v>198.12160135564358</c:v>
                </c:pt>
                <c:pt idx="4">
                  <c:v>192.35740533553272</c:v>
                </c:pt>
                <c:pt idx="5">
                  <c:v>186.82504814054451</c:v>
                </c:pt>
                <c:pt idx="6">
                  <c:v>181.51362850215475</c:v>
                </c:pt>
                <c:pt idx="7">
                  <c:v>176.41279076270573</c:v>
                </c:pt>
                <c:pt idx="8">
                  <c:v>171.51269577039193</c:v>
                </c:pt>
                <c:pt idx="9">
                  <c:v>166.80399420885496</c:v>
                </c:pt>
                <c:pt idx="10">
                  <c:v>162.27780197055952</c:v>
                </c:pt>
                <c:pt idx="11">
                  <c:v>157.92567723177041</c:v>
                </c:pt>
                <c:pt idx="12">
                  <c:v>153.73959894025191</c:v>
                </c:pt>
                <c:pt idx="13">
                  <c:v>149.71194648034657</c:v>
                </c:pt>
                <c:pt idx="14">
                  <c:v>145.83548033058364</c:v>
                </c:pt>
                <c:pt idx="15">
                  <c:v>142.10332357433177</c:v>
                </c:pt>
                <c:pt idx="16">
                  <c:v>138.50894416301875</c:v>
                </c:pt>
                <c:pt idx="17">
                  <c:v>135.04613786358527</c:v>
                </c:pt>
                <c:pt idx="18">
                  <c:v>131.70901184714637</c:v>
                </c:pt>
                <c:pt idx="19">
                  <c:v>128.49196889476048</c:v>
                </c:pt>
                <c:pt idx="20">
                  <c:v>125.49872849725389</c:v>
                </c:pt>
                <c:pt idx="21">
                  <c:v>122.65965323404319</c:v>
                </c:pt>
                <c:pt idx="22">
                  <c:v>119.94243861333803</c:v>
                </c:pt>
                <c:pt idx="23">
                  <c:v>117.34042768267854</c:v>
                </c:pt>
                <c:pt idx="24">
                  <c:v>114.84739129573317</c:v>
                </c:pt>
                <c:pt idx="25">
                  <c:v>112.45749474921315</c:v>
                </c:pt>
                <c:pt idx="26">
                  <c:v>110.16526771721963</c:v>
                </c:pt>
                <c:pt idx="27">
                  <c:v>107.96557707871159</c:v>
                </c:pt>
                <c:pt idx="28">
                  <c:v>105.85360229080678</c:v>
                </c:pt>
                <c:pt idx="29">
                  <c:v>103.82481300900818</c:v>
                </c:pt>
                <c:pt idx="30">
                  <c:v>101.8749486965489</c:v>
                </c:pt>
                <c:pt idx="31">
                  <c:v>100</c:v>
                </c:pt>
                <c:pt idx="32">
                  <c:v>98.503776460126829</c:v>
                </c:pt>
                <c:pt idx="33">
                  <c:v>97.119731098398177</c:v>
                </c:pt>
                <c:pt idx="34">
                  <c:v>95.766332833661778</c:v>
                </c:pt>
                <c:pt idx="35">
                  <c:v>94.442738834202629</c:v>
                </c:pt>
                <c:pt idx="36">
                  <c:v>93.148134575457902</c:v>
                </c:pt>
                <c:pt idx="37">
                  <c:v>91.881732505549806</c:v>
                </c:pt>
                <c:pt idx="38">
                  <c:v>90.642770782593033</c:v>
                </c:pt>
                <c:pt idx="39">
                  <c:v>89.430512081710745</c:v>
                </c:pt>
                <c:pt idx="40">
                  <c:v>88.255212476102116</c:v>
                </c:pt>
                <c:pt idx="41">
                  <c:v>87.108307270436214</c:v>
                </c:pt>
                <c:pt idx="42">
                  <c:v>85.986445182946255</c:v>
                </c:pt>
                <c:pt idx="43">
                  <c:v>84.8889929172162</c:v>
                </c:pt>
                <c:pt idx="44">
                  <c:v>83.815329884078665</c:v>
                </c:pt>
                <c:pt idx="45">
                  <c:v>82.764848046741363</c:v>
                </c:pt>
                <c:pt idx="46">
                  <c:v>81.736951784005811</c:v>
                </c:pt>
                <c:pt idx="47">
                  <c:v>80.731057771283162</c:v>
                </c:pt>
                <c:pt idx="48">
                  <c:v>79.74659487832983</c:v>
                </c:pt>
                <c:pt idx="49">
                  <c:v>78.783004081995955</c:v>
                </c:pt>
                <c:pt idx="50">
                  <c:v>77.839738391807373</c:v>
                </c:pt>
                <c:pt idx="51">
                  <c:v>76.916262785861051</c:v>
                </c:pt>
                <c:pt idx="52">
                  <c:v>76.01205415430573</c:v>
                </c:pt>
                <c:pt idx="53">
                  <c:v>75.126601247606445</c:v>
                </c:pt>
                <c:pt idx="54">
                  <c:v>74.259404626806457</c:v>
                </c:pt>
                <c:pt idx="55">
                  <c:v>73.409976613114807</c:v>
                </c:pt>
                <c:pt idx="56">
                  <c:v>72.577841234332453</c:v>
                </c:pt>
                <c:pt idx="57">
                  <c:v>71.762534165877852</c:v>
                </c:pt>
                <c:pt idx="58">
                  <c:v>70.963602664445389</c:v>
                </c:pt>
                <c:pt idx="59">
                  <c:v>70.1806054926477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C$2:$C$61</c:f>
              <c:numCache>
                <c:formatCode>General</c:formatCode>
                <c:ptCount val="60"/>
                <c:pt idx="0">
                  <c:v>172.0088031731826</c:v>
                </c:pt>
                <c:pt idx="1">
                  <c:v>168.23254282954895</c:v>
                </c:pt>
                <c:pt idx="2">
                  <c:v>164.58567489096558</c:v>
                </c:pt>
                <c:pt idx="3">
                  <c:v>161.06316097763889</c:v>
                </c:pt>
                <c:pt idx="4">
                  <c:v>157.66016226344613</c:v>
                </c:pt>
                <c:pt idx="5">
                  <c:v>154.37202839983536</c:v>
                </c:pt>
                <c:pt idx="6">
                  <c:v>151.19428805986382</c:v>
                </c:pt>
                <c:pt idx="7">
                  <c:v>148.12264090076974</c:v>
                </c:pt>
                <c:pt idx="8">
                  <c:v>145.15295071525492</c:v>
                </c:pt>
                <c:pt idx="9">
                  <c:v>142.28123953549692</c:v>
                </c:pt>
                <c:pt idx="10">
                  <c:v>139.50368246413501</c:v>
                </c:pt>
                <c:pt idx="11">
                  <c:v>136.81660302808348</c:v>
                </c:pt>
                <c:pt idx="12">
                  <c:v>134.21646887952235</c:v>
                </c:pt>
                <c:pt idx="13">
                  <c:v>131.69988770029633</c:v>
                </c:pt>
                <c:pt idx="14">
                  <c:v>129.26360319831011</c:v>
                </c:pt>
                <c:pt idx="15">
                  <c:v>126.90449111531193</c:v>
                </c:pt>
                <c:pt idx="16">
                  <c:v>124.6195551932489</c:v>
                </c:pt>
                <c:pt idx="17">
                  <c:v>122.40592307029527</c:v>
                </c:pt>
                <c:pt idx="18">
                  <c:v>120.26084209725295</c:v>
                </c:pt>
                <c:pt idx="19">
                  <c:v>118.18167508028105</c:v>
                </c:pt>
                <c:pt idx="20">
                  <c:v>116.2680280817513</c:v>
                </c:pt>
                <c:pt idx="21">
                  <c:v>114.45838268096651</c:v>
                </c:pt>
                <c:pt idx="22">
                  <c:v>112.72518252997786</c:v>
                </c:pt>
                <c:pt idx="23">
                  <c:v>111.06458210864554</c:v>
                </c:pt>
                <c:pt idx="24">
                  <c:v>109.47296452508661</c:v>
                </c:pt>
                <c:pt idx="25">
                  <c:v>107.94692392465923</c:v>
                </c:pt>
                <c:pt idx="26">
                  <c:v>106.48324972977716</c:v>
                </c:pt>
                <c:pt idx="27">
                  <c:v>105.07891247414452</c:v>
                </c:pt>
                <c:pt idx="28">
                  <c:v>103.73105102878519</c:v>
                </c:pt>
                <c:pt idx="29">
                  <c:v>102.43696104602509</c:v>
                </c:pt>
                <c:pt idx="30">
                  <c:v>101.19408447210412</c:v>
                </c:pt>
                <c:pt idx="31">
                  <c:v>100</c:v>
                </c:pt>
                <c:pt idx="32">
                  <c:v>99.1606997490439</c:v>
                </c:pt>
                <c:pt idx="33">
                  <c:v>98.414802433237014</c:v>
                </c:pt>
                <c:pt idx="34">
                  <c:v>97.681739744965654</c:v>
                </c:pt>
                <c:pt idx="35">
                  <c:v>96.961257279721096</c:v>
                </c:pt>
                <c:pt idx="36">
                  <c:v>96.253107533878605</c:v>
                </c:pt>
                <c:pt idx="37">
                  <c:v>95.557049452818973</c:v>
                </c:pt>
                <c:pt idx="38">
                  <c:v>94.872848001322737</c:v>
                </c:pt>
                <c:pt idx="39">
                  <c:v>94.20027375736332</c:v>
                </c:pt>
                <c:pt idx="40">
                  <c:v>93.550668721995194</c:v>
                </c:pt>
                <c:pt idx="41">
                  <c:v>92.91568131521008</c:v>
                </c:pt>
                <c:pt idx="42">
                  <c:v>92.292296508117616</c:v>
                </c:pt>
                <c:pt idx="43">
                  <c:v>91.680329936589715</c:v>
                </c:pt>
                <c:pt idx="44">
                  <c:v>91.079594244891965</c:v>
                </c:pt>
                <c:pt idx="45">
                  <c:v>90.48989933493165</c:v>
                </c:pt>
                <c:pt idx="46">
                  <c:v>89.911052629449102</c:v>
                </c:pt>
                <c:pt idx="47">
                  <c:v>89.342859349654603</c:v>
                </c:pt>
                <c:pt idx="48">
                  <c:v>88.7851228069283</c:v>
                </c:pt>
                <c:pt idx="49">
                  <c:v>88.237644707441547</c:v>
                </c:pt>
                <c:pt idx="50">
                  <c:v>87.700225467933748</c:v>
                </c:pt>
                <c:pt idx="51">
                  <c:v>87.172664540379216</c:v>
                </c:pt>
                <c:pt idx="52">
                  <c:v>86.654760742909261</c:v>
                </c:pt>
                <c:pt idx="53">
                  <c:v>86.146312594124126</c:v>
                </c:pt>
                <c:pt idx="54">
                  <c:v>85.647118647798223</c:v>
                </c:pt>
                <c:pt idx="55">
                  <c:v>85.156977824970951</c:v>
                </c:pt>
                <c:pt idx="56">
                  <c:v>84.67568974048298</c:v>
                </c:pt>
                <c:pt idx="57">
                  <c:v>84.203055021180901</c:v>
                </c:pt>
                <c:pt idx="58">
                  <c:v>83.738875613214447</c:v>
                </c:pt>
                <c:pt idx="59">
                  <c:v>83.2829550761215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D$2:$D$61</c:f>
              <c:numCache>
                <c:formatCode>General</c:formatCode>
                <c:ptCount val="60"/>
                <c:pt idx="0">
                  <c:v>78.600830455578858</c:v>
                </c:pt>
                <c:pt idx="1">
                  <c:v>80.562000887199702</c:v>
                </c:pt>
                <c:pt idx="2">
                  <c:v>82.362684075297537</c:v>
                </c:pt>
                <c:pt idx="3">
                  <c:v>84.014023410422951</c:v>
                </c:pt>
                <c:pt idx="4">
                  <c:v>85.526403610752595</c:v>
                </c:pt>
                <c:pt idx="5">
                  <c:v>86.909499608618518</c:v>
                </c:pt>
                <c:pt idx="6">
                  <c:v>88.172322443565932</c:v>
                </c:pt>
                <c:pt idx="7">
                  <c:v>89.323262478417249</c:v>
                </c:pt>
                <c:pt idx="8">
                  <c:v>90.370130178652147</c:v>
                </c:pt>
                <c:pt idx="9">
                  <c:v>91.32019463260491</c:v>
                </c:pt>
                <c:pt idx="10">
                  <c:v>92.180219941019615</c:v>
                </c:pt>
                <c:pt idx="11">
                  <c:v>92.956499568835397</c:v>
                </c:pt>
                <c:pt idx="12">
                  <c:v>93.654888728226865</c:v>
                </c:pt>
                <c:pt idx="13">
                  <c:v>94.280834848109436</c:v>
                </c:pt>
                <c:pt idx="14">
                  <c:v>94.839406179423321</c:v>
                </c:pt>
                <c:pt idx="15">
                  <c:v>95.33531858552935</c:v>
                </c:pt>
                <c:pt idx="16">
                  <c:v>95.77296057106868</c:v>
                </c:pt>
                <c:pt idx="17">
                  <c:v>96.156416608989844</c:v>
                </c:pt>
                <c:pt idx="18">
                  <c:v>96.489488832743731</c:v>
                </c:pt>
                <c:pt idx="19">
                  <c:v>96.775717167819892</c:v>
                </c:pt>
                <c:pt idx="20">
                  <c:v>97.10276317912242</c:v>
                </c:pt>
                <c:pt idx="21">
                  <c:v>97.429124092980274</c:v>
                </c:pt>
                <c:pt idx="22">
                  <c:v>97.737989133778683</c:v>
                </c:pt>
                <c:pt idx="23">
                  <c:v>98.03131664566196</c:v>
                </c:pt>
                <c:pt idx="24">
                  <c:v>98.310883458610974</c:v>
                </c:pt>
                <c:pt idx="25">
                  <c:v>98.578299641819257</c:v>
                </c:pt>
                <c:pt idx="26">
                  <c:v>98.835022097786918</c:v>
                </c:pt>
                <c:pt idx="27">
                  <c:v>99.082367100876596</c:v>
                </c:pt>
                <c:pt idx="28">
                  <c:v>99.321521871040559</c:v>
                </c:pt>
                <c:pt idx="29">
                  <c:v>99.553555262679907</c:v>
                </c:pt>
                <c:pt idx="30">
                  <c:v>99.779427639654784</c:v>
                </c:pt>
                <c:pt idx="31">
                  <c:v>100</c:v>
                </c:pt>
                <c:pt idx="32">
                  <c:v>100.52995404742191</c:v>
                </c:pt>
                <c:pt idx="33">
                  <c:v>101.1151479140235</c:v>
                </c:pt>
                <c:pt idx="34">
                  <c:v>101.67594170891783</c:v>
                </c:pt>
                <c:pt idx="35">
                  <c:v>102.21331444400484</c:v>
                </c:pt>
                <c:pt idx="36">
                  <c:v>102.72820700301253</c:v>
                </c:pt>
                <c:pt idx="37">
                  <c:v>103.2215235536589</c:v>
                </c:pt>
                <c:pt idx="38">
                  <c:v>103.69413287722777</c:v>
                </c:pt>
                <c:pt idx="39">
                  <c:v>104.14686962348489</c:v>
                </c:pt>
                <c:pt idx="40">
                  <c:v>104.59353633702338</c:v>
                </c:pt>
                <c:pt idx="41">
                  <c:v>105.02608729890139</c:v>
                </c:pt>
                <c:pt idx="42">
                  <c:v>105.44216512912712</c:v>
                </c:pt>
                <c:pt idx="43">
                  <c:v>105.84252558830502</c:v>
                </c:pt>
                <c:pt idx="44">
                  <c:v>106.22788843578887</c:v>
                </c:pt>
                <c:pt idx="45">
                  <c:v>106.59893853711908</c:v>
                </c:pt>
                <c:pt idx="46">
                  <c:v>106.95632697602259</c:v>
                </c:pt>
                <c:pt idx="47">
                  <c:v>107.30067217318494</c:v>
                </c:pt>
                <c:pt idx="48">
                  <c:v>107.63256101290288</c:v>
                </c:pt>
                <c:pt idx="49">
                  <c:v>107.9525499776895</c:v>
                </c:pt>
                <c:pt idx="50">
                  <c:v>108.26116628995877</c:v>
                </c:pt>
                <c:pt idx="51">
                  <c:v>108.55890905908095</c:v>
                </c:pt>
                <c:pt idx="52">
                  <c:v>108.84625043139057</c:v>
                </c:pt>
                <c:pt idx="53">
                  <c:v>109.12363674016619</c:v>
                </c:pt>
                <c:pt idx="54">
                  <c:v>109.39148965216687</c:v>
                </c:pt>
                <c:pt idx="55">
                  <c:v>109.65020730702413</c:v>
                </c:pt>
                <c:pt idx="56">
                  <c:v>109.90016544562478</c:v>
                </c:pt>
                <c:pt idx="57">
                  <c:v>110.14171852359193</c:v>
                </c:pt>
                <c:pt idx="58">
                  <c:v>110.37520080603029</c:v>
                </c:pt>
                <c:pt idx="59">
                  <c:v>110.600927439873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E$2:$E$61</c:f>
              <c:numCache>
                <c:formatCode>General</c:formatCode>
                <c:ptCount val="60"/>
                <c:pt idx="0">
                  <c:v>0.14827920099613398</c:v>
                </c:pt>
                <c:pt idx="1">
                  <c:v>0.15538872352538158</c:v>
                </c:pt>
                <c:pt idx="2">
                  <c:v>0.16238053872798602</c:v>
                </c:pt>
                <c:pt idx="3">
                  <c:v>0.16925754579918487</c:v>
                </c:pt>
                <c:pt idx="4">
                  <c:v>0.17602254949788851</c:v>
                </c:pt>
                <c:pt idx="5">
                  <c:v>0.18267826396074902</c:v>
                </c:pt>
                <c:pt idx="6">
                  <c:v>0.18922731633285841</c:v>
                </c:pt>
                <c:pt idx="7">
                  <c:v>0.19567225022528403</c:v>
                </c:pt>
                <c:pt idx="8">
                  <c:v>0.20201552900899622</c:v>
                </c:pt>
                <c:pt idx="9">
                  <c:v>0.20825953895415272</c:v>
                </c:pt>
                <c:pt idx="10">
                  <c:v>0.21440659222314218</c:v>
                </c:pt>
                <c:pt idx="11">
                  <c:v>0.22045892972527525</c:v>
                </c:pt>
                <c:pt idx="12">
                  <c:v>0.2264187238405253</c:v>
                </c:pt>
                <c:pt idx="13">
                  <c:v>0.23228808101927703</c:v>
                </c:pt>
                <c:pt idx="14">
                  <c:v>0.23806904426461389</c:v>
                </c:pt>
                <c:pt idx="15">
                  <c:v>0.24376359550329385</c:v>
                </c:pt>
                <c:pt idx="16">
                  <c:v>0.24937365785119223</c:v>
                </c:pt>
                <c:pt idx="17">
                  <c:v>0.25490109777865011</c:v>
                </c:pt>
                <c:pt idx="18">
                  <c:v>0.26034772718085331</c:v>
                </c:pt>
                <c:pt idx="19">
                  <c:v>0.26571530535806048</c:v>
                </c:pt>
                <c:pt idx="20">
                  <c:v>0.27100554091023576</c:v>
                </c:pt>
                <c:pt idx="21">
                  <c:v>0.27622009355036276</c:v>
                </c:pt>
                <c:pt idx="22">
                  <c:v>0.28136057584048796</c:v>
                </c:pt>
                <c:pt idx="23">
                  <c:v>0.2864285548543069</c:v>
                </c:pt>
                <c:pt idx="24">
                  <c:v>0.29142555376989293</c:v>
                </c:pt>
                <c:pt idx="25">
                  <c:v>0.29635305339597162</c:v>
                </c:pt>
                <c:pt idx="26">
                  <c:v>0.30121249363494967</c:v>
                </c:pt>
                <c:pt idx="27">
                  <c:v>0.30600527488573892</c:v>
                </c:pt>
                <c:pt idx="28">
                  <c:v>0.31073275938924183</c:v>
                </c:pt>
                <c:pt idx="29">
                  <c:v>0.31539627251921998</c:v>
                </c:pt>
                <c:pt idx="30">
                  <c:v>0.31999710402110693</c:v>
                </c:pt>
                <c:pt idx="31">
                  <c:v>0.32453650920120641</c:v>
                </c:pt>
                <c:pt idx="32">
                  <c:v>0.32901571006857255</c:v>
                </c:pt>
                <c:pt idx="33">
                  <c:v>0.33343589643175708</c:v>
                </c:pt>
                <c:pt idx="34">
                  <c:v>0.33779822695249162</c:v>
                </c:pt>
                <c:pt idx="35">
                  <c:v>0.34210383015826212</c:v>
                </c:pt>
                <c:pt idx="36">
                  <c:v>0.34635380541563765</c:v>
                </c:pt>
                <c:pt idx="37">
                  <c:v>0.35054922386611487</c:v>
                </c:pt>
                <c:pt idx="38">
                  <c:v>0.35469112932615265</c:v>
                </c:pt>
                <c:pt idx="39">
                  <c:v>0.35878053915298286</c:v>
                </c:pt>
                <c:pt idx="40">
                  <c:v>0.36281844507771238</c:v>
                </c:pt>
                <c:pt idx="41">
                  <c:v>0.36680581400713835</c:v>
                </c:pt>
                <c:pt idx="42">
                  <c:v>0.37074358879565122</c:v>
                </c:pt>
                <c:pt idx="43">
                  <c:v>0.3746326889885086</c:v>
                </c:pt>
                <c:pt idx="44">
                  <c:v>0.37847401153771948</c:v>
                </c:pt>
                <c:pt idx="45">
                  <c:v>0.38226843149170164</c:v>
                </c:pt>
                <c:pt idx="46">
                  <c:v>0.38601680265983451</c:v>
                </c:pt>
                <c:pt idx="47">
                  <c:v>0.3897199582529598</c:v>
                </c:pt>
                <c:pt idx="48">
                  <c:v>0.39337871150084369</c:v>
                </c:pt>
                <c:pt idx="49">
                  <c:v>0.39699385624756078</c:v>
                </c:pt>
                <c:pt idx="50">
                  <c:v>0.40056616752571517</c:v>
                </c:pt>
                <c:pt idx="51">
                  <c:v>0.40409640211036946</c:v>
                </c:pt>
                <c:pt idx="52">
                  <c:v>0.40758529905351698</c:v>
                </c:pt>
                <c:pt idx="53">
                  <c:v>0.41103358019988773</c:v>
                </c:pt>
                <c:pt idx="54">
                  <c:v>0.41444195068484202</c:v>
                </c:pt>
                <c:pt idx="55">
                  <c:v>0.41781109941507888</c:v>
                </c:pt>
                <c:pt idx="56">
                  <c:v>0.42114169953284164</c:v>
                </c:pt>
                <c:pt idx="57">
                  <c:v>0.42443440886428169</c:v>
                </c:pt>
                <c:pt idx="58">
                  <c:v>0.42768987035260597</c:v>
                </c:pt>
                <c:pt idx="59">
                  <c:v>0.430908712476606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Patriarche (2.6%)</c:v>
                </c:pt>
                <c:pt idx="4">
                  <c:v>Bottega (3.7%)</c:v>
                </c:pt>
                <c:pt idx="5">
                  <c:v>Bouvet Ladubay (1.5%)</c:v>
                </c:pt>
                <c:pt idx="6">
                  <c:v>Les Grumes  (1.0%)</c:v>
                </c:pt>
                <c:pt idx="7">
                  <c:v>Lyre's (1.0%)</c:v>
                </c:pt>
                <c:pt idx="8">
                  <c:v>Malard (6.0%)</c:v>
                </c:pt>
                <c:pt idx="9">
                  <c:v>Muré (1.3%)</c:v>
                </c:pt>
              </c:strCache>
            </c:strRef>
          </c:cat>
          <c:val>
            <c:numRef>
              <c:f>Sheet1!$B$2:$B$11</c:f>
              <c:numCache>
                <c:formatCode>General</c:formatCode>
                <c:ptCount val="10"/>
                <c:pt idx="0">
                  <c:v>0.16874778580647515</c:v>
                </c:pt>
                <c:pt idx="1">
                  <c:v>0.11356561759139271</c:v>
                </c:pt>
                <c:pt idx="2">
                  <c:v>8.6117923211534247E-2</c:v>
                </c:pt>
                <c:pt idx="3">
                  <c:v>7.8673315769914334E-2</c:v>
                </c:pt>
                <c:pt idx="4">
                  <c:v>6.8436668196700565E-2</c:v>
                </c:pt>
                <c:pt idx="5">
                  <c:v>5.815284459473704E-2</c:v>
                </c:pt>
                <c:pt idx="6">
                  <c:v>4.2300424127908159E-2</c:v>
                </c:pt>
                <c:pt idx="7">
                  <c:v>3.6236877069575353E-2</c:v>
                </c:pt>
                <c:pt idx="8">
                  <c:v>3.6007603752813179E-2</c:v>
                </c:pt>
                <c:pt idx="9">
                  <c:v>3.119894074528318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Ruinart Brut 750ml (7.3%)</c:v>
                </c:pt>
                <c:pt idx="2">
                  <c:v>Champagne Vranken Demoiselle Rosé Prestige 750ml (2.0%)</c:v>
                </c:pt>
                <c:pt idx="3">
                  <c:v>Champagne Ruinart Blanc de Blancs 750ml (2.0%)</c:v>
                </c:pt>
                <c:pt idx="4">
                  <c:v>Champagne E.Nicolas Brut 750ml (11.6%)</c:v>
                </c:pt>
                <c:pt idx="5">
                  <c:v>Champagne Deutz Brut Classique 750ml (3.4%)</c:v>
                </c:pt>
                <c:pt idx="6">
                  <c:v>Champagne Veuve Clicquot Réserve Cuvée 750ml (1.7%)</c:v>
                </c:pt>
                <c:pt idx="7">
                  <c:v>Champagne Heidsieck Monopole Silver Top 750ml (4.2%)</c:v>
                </c:pt>
                <c:pt idx="8">
                  <c:v>Champagne Vranken Demoiselle Tête de Cuvée 750ml (1.4%)</c:v>
                </c:pt>
                <c:pt idx="9">
                  <c:v>Champagne Nicolas Feuillatte Réserve Exclusive Brut 750ml (3.0%)</c:v>
                </c:pt>
              </c:strCache>
            </c:strRef>
          </c:cat>
          <c:val>
            <c:numRef>
              <c:f>Sheet1!$B$2:$B$11</c:f>
              <c:numCache>
                <c:formatCode>General</c:formatCode>
                <c:ptCount val="10"/>
                <c:pt idx="0">
                  <c:v>0.1032778820157841</c:v>
                </c:pt>
                <c:pt idx="1">
                  <c:v>7.1639861222486237E-2</c:v>
                </c:pt>
                <c:pt idx="2">
                  <c:v>5.362784972883837E-2</c:v>
                </c:pt>
                <c:pt idx="3">
                  <c:v>4.0380039674797905E-2</c:v>
                </c:pt>
                <c:pt idx="4">
                  <c:v>3.6213712607481352E-2</c:v>
                </c:pt>
                <c:pt idx="5">
                  <c:v>3.4298764070057754E-2</c:v>
                </c:pt>
                <c:pt idx="6">
                  <c:v>3.2977908470280544E-2</c:v>
                </c:pt>
                <c:pt idx="7">
                  <c:v>2.822706646221956E-2</c:v>
                </c:pt>
                <c:pt idx="8">
                  <c:v>2.7271384981851554E-2</c:v>
                </c:pt>
                <c:pt idx="9">
                  <c:v>2.411609745992926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Ruinart Blanc de Blancs 750ml (2.0%)</c:v>
                </c:pt>
                <c:pt idx="3">
                  <c:v>Champagne Vranken Demoiselle Rosé Prestige 750ml (2.0%)</c:v>
                </c:pt>
                <c:pt idx="4">
                  <c:v>Champagne Deutz Brut Classique 750ml (3.4%)</c:v>
                </c:pt>
                <c:pt idx="5">
                  <c:v>Champagne Veuve Clicquot Réserve Cuvée 750ml (1.7%)</c:v>
                </c:pt>
                <c:pt idx="6">
                  <c:v>Champagne Ruinart Blanc de Blancs (étui) 750ml (0.8%)</c:v>
                </c:pt>
                <c:pt idx="7">
                  <c:v>Champagne Perrier-Jouët Blanc Grand Brut 750ml (0.9%)</c:v>
                </c:pt>
                <c:pt idx="8">
                  <c:v>Champagne Laurent-Perrier Blanc La Cuvée 1500ml (0.8%)</c:v>
                </c:pt>
                <c:pt idx="9">
                  <c:v>Champagne Vranken Demoiselle Tête de Cuvée 750ml (1.4%)</c:v>
                </c:pt>
              </c:strCache>
            </c:strRef>
          </c:cat>
          <c:val>
            <c:numRef>
              <c:f>Sheet1!$B$2:$B$11</c:f>
              <c:numCache>
                <c:formatCode>General</c:formatCode>
                <c:ptCount val="10"/>
                <c:pt idx="0">
                  <c:v>0.11035732293056168</c:v>
                </c:pt>
                <c:pt idx="1">
                  <c:v>0.10296816650267893</c:v>
                </c:pt>
                <c:pt idx="2">
                  <c:v>7.3569025231664101E-2</c:v>
                </c:pt>
                <c:pt idx="3">
                  <c:v>5.3799843283628676E-2</c:v>
                </c:pt>
                <c:pt idx="4">
                  <c:v>4.0879910538262822E-2</c:v>
                </c:pt>
                <c:pt idx="5">
                  <c:v>3.1893748930841077E-2</c:v>
                </c:pt>
                <c:pt idx="6">
                  <c:v>2.9867378453264506E-2</c:v>
                </c:pt>
                <c:pt idx="7">
                  <c:v>2.5789889627929403E-2</c:v>
                </c:pt>
                <c:pt idx="8">
                  <c:v>2.5589503563000653E-2</c:v>
                </c:pt>
                <c:pt idx="9">
                  <c:v>2.14705465269633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ristophe Lefèvre Cuvée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0000000000003</c:v>
                </c:pt>
                <c:pt idx="3">
                  <c:v>39.950000000000003</c:v>
                </c:pt>
                <c:pt idx="4">
                  <c:v>42.95</c:v>
                </c:pt>
              </c:numCache>
            </c:numRef>
          </c:xVal>
          <c:yVal>
            <c:numRef>
              <c:f>Sheet1!$B$2:$B$6</c:f>
              <c:numCache>
                <c:formatCode>General</c:formatCode>
                <c:ptCount val="5"/>
                <c:pt idx="0">
                  <c:v>1.4976468785884474</c:v>
                </c:pt>
                <c:pt idx="1">
                  <c:v>0.47192295545938018</c:v>
                </c:pt>
                <c:pt idx="2">
                  <c:v>0</c:v>
                </c:pt>
                <c:pt idx="3">
                  <c:v>-0.48427576701718095</c:v>
                </c:pt>
                <c:pt idx="4">
                  <c:v>-0.705190483328202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68.98576734732654</c:v>
                </c:pt>
                <c:pt idx="1">
                  <c:v>254.95782775044464</c:v>
                </c:pt>
                <c:pt idx="2">
                  <c:v>241.93514273017715</c:v>
                </c:pt>
                <c:pt idx="3">
                  <c:v>229.84242087536808</c:v>
                </c:pt>
                <c:pt idx="4">
                  <c:v>217.84928845719932</c:v>
                </c:pt>
                <c:pt idx="5">
                  <c:v>200.48709270199257</c:v>
                </c:pt>
                <c:pt idx="6">
                  <c:v>185.00771061371313</c:v>
                </c:pt>
                <c:pt idx="7">
                  <c:v>171.23262058593488</c:v>
                </c:pt>
                <c:pt idx="8">
                  <c:v>158.97966034384962</c:v>
                </c:pt>
                <c:pt idx="9">
                  <c:v>148.07196561551385</c:v>
                </c:pt>
                <c:pt idx="10">
                  <c:v>138.34417585177928</c:v>
                </c:pt>
                <c:pt idx="11">
                  <c:v>129.64597732917915</c:v>
                </c:pt>
                <c:pt idx="12">
                  <c:v>121.843526969764</c:v>
                </c:pt>
                <c:pt idx="13">
                  <c:v>114.81941012498457</c:v>
                </c:pt>
                <c:pt idx="14">
                  <c:v>108.20555818084487</c:v>
                </c:pt>
                <c:pt idx="15">
                  <c:v>100</c:v>
                </c:pt>
                <c:pt idx="16">
                  <c:v>92.67075416995705</c:v>
                </c:pt>
                <c:pt idx="17">
                  <c:v>86.114880940573784</c:v>
                </c:pt>
                <c:pt idx="18">
                  <c:v>80.241207168267564</c:v>
                </c:pt>
                <c:pt idx="19">
                  <c:v>74.969381195354543</c:v>
                </c:pt>
                <c:pt idx="20">
                  <c:v>70.228793800368067</c:v>
                </c:pt>
                <c:pt idx="21">
                  <c:v>65.957482585911237</c:v>
                </c:pt>
                <c:pt idx="22">
                  <c:v>62.101090493082346</c:v>
                </c:pt>
                <c:pt idx="23">
                  <c:v>58.611915572793549</c:v>
                </c:pt>
                <c:pt idx="24">
                  <c:v>55.16149253099826</c:v>
                </c:pt>
                <c:pt idx="25">
                  <c:v>49.719300817849565</c:v>
                </c:pt>
                <c:pt idx="26">
                  <c:v>45.00810818472462</c:v>
                </c:pt>
                <c:pt idx="27">
                  <c:v>40.914963201969954</c:v>
                </c:pt>
                <c:pt idx="28">
                  <c:v>37.345297169595057</c:v>
                </c:pt>
                <c:pt idx="29">
                  <c:v>34.2199472975007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12.37285921535937</c:v>
                </c:pt>
                <c:pt idx="1">
                  <c:v>204.86128371212553</c:v>
                </c:pt>
                <c:pt idx="2">
                  <c:v>197.78085164561648</c:v>
                </c:pt>
                <c:pt idx="3">
                  <c:v>191.11076535539164</c:v>
                </c:pt>
                <c:pt idx="4">
                  <c:v>184.18817939868038</c:v>
                </c:pt>
                <c:pt idx="5">
                  <c:v>172.320700790297</c:v>
                </c:pt>
                <c:pt idx="6">
                  <c:v>161.61212117082621</c:v>
                </c:pt>
                <c:pt idx="7">
                  <c:v>151.98272591288338</c:v>
                </c:pt>
                <c:pt idx="8">
                  <c:v>143.33965714514619</c:v>
                </c:pt>
                <c:pt idx="9">
                  <c:v>135.58480266163033</c:v>
                </c:pt>
                <c:pt idx="10">
                  <c:v>128.62090308566684</c:v>
                </c:pt>
                <c:pt idx="11">
                  <c:v>122.35567625498669</c:v>
                </c:pt>
                <c:pt idx="12">
                  <c:v>116.70421713673929</c:v>
                </c:pt>
                <c:pt idx="13">
                  <c:v>111.59009867184768</c:v>
                </c:pt>
                <c:pt idx="14">
                  <c:v>106.68329658629487</c:v>
                </c:pt>
                <c:pt idx="15">
                  <c:v>100</c:v>
                </c:pt>
                <c:pt idx="16">
                  <c:v>93.974744658063415</c:v>
                </c:pt>
                <c:pt idx="17">
                  <c:v>88.538570461420605</c:v>
                </c:pt>
                <c:pt idx="18">
                  <c:v>83.629021500968875</c:v>
                </c:pt>
                <c:pt idx="19">
                  <c:v>79.189965775055896</c:v>
                </c:pt>
                <c:pt idx="20">
                  <c:v>75.171194434917211</c:v>
                </c:pt>
                <c:pt idx="21">
                  <c:v>71.527913945981538</c:v>
                </c:pt>
                <c:pt idx="22">
                  <c:v>68.220206651995383</c:v>
                </c:pt>
                <c:pt idx="23">
                  <c:v>65.212505985328988</c:v>
                </c:pt>
                <c:pt idx="24">
                  <c:v>62.150409930722304</c:v>
                </c:pt>
                <c:pt idx="25">
                  <c:v>56.720350968603626</c:v>
                </c:pt>
                <c:pt idx="26">
                  <c:v>51.980835728358002</c:v>
                </c:pt>
                <c:pt idx="27">
                  <c:v>47.830802449160522</c:v>
                </c:pt>
                <c:pt idx="28">
                  <c:v>44.184553795627075</c:v>
                </c:pt>
                <c:pt idx="29">
                  <c:v>40.9694920209990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2.12055329678711</c:v>
                </c:pt>
                <c:pt idx="1">
                  <c:v>133.87880507384261</c:v>
                </c:pt>
                <c:pt idx="2">
                  <c:v>135.24732537969203</c:v>
                </c:pt>
                <c:pt idx="3">
                  <c:v>136.28376923003503</c:v>
                </c:pt>
                <c:pt idx="4">
                  <c:v>136.56224052540847</c:v>
                </c:pt>
                <c:pt idx="5">
                  <c:v>132.47925935667629</c:v>
                </c:pt>
                <c:pt idx="6">
                  <c:v>128.52638783476411</c:v>
                </c:pt>
                <c:pt idx="7">
                  <c:v>124.76515231295397</c:v>
                </c:pt>
                <c:pt idx="8">
                  <c:v>121.23008020792867</c:v>
                </c:pt>
                <c:pt idx="9">
                  <c:v>117.93520192171857</c:v>
                </c:pt>
                <c:pt idx="10">
                  <c:v>114.88010260690487</c:v>
                </c:pt>
                <c:pt idx="11">
                  <c:v>112.05493562915483</c:v>
                </c:pt>
                <c:pt idx="12">
                  <c:v>109.44425353322087</c:v>
                </c:pt>
                <c:pt idx="13">
                  <c:v>107.02976221962601</c:v>
                </c:pt>
                <c:pt idx="14">
                  <c:v>104.53508470116898</c:v>
                </c:pt>
                <c:pt idx="15">
                  <c:v>100</c:v>
                </c:pt>
                <c:pt idx="16">
                  <c:v>95.814266862289372</c:v>
                </c:pt>
                <c:pt idx="17">
                  <c:v>91.957138806284306</c:v>
                </c:pt>
                <c:pt idx="18">
                  <c:v>88.406865971008457</c:v>
                </c:pt>
                <c:pt idx="19">
                  <c:v>85.141617449812372</c:v>
                </c:pt>
                <c:pt idx="20">
                  <c:v>82.140054621326016</c:v>
                </c:pt>
                <c:pt idx="21">
                  <c:v>79.381664930397918</c:v>
                </c:pt>
                <c:pt idx="22">
                  <c:v>76.846939660367823</c:v>
                </c:pt>
                <c:pt idx="23">
                  <c:v>74.517455755369781</c:v>
                </c:pt>
                <c:pt idx="24">
                  <c:v>72.00183964019044</c:v>
                </c:pt>
                <c:pt idx="25">
                  <c:v>66.584735287947851</c:v>
                </c:pt>
                <c:pt idx="26">
                  <c:v>61.802178402905405</c:v>
                </c:pt>
                <c:pt idx="27">
                  <c:v>57.569629362880406</c:v>
                </c:pt>
                <c:pt idx="28">
                  <c:v>53.813711796621391</c:v>
                </c:pt>
                <c:pt idx="29">
                  <c:v>50.4709399082541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5857142857142845</c:v>
                </c:pt>
                <c:pt idx="1">
                  <c:v>0.27157894736842098</c:v>
                </c:pt>
                <c:pt idx="2">
                  <c:v>0.28413793103448282</c:v>
                </c:pt>
                <c:pt idx="3">
                  <c:v>0.29627118644067796</c:v>
                </c:pt>
                <c:pt idx="4">
                  <c:v>0.308</c:v>
                </c:pt>
                <c:pt idx="5">
                  <c:v>0.319344262295082</c:v>
                </c:pt>
                <c:pt idx="6">
                  <c:v>0.33032258064516135</c:v>
                </c:pt>
                <c:pt idx="7">
                  <c:v>0.34095238095238101</c:v>
                </c:pt>
                <c:pt idx="8">
                  <c:v>0.3512499999999999</c:v>
                </c:pt>
                <c:pt idx="9">
                  <c:v>0.36123076923076924</c:v>
                </c:pt>
                <c:pt idx="10">
                  <c:v>0.3709090909090908</c:v>
                </c:pt>
                <c:pt idx="11">
                  <c:v>0.38029850746268662</c:v>
                </c:pt>
                <c:pt idx="12">
                  <c:v>0.38941176470588235</c:v>
                </c:pt>
                <c:pt idx="13">
                  <c:v>0.39826086956521745</c:v>
                </c:pt>
                <c:pt idx="14">
                  <c:v>0.40685714285714286</c:v>
                </c:pt>
                <c:pt idx="15">
                  <c:v>0.41521126760563382</c:v>
                </c:pt>
                <c:pt idx="16">
                  <c:v>0.42333333333333334</c:v>
                </c:pt>
                <c:pt idx="17">
                  <c:v>0.43123287671232879</c:v>
                </c:pt>
                <c:pt idx="18">
                  <c:v>0.43891891891891888</c:v>
                </c:pt>
                <c:pt idx="19">
                  <c:v>0.44639999999999991</c:v>
                </c:pt>
                <c:pt idx="20">
                  <c:v>0.4536842105263158</c:v>
                </c:pt>
                <c:pt idx="21">
                  <c:v>0.46077922077922084</c:v>
                </c:pt>
                <c:pt idx="22">
                  <c:v>0.46769230769230774</c:v>
                </c:pt>
                <c:pt idx="23">
                  <c:v>0.4744303797468355</c:v>
                </c:pt>
                <c:pt idx="24">
                  <c:v>0.48100000000000004</c:v>
                </c:pt>
                <c:pt idx="25">
                  <c:v>0.48740740740740746</c:v>
                </c:pt>
                <c:pt idx="26">
                  <c:v>0.49365853658536585</c:v>
                </c:pt>
                <c:pt idx="27">
                  <c:v>0.49975903614457834</c:v>
                </c:pt>
                <c:pt idx="28">
                  <c:v>0.50571428571428578</c:v>
                </c:pt>
                <c:pt idx="29">
                  <c:v>0.51152941176470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2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Georges Vesselle Grand Cru Brut 750ml (1.0%)</c:v>
                </c:pt>
                <c:pt idx="4">
                  <c:v>Champagne Nicolas Feuillatte Réserve Exclusive Brut 750ml (3.0%)</c:v>
                </c:pt>
                <c:pt idx="5">
                  <c:v>Champagne Louis Martin Brut 1er Cru 750ml (0.5%)</c:v>
                </c:pt>
                <c:pt idx="6">
                  <c:v>Champagne Canard-Duchêne Blanc Cuvée Léonie Brut 750ml (2.6%)</c:v>
                </c:pt>
                <c:pt idx="7">
                  <c:v>Champagne Besserat de Bellefon Bleu Brut 750ml (1.7%)</c:v>
                </c:pt>
                <c:pt idx="8">
                  <c:v>Champagne Château de Bligny 750ml (1.3%)</c:v>
                </c:pt>
                <c:pt idx="9">
                  <c:v>Prosecco Carlo V Cuvée Del Imperator 750ml (5.4%)</c:v>
                </c:pt>
              </c:strCache>
            </c:strRef>
          </c:cat>
          <c:val>
            <c:numRef>
              <c:f>Sheet1!$B$2:$B$11</c:f>
              <c:numCache>
                <c:formatCode>General</c:formatCode>
                <c:ptCount val="10"/>
                <c:pt idx="0">
                  <c:v>0.17811301749634983</c:v>
                </c:pt>
                <c:pt idx="1">
                  <c:v>0.16876574792069574</c:v>
                </c:pt>
                <c:pt idx="2">
                  <c:v>8.1093862742456127E-2</c:v>
                </c:pt>
                <c:pt idx="3">
                  <c:v>5.5063384617697164E-2</c:v>
                </c:pt>
                <c:pt idx="4">
                  <c:v>5.1498836334467009E-2</c:v>
                </c:pt>
                <c:pt idx="5">
                  <c:v>4.0539002459325173E-2</c:v>
                </c:pt>
                <c:pt idx="6">
                  <c:v>4.0511100590170698E-2</c:v>
                </c:pt>
                <c:pt idx="7">
                  <c:v>2.8233543607605726E-2</c:v>
                </c:pt>
                <c:pt idx="8">
                  <c:v>2.3697315096115633E-2</c:v>
                </c:pt>
                <c:pt idx="9">
                  <c:v>1.620319658375952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Besserat de Bellefon Bleu Brut 750ml (1.7%)</c:v>
                </c:pt>
                <c:pt idx="7">
                  <c:v>Champagne Louis Martin Brut 1er Cru 750ml (0.5%)</c:v>
                </c:pt>
                <c:pt idx="8">
                  <c:v>Champagne Château de Bligny 750ml (1.3%)</c:v>
                </c:pt>
                <c:pt idx="9">
                  <c:v>Champagne Ayala Brut Majeur 750ml (1.7%)</c:v>
                </c:pt>
              </c:strCache>
            </c:strRef>
          </c:cat>
          <c:val>
            <c:numRef>
              <c:f>Sheet1!$B$2:$B$11</c:f>
              <c:numCache>
                <c:formatCode>General</c:formatCode>
                <c:ptCount val="10"/>
                <c:pt idx="0">
                  <c:v>0.13543245646054713</c:v>
                </c:pt>
                <c:pt idx="1">
                  <c:v>0.10838022599002935</c:v>
                </c:pt>
                <c:pt idx="2">
                  <c:v>0.10132746897351001</c:v>
                </c:pt>
                <c:pt idx="3">
                  <c:v>6.8629891000864113E-2</c:v>
                </c:pt>
                <c:pt idx="4">
                  <c:v>5.9628858575986217E-2</c:v>
                </c:pt>
                <c:pt idx="5">
                  <c:v>5.5915770388033859E-2</c:v>
                </c:pt>
                <c:pt idx="6">
                  <c:v>4.1860061488753181E-2</c:v>
                </c:pt>
                <c:pt idx="7">
                  <c:v>3.0788046213684934E-2</c:v>
                </c:pt>
                <c:pt idx="8">
                  <c:v>3.0779184128970342E-2</c:v>
                </c:pt>
                <c:pt idx="9">
                  <c:v>2.16246586312817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alard Brut Millésime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0000000000003</c:v>
                </c:pt>
                <c:pt idx="2">
                  <c:v>39.950000000000003</c:v>
                </c:pt>
                <c:pt idx="3">
                  <c:v>42.95</c:v>
                </c:pt>
                <c:pt idx="4">
                  <c:v>47.95</c:v>
                </c:pt>
              </c:numCache>
            </c:numRef>
          </c:xVal>
          <c:yVal>
            <c:numRef>
              <c:f>Sheet1!$B$2:$B$6</c:f>
              <c:numCache>
                <c:formatCode>General</c:formatCode>
                <c:ptCount val="5"/>
                <c:pt idx="0">
                  <c:v>0.85655179595279518</c:v>
                </c:pt>
                <c:pt idx="1">
                  <c:v>0.42910108144710635</c:v>
                </c:pt>
                <c:pt idx="2">
                  <c:v>0</c:v>
                </c:pt>
                <c:pt idx="3">
                  <c:v>-0.30861628307876987</c:v>
                </c:pt>
                <c:pt idx="4">
                  <c:v>-0.5208313736730287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Grand Cru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0000000000003</c:v>
                </c:pt>
                <c:pt idx="3">
                  <c:v>39.950000000000003</c:v>
                </c:pt>
                <c:pt idx="4">
                  <c:v>42.95</c:v>
                </c:pt>
              </c:numCache>
            </c:numRef>
          </c:xVal>
          <c:yVal>
            <c:numRef>
              <c:f>Sheet1!$B$9:$B$13</c:f>
              <c:numCache>
                <c:formatCode>General</c:formatCode>
                <c:ptCount val="5"/>
                <c:pt idx="0">
                  <c:v>1.0885100162802774</c:v>
                </c:pt>
                <c:pt idx="1">
                  <c:v>0.36056812969170104</c:v>
                </c:pt>
                <c:pt idx="2">
                  <c:v>0</c:v>
                </c:pt>
                <c:pt idx="3">
                  <c:v>-0.34769628829179888</c:v>
                </c:pt>
                <c:pt idx="4">
                  <c:v>-0.5874238584048968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Malard Grand Cru Blanc de Noir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95</c:v>
                </c:pt>
                <c:pt idx="1">
                  <c:v>31.95</c:v>
                </c:pt>
                <c:pt idx="2">
                  <c:v>34.950000000000003</c:v>
                </c:pt>
                <c:pt idx="3">
                  <c:v>39.950000000000003</c:v>
                </c:pt>
                <c:pt idx="4">
                  <c:v>42.95</c:v>
                </c:pt>
              </c:numCache>
            </c:numRef>
          </c:xVal>
          <c:yVal>
            <c:numRef>
              <c:f>Sheet1!$B$16:$B$20</c:f>
              <c:numCache>
                <c:formatCode>General</c:formatCode>
                <c:ptCount val="5"/>
                <c:pt idx="0">
                  <c:v>1.2344507574318677</c:v>
                </c:pt>
                <c:pt idx="1">
                  <c:v>0.39621516452216948</c:v>
                </c:pt>
                <c:pt idx="2">
                  <c:v>0</c:v>
                </c:pt>
                <c:pt idx="3">
                  <c:v>-0.36709986849396065</c:v>
                </c:pt>
                <c:pt idx="4">
                  <c:v>-0.60221808244264508</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3.95</c:v>
                </c:pt>
                <c:pt idx="1">
                  <c:v>26.95</c:v>
                </c:pt>
                <c:pt idx="2">
                  <c:v>29.95</c:v>
                </c:pt>
                <c:pt idx="3">
                  <c:v>32.950000000000003</c:v>
                </c:pt>
                <c:pt idx="4">
                  <c:v>34.950000000000003</c:v>
                </c:pt>
              </c:numCache>
            </c:numRef>
          </c:xVal>
          <c:yVal>
            <c:numRef>
              <c:f>Sheet1!$B$23:$B$27</c:f>
              <c:numCache>
                <c:formatCode>General</c:formatCode>
                <c:ptCount val="5"/>
                <c:pt idx="0">
                  <c:v>0.67877507368757772</c:v>
                </c:pt>
                <c:pt idx="1">
                  <c:v>0.33154294663351752</c:v>
                </c:pt>
                <c:pt idx="2">
                  <c:v>0</c:v>
                </c:pt>
                <c:pt idx="3">
                  <c:v>-0.3447826575364159</c:v>
                </c:pt>
                <c:pt idx="4">
                  <c:v>-0.48689577243734183</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Malard 1er Cru Rosé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9.95</c:v>
                </c:pt>
                <c:pt idx="1">
                  <c:v>33.950000000000003</c:v>
                </c:pt>
                <c:pt idx="2">
                  <c:v>37.950000000000003</c:v>
                </c:pt>
                <c:pt idx="3">
                  <c:v>39.950000000000003</c:v>
                </c:pt>
                <c:pt idx="4">
                  <c:v>44.95</c:v>
                </c:pt>
              </c:numCache>
            </c:numRef>
          </c:xVal>
          <c:yVal>
            <c:numRef>
              <c:f>Sheet1!$B$30:$B$34</c:f>
              <c:numCache>
                <c:formatCode>General</c:formatCode>
                <c:ptCount val="5"/>
                <c:pt idx="0">
                  <c:v>1.1433544772547728</c:v>
                </c:pt>
                <c:pt idx="1">
                  <c:v>0.31470871364534603</c:v>
                </c:pt>
                <c:pt idx="2">
                  <c:v>0</c:v>
                </c:pt>
                <c:pt idx="3">
                  <c:v>-9.5359910755578328E-2</c:v>
                </c:pt>
                <c:pt idx="4">
                  <c:v>-0.4715248726289327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23.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B$2:$B$34</c:f>
              <c:numCache>
                <c:formatCode>General</c:formatCode>
                <c:ptCount val="33"/>
                <c:pt idx="0">
                  <c:v>186.29761377097572</c:v>
                </c:pt>
                <c:pt idx="1">
                  <c:v>177.58597230112883</c:v>
                </c:pt>
                <c:pt idx="2">
                  <c:v>169.60848773239107</c:v>
                </c:pt>
                <c:pt idx="3">
                  <c:v>162.27343177122796</c:v>
                </c:pt>
                <c:pt idx="4">
                  <c:v>155.5032468509248</c:v>
                </c:pt>
                <c:pt idx="5">
                  <c:v>149.23219352552155</c:v>
                </c:pt>
                <c:pt idx="6">
                  <c:v>143.40437435288646</c:v>
                </c:pt>
                <c:pt idx="7">
                  <c:v>137.43886318316868</c:v>
                </c:pt>
                <c:pt idx="8">
                  <c:v>131.95057601396127</c:v>
                </c:pt>
                <c:pt idx="9">
                  <c:v>126.88512490222708</c:v>
                </c:pt>
                <c:pt idx="10">
                  <c:v>122.19545293050848</c:v>
                </c:pt>
                <c:pt idx="11">
                  <c:v>117.84077466889525</c:v>
                </c:pt>
                <c:pt idx="12">
                  <c:v>113.78566861856491</c:v>
                </c:pt>
                <c:pt idx="13">
                  <c:v>109.99930274135126</c:v>
                </c:pt>
                <c:pt idx="14">
                  <c:v>106.45477516805657</c:v>
                </c:pt>
                <c:pt idx="15">
                  <c:v>103.12855375861882</c:v>
                </c:pt>
                <c:pt idx="16">
                  <c:v>100</c:v>
                </c:pt>
                <c:pt idx="17">
                  <c:v>93.485856975596619</c:v>
                </c:pt>
                <c:pt idx="18">
                  <c:v>87.609175467974396</c:v>
                </c:pt>
                <c:pt idx="19">
                  <c:v>82.291418621400567</c:v>
                </c:pt>
                <c:pt idx="20">
                  <c:v>77.465458425348999</c:v>
                </c:pt>
                <c:pt idx="21">
                  <c:v>73.073712430510483</c:v>
                </c:pt>
                <c:pt idx="22">
                  <c:v>69.066609549634421</c:v>
                </c:pt>
                <c:pt idx="23">
                  <c:v>65.401324298452167</c:v>
                </c:pt>
                <c:pt idx="24">
                  <c:v>62.040729988668197</c:v>
                </c:pt>
                <c:pt idx="25">
                  <c:v>58.952530650533262</c:v>
                </c:pt>
                <c:pt idx="26">
                  <c:v>56.108539066204891</c:v>
                </c:pt>
                <c:pt idx="27">
                  <c:v>54.565834874299711</c:v>
                </c:pt>
                <c:pt idx="28">
                  <c:v>53.095671000320166</c:v>
                </c:pt>
                <c:pt idx="29">
                  <c:v>51.693399980675721</c:v>
                </c:pt>
                <c:pt idx="30">
                  <c:v>50.354742400623323</c:v>
                </c:pt>
                <c:pt idx="31">
                  <c:v>49.075753585615637</c:v>
                </c:pt>
                <c:pt idx="32">
                  <c:v>47.8527935264195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C$2:$C$34</c:f>
              <c:numCache>
                <c:formatCode>General</c:formatCode>
                <c:ptCount val="33"/>
                <c:pt idx="0">
                  <c:v>149.1168057302508</c:v>
                </c:pt>
                <c:pt idx="1">
                  <c:v>144.35661030342081</c:v>
                </c:pt>
                <c:pt idx="2">
                  <c:v>139.98563213254522</c:v>
                </c:pt>
                <c:pt idx="3">
                  <c:v>135.95438213540453</c:v>
                </c:pt>
                <c:pt idx="4">
                  <c:v>132.22086664116512</c:v>
                </c:pt>
                <c:pt idx="5">
                  <c:v>128.74943589826722</c:v>
                </c:pt>
                <c:pt idx="6">
                  <c:v>125.5097874873796</c:v>
                </c:pt>
                <c:pt idx="7">
                  <c:v>122.00275747246742</c:v>
                </c:pt>
                <c:pt idx="8">
                  <c:v>118.77676896112122</c:v>
                </c:pt>
                <c:pt idx="9">
                  <c:v>115.79998181741409</c:v>
                </c:pt>
                <c:pt idx="10">
                  <c:v>113.04463769417512</c:v>
                </c:pt>
                <c:pt idx="11">
                  <c:v>110.48652077226124</c:v>
                </c:pt>
                <c:pt idx="12">
                  <c:v>108.1044843288315</c:v>
                </c:pt>
                <c:pt idx="13">
                  <c:v>105.88003803601651</c:v>
                </c:pt>
                <c:pt idx="14">
                  <c:v>103.79699001495091</c:v>
                </c:pt>
                <c:pt idx="15">
                  <c:v>101.84113747788948</c:v>
                </c:pt>
                <c:pt idx="16">
                  <c:v>100</c:v>
                </c:pt>
                <c:pt idx="17">
                  <c:v>94.654385202378137</c:v>
                </c:pt>
                <c:pt idx="18">
                  <c:v>89.799448779573481</c:v>
                </c:pt>
                <c:pt idx="19">
                  <c:v>85.377573891620102</c:v>
                </c:pt>
                <c:pt idx="20">
                  <c:v>81.339206387382873</c:v>
                </c:pt>
                <c:pt idx="21">
                  <c:v>77.641585461378213</c:v>
                </c:pt>
                <c:pt idx="22">
                  <c:v>74.247689045592679</c:v>
                </c:pt>
                <c:pt idx="23">
                  <c:v>71.12535657925379</c:v>
                </c:pt>
                <c:pt idx="24">
                  <c:v>68.246558066059578</c:v>
                </c:pt>
                <c:pt idx="25">
                  <c:v>65.586783728408932</c:v>
                </c:pt>
                <c:pt idx="26">
                  <c:v>63.124533128805552</c:v>
                </c:pt>
                <c:pt idx="27">
                  <c:v>62.070953564351115</c:v>
                </c:pt>
                <c:pt idx="28">
                  <c:v>61.062256672004899</c:v>
                </c:pt>
                <c:pt idx="29">
                  <c:v>60.095756400777979</c:v>
                </c:pt>
                <c:pt idx="30">
                  <c:v>59.168967238061633</c:v>
                </c:pt>
                <c:pt idx="31">
                  <c:v>58.279587597608128</c:v>
                </c:pt>
                <c:pt idx="32">
                  <c:v>57.4254845987294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D$2:$D$34</c:f>
              <c:numCache>
                <c:formatCode>General</c:formatCode>
                <c:ptCount val="33"/>
                <c:pt idx="0">
                  <c:v>95.214761608900915</c:v>
                </c:pt>
                <c:pt idx="1">
                  <c:v>96.18881025276626</c:v>
                </c:pt>
                <c:pt idx="2">
                  <c:v>97.050544352157132</c:v>
                </c:pt>
                <c:pt idx="3">
                  <c:v>97.811974423242816</c:v>
                </c:pt>
                <c:pt idx="4">
                  <c:v>98.482873816017857</c:v>
                </c:pt>
                <c:pt idx="5">
                  <c:v>99.071381947847499</c:v>
                </c:pt>
                <c:pt idx="6">
                  <c:v>99.584437652582963</c:v>
                </c:pt>
                <c:pt idx="7">
                  <c:v>99.641508110685635</c:v>
                </c:pt>
                <c:pt idx="8">
                  <c:v>99.69456756461247</c:v>
                </c:pt>
                <c:pt idx="9">
                  <c:v>99.744609024932686</c:v>
                </c:pt>
                <c:pt idx="10">
                  <c:v>99.791964738565383</c:v>
                </c:pt>
                <c:pt idx="11">
                  <c:v>99.836528598971285</c:v>
                </c:pt>
                <c:pt idx="12">
                  <c:v>99.877917704363114</c:v>
                </c:pt>
                <c:pt idx="13">
                  <c:v>99.915588409160364</c:v>
                </c:pt>
                <c:pt idx="14">
                  <c:v>99.948918522665551</c:v>
                </c:pt>
                <c:pt idx="15">
                  <c:v>99.977264463512554</c:v>
                </c:pt>
                <c:pt idx="16">
                  <c:v>100</c:v>
                </c:pt>
                <c:pt idx="17">
                  <c:v>96.342495312836945</c:v>
                </c:pt>
                <c:pt idx="18">
                  <c:v>92.963305759600502</c:v>
                </c:pt>
                <c:pt idx="19">
                  <c:v>89.835131505836713</c:v>
                </c:pt>
                <c:pt idx="20">
                  <c:v>86.9338766656617</c:v>
                </c:pt>
                <c:pt idx="21">
                  <c:v>84.238244431750246</c:v>
                </c:pt>
                <c:pt idx="22">
                  <c:v>81.729380007899522</c:v>
                </c:pt>
                <c:pt idx="23">
                  <c:v>79.39055811830282</c:v>
                </c:pt>
                <c:pt idx="24">
                  <c:v>77.206910926798386</c:v>
                </c:pt>
                <c:pt idx="25">
                  <c:v>75.165191915418532</c:v>
                </c:pt>
                <c:pt idx="26">
                  <c:v>73.253571366107735</c:v>
                </c:pt>
                <c:pt idx="27">
                  <c:v>72.9068275049557</c:v>
                </c:pt>
                <c:pt idx="28">
                  <c:v>72.564942724783393</c:v>
                </c:pt>
                <c:pt idx="29">
                  <c:v>72.22807322727607</c:v>
                </c:pt>
                <c:pt idx="30">
                  <c:v>71.896332664640084</c:v>
                </c:pt>
                <c:pt idx="31">
                  <c:v>71.569799795978781</c:v>
                </c:pt>
                <c:pt idx="32">
                  <c:v>71.2485248516062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E$2:$E$34</c:f>
              <c:numCache>
                <c:formatCode>General</c:formatCode>
                <c:ptCount val="33"/>
                <c:pt idx="0">
                  <c:v>0.26175005841363141</c:v>
                </c:pt>
                <c:pt idx="1">
                  <c:v>0.27312525011758193</c:v>
                </c:pt>
                <c:pt idx="2">
                  <c:v>0.28415521597315718</c:v>
                </c:pt>
                <c:pt idx="3">
                  <c:v>0.29485543696010535</c:v>
                </c:pt>
                <c:pt idx="4">
                  <c:v>0.30524048207114957</c:v>
                </c:pt>
                <c:pt idx="5">
                  <c:v>0.31532407449391958</c:v>
                </c:pt>
                <c:pt idx="6">
                  <c:v>0.32511915211203229</c:v>
                </c:pt>
                <c:pt idx="7">
                  <c:v>0.33463792288619243</c:v>
                </c:pt>
                <c:pt idx="8">
                  <c:v>0.34389191561378379</c:v>
                </c:pt>
                <c:pt idx="9">
                  <c:v>0.352892026510714</c:v>
                </c:pt>
                <c:pt idx="10">
                  <c:v>0.36164856201124573</c:v>
                </c:pt>
                <c:pt idx="11">
                  <c:v>0.37017127813926648</c:v>
                </c:pt>
                <c:pt idx="12">
                  <c:v>0.37846941676720758</c:v>
                </c:pt>
                <c:pt idx="13">
                  <c:v>0.38655173904591739</c:v>
                </c:pt>
                <c:pt idx="14">
                  <c:v>0.39442655625970546</c:v>
                </c:pt>
                <c:pt idx="15">
                  <c:v>0.40210175833499429</c:v>
                </c:pt>
                <c:pt idx="16">
                  <c:v>0.40958484020814845</c:v>
                </c:pt>
                <c:pt idx="17">
                  <c:v>0.41688292623771389</c:v>
                </c:pt>
                <c:pt idx="18">
                  <c:v>0.42400279282821801</c:v>
                </c:pt>
                <c:pt idx="19">
                  <c:v>0.43095088941653875</c:v>
                </c:pt>
                <c:pt idx="20">
                  <c:v>0.43773335795746193</c:v>
                </c:pt>
                <c:pt idx="21">
                  <c:v>0.44435605103216791</c:v>
                </c:pt>
                <c:pt idx="22">
                  <c:v>0.45082454869186322</c:v>
                </c:pt>
                <c:pt idx="23">
                  <c:v>0.45714417413844721</c:v>
                </c:pt>
                <c:pt idx="24">
                  <c:v>0.46332000833482434</c:v>
                </c:pt>
                <c:pt idx="25">
                  <c:v>0.46935690362914567</c:v>
                </c:pt>
                <c:pt idx="26">
                  <c:v>0.47525949646975585</c:v>
                </c:pt>
                <c:pt idx="27">
                  <c:v>0.4810322192808697</c:v>
                </c:pt>
                <c:pt idx="28">
                  <c:v>0.48667931156290589</c:v>
                </c:pt>
                <c:pt idx="29">
                  <c:v>0.4922048302758994</c:v>
                </c:pt>
                <c:pt idx="30">
                  <c:v>0.49761265955943612</c:v>
                </c:pt>
                <c:pt idx="31">
                  <c:v>0.50290651983805112</c:v>
                </c:pt>
                <c:pt idx="32">
                  <c:v>0.508089976356945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2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Canard-Duchêne Blanc Cuvée Léonie Brut 750ml (2.6%)</c:v>
                </c:pt>
                <c:pt idx="4">
                  <c:v>Champagne Besserat de Bellefon Bleu Brut 750ml (1.7%)</c:v>
                </c:pt>
                <c:pt idx="5">
                  <c:v>Champagne Ayala Brut Majeur 750ml (1.7%)</c:v>
                </c:pt>
                <c:pt idx="6">
                  <c:v>Champagne Nicolas Feuillatte Réserve Exclusive Brut 750ml (3.0%)</c:v>
                </c:pt>
                <c:pt idx="7">
                  <c:v>Champagne Deutz Brut Classique 750ml (3.4%)</c:v>
                </c:pt>
                <c:pt idx="8">
                  <c:v>Champagne Château de Bligny 750ml (1.3%)</c:v>
                </c:pt>
                <c:pt idx="9">
                  <c:v>Champagne Vranken Demoiselle Tête de Cuvée 750ml (1.4%)</c:v>
                </c:pt>
              </c:strCache>
            </c:strRef>
          </c:cat>
          <c:val>
            <c:numRef>
              <c:f>Sheet1!$B$2:$B$11</c:f>
              <c:numCache>
                <c:formatCode>General</c:formatCode>
                <c:ptCount val="10"/>
                <c:pt idx="0">
                  <c:v>0.10922545388810345</c:v>
                </c:pt>
                <c:pt idx="1">
                  <c:v>7.8338847051855107E-2</c:v>
                </c:pt>
                <c:pt idx="2">
                  <c:v>7.6912263875881737E-2</c:v>
                </c:pt>
                <c:pt idx="3">
                  <c:v>5.4517194423366347E-2</c:v>
                </c:pt>
                <c:pt idx="4">
                  <c:v>5.1901031871229131E-2</c:v>
                </c:pt>
                <c:pt idx="5">
                  <c:v>3.6284399005874615E-2</c:v>
                </c:pt>
                <c:pt idx="6">
                  <c:v>3.5626218980246503E-2</c:v>
                </c:pt>
                <c:pt idx="7">
                  <c:v>3.1133620557980923E-2</c:v>
                </c:pt>
                <c:pt idx="8">
                  <c:v>2.9658036227795368E-2</c:v>
                </c:pt>
                <c:pt idx="9">
                  <c:v>2.55675900184353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Besserat de Bellefon Bleu Brut 750ml (1.7%)</c:v>
                </c:pt>
                <c:pt idx="3">
                  <c:v>Champagne Heidsieck Monopole Silver Top 750ml (4.2%)</c:v>
                </c:pt>
                <c:pt idx="4">
                  <c:v>Champagne Deutz Brut Classique 750ml (3.4%)</c:v>
                </c:pt>
                <c:pt idx="5">
                  <c:v>Champagne Canard-Duchêne Blanc Cuvée Léonie Brut 750ml (2.6%)</c:v>
                </c:pt>
                <c:pt idx="6">
                  <c:v>Champagne Ayala Brut Majeur 750ml (1.7%)</c:v>
                </c:pt>
                <c:pt idx="7">
                  <c:v>Champagne Laurent-Perrier Blanc La Cuvée 750ml (2.7%)</c:v>
                </c:pt>
                <c:pt idx="8">
                  <c:v>Champagne Nicolas Feuillatte Réserve Exclusive Brut 750ml (3.0%)</c:v>
                </c:pt>
                <c:pt idx="9">
                  <c:v>Champagne Château de Bligny 750ml (1.3%)</c:v>
                </c:pt>
              </c:strCache>
            </c:strRef>
          </c:cat>
          <c:val>
            <c:numRef>
              <c:f>Sheet1!$B$2:$B$11</c:f>
              <c:numCache>
                <c:formatCode>General</c:formatCode>
                <c:ptCount val="10"/>
                <c:pt idx="0">
                  <c:v>7.0625717746584868E-2</c:v>
                </c:pt>
                <c:pt idx="1">
                  <c:v>6.4018334258705054E-2</c:v>
                </c:pt>
                <c:pt idx="2">
                  <c:v>5.5058393711796542E-2</c:v>
                </c:pt>
                <c:pt idx="3">
                  <c:v>5.5039981953358998E-2</c:v>
                </c:pt>
                <c:pt idx="4">
                  <c:v>4.2196541229967389E-2</c:v>
                </c:pt>
                <c:pt idx="5">
                  <c:v>4.0841215880430395E-2</c:v>
                </c:pt>
                <c:pt idx="6">
                  <c:v>3.5680598092639307E-2</c:v>
                </c:pt>
                <c:pt idx="7">
                  <c:v>3.448368048014281E-2</c:v>
                </c:pt>
                <c:pt idx="8">
                  <c:v>3.3885065251347157E-2</c:v>
                </c:pt>
                <c:pt idx="9">
                  <c:v>3.09646020045724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uvet Ladubay (1.5%)</c:v>
                </c:pt>
                <c:pt idx="5">
                  <c:v>Bottega (3.7%)</c:v>
                </c:pt>
                <c:pt idx="6">
                  <c:v>Lyre's (1.0%)</c:v>
                </c:pt>
                <c:pt idx="7">
                  <c:v>Les Grumes  (1.0%)</c:v>
                </c:pt>
                <c:pt idx="8">
                  <c:v>Malard (6.0%)</c:v>
                </c:pt>
                <c:pt idx="9">
                  <c:v>Dea Augusta (0.5%)</c:v>
                </c:pt>
              </c:strCache>
            </c:strRef>
          </c:cat>
          <c:val>
            <c:numRef>
              <c:f>Sheet1!$B$2:$B$11</c:f>
              <c:numCache>
                <c:formatCode>General</c:formatCode>
                <c:ptCount val="10"/>
                <c:pt idx="0">
                  <c:v>0.11873989438423259</c:v>
                </c:pt>
                <c:pt idx="1">
                  <c:v>0.11837412258486227</c:v>
                </c:pt>
                <c:pt idx="2">
                  <c:v>0.10028851337633746</c:v>
                </c:pt>
                <c:pt idx="3">
                  <c:v>7.261603558500844E-2</c:v>
                </c:pt>
                <c:pt idx="4">
                  <c:v>6.8880251484728969E-2</c:v>
                </c:pt>
                <c:pt idx="5">
                  <c:v>6.1948637272475529E-2</c:v>
                </c:pt>
                <c:pt idx="6">
                  <c:v>4.7548401211606875E-2</c:v>
                </c:pt>
                <c:pt idx="7">
                  <c:v>4.1114742059858364E-2</c:v>
                </c:pt>
                <c:pt idx="8">
                  <c:v>3.8980953992916095E-2</c:v>
                </c:pt>
                <c:pt idx="9">
                  <c:v>3.56923783354784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52.98464697959875</c:v>
                </c:pt>
                <c:pt idx="1">
                  <c:v>242.12219589126263</c:v>
                </c:pt>
                <c:pt idx="2">
                  <c:v>231.98131787134434</c:v>
                </c:pt>
                <c:pt idx="3">
                  <c:v>222.5026448336389</c:v>
                </c:pt>
                <c:pt idx="4">
                  <c:v>212.99822168768497</c:v>
                </c:pt>
                <c:pt idx="5">
                  <c:v>198.92199126703196</c:v>
                </c:pt>
                <c:pt idx="6">
                  <c:v>186.31545352166617</c:v>
                </c:pt>
                <c:pt idx="7">
                  <c:v>175.01643505078067</c:v>
                </c:pt>
                <c:pt idx="8">
                  <c:v>164.87306249538202</c:v>
                </c:pt>
                <c:pt idx="9">
                  <c:v>155.74617290952784</c:v>
                </c:pt>
                <c:pt idx="10">
                  <c:v>147.51046761849173</c:v>
                </c:pt>
                <c:pt idx="11">
                  <c:v>140.05469209301782</c:v>
                </c:pt>
                <c:pt idx="12">
                  <c:v>133.28112572593292</c:v>
                </c:pt>
                <c:pt idx="13">
                  <c:v>127.10463393236307</c:v>
                </c:pt>
                <c:pt idx="14">
                  <c:v>121.35109606380396</c:v>
                </c:pt>
                <c:pt idx="15">
                  <c:v>115.24319563785683</c:v>
                </c:pt>
                <c:pt idx="16">
                  <c:v>109.69027384654517</c:v>
                </c:pt>
                <c:pt idx="17">
                  <c:v>104.62804192325518</c:v>
                </c:pt>
                <c:pt idx="18">
                  <c:v>100</c:v>
                </c:pt>
                <c:pt idx="19">
                  <c:v>95.756649757738671</c:v>
                </c:pt>
                <c:pt idx="20">
                  <c:v>91.854707548410786</c:v>
                </c:pt>
                <c:pt idx="21">
                  <c:v>88.256356675719942</c:v>
                </c:pt>
                <c:pt idx="22">
                  <c:v>84.92855965035136</c:v>
                </c:pt>
                <c:pt idx="23">
                  <c:v>81.842439371115177</c:v>
                </c:pt>
                <c:pt idx="24">
                  <c:v>78.588873958222848</c:v>
                </c:pt>
                <c:pt idx="25">
                  <c:v>72.370552794593905</c:v>
                </c:pt>
                <c:pt idx="26">
                  <c:v>66.812776494064536</c:v>
                </c:pt>
                <c:pt idx="27">
                  <c:v>61.833295460761974</c:v>
                </c:pt>
                <c:pt idx="28">
                  <c:v>57.361728627414543</c:v>
                </c:pt>
                <c:pt idx="29">
                  <c:v>53.3375185912482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92.02221174148397</c:v>
                </c:pt>
                <c:pt idx="1">
                  <c:v>187.00100214212472</c:v>
                </c:pt>
                <c:pt idx="2">
                  <c:v>182.25934079449911</c:v>
                </c:pt>
                <c:pt idx="3">
                  <c:v>177.77825951270862</c:v>
                </c:pt>
                <c:pt idx="4">
                  <c:v>173.02528096972148</c:v>
                </c:pt>
                <c:pt idx="5">
                  <c:v>164.2477872827246</c:v>
                </c:pt>
                <c:pt idx="6">
                  <c:v>156.32957039057351</c:v>
                </c:pt>
                <c:pt idx="7">
                  <c:v>149.19059949655949</c:v>
                </c:pt>
                <c:pt idx="8">
                  <c:v>142.75128315490019</c:v>
                </c:pt>
                <c:pt idx="9">
                  <c:v>136.93523072425538</c:v>
                </c:pt>
                <c:pt idx="10">
                  <c:v>131.67109449932738</c:v>
                </c:pt>
                <c:pt idx="11">
                  <c:v>126.89363017604789</c:v>
                </c:pt>
                <c:pt idx="12">
                  <c:v>122.54414431333225</c:v>
                </c:pt>
                <c:pt idx="13">
                  <c:v>118.57049833543753</c:v>
                </c:pt>
                <c:pt idx="14">
                  <c:v>114.83180002635582</c:v>
                </c:pt>
                <c:pt idx="15">
                  <c:v>110.59897121608266</c:v>
                </c:pt>
                <c:pt idx="16">
                  <c:v>106.7428215543455</c:v>
                </c:pt>
                <c:pt idx="17">
                  <c:v>103.22211708357953</c:v>
                </c:pt>
                <c:pt idx="18">
                  <c:v>100</c:v>
                </c:pt>
                <c:pt idx="19">
                  <c:v>97.043703838887197</c:v>
                </c:pt>
                <c:pt idx="20">
                  <c:v>94.324208089070495</c:v>
                </c:pt>
                <c:pt idx="21">
                  <c:v>91.815871972381004</c:v>
                </c:pt>
                <c:pt idx="22">
                  <c:v>89.496072564020125</c:v>
                </c:pt>
                <c:pt idx="23">
                  <c:v>87.3448621039024</c:v>
                </c:pt>
                <c:pt idx="24">
                  <c:v>84.930176927779172</c:v>
                </c:pt>
                <c:pt idx="25">
                  <c:v>79.187146960413784</c:v>
                </c:pt>
                <c:pt idx="26">
                  <c:v>74.008076055905349</c:v>
                </c:pt>
                <c:pt idx="27">
                  <c:v>69.327432242228369</c:v>
                </c:pt>
                <c:pt idx="28">
                  <c:v>65.088728469277385</c:v>
                </c:pt>
                <c:pt idx="29">
                  <c:v>61.24297066160389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05.27356431192116</c:v>
                </c:pt>
                <c:pt idx="1">
                  <c:v>108.60723405038628</c:v>
                </c:pt>
                <c:pt idx="2">
                  <c:v>111.58328131745292</c:v>
                </c:pt>
                <c:pt idx="3">
                  <c:v>114.24144217045607</c:v>
                </c:pt>
                <c:pt idx="4">
                  <c:v>116.27061910966682</c:v>
                </c:pt>
                <c:pt idx="5">
                  <c:v>115.03926039021175</c:v>
                </c:pt>
                <c:pt idx="6">
                  <c:v>113.79232432264669</c:v>
                </c:pt>
                <c:pt idx="7">
                  <c:v>112.56852202501038</c:v>
                </c:pt>
                <c:pt idx="8">
                  <c:v>111.39248163649586</c:v>
                </c:pt>
                <c:pt idx="9">
                  <c:v>110.27812554681793</c:v>
                </c:pt>
                <c:pt idx="10">
                  <c:v>109.23158629438791</c:v>
                </c:pt>
                <c:pt idx="11">
                  <c:v>108.25359420445415</c:v>
                </c:pt>
                <c:pt idx="12">
                  <c:v>107.34134424750454</c:v>
                </c:pt>
                <c:pt idx="13">
                  <c:v>106.48989690475035</c:v>
                </c:pt>
                <c:pt idx="14">
                  <c:v>105.6058263220315</c:v>
                </c:pt>
                <c:pt idx="15">
                  <c:v>104.02861707153794</c:v>
                </c:pt>
                <c:pt idx="16">
                  <c:v>102.57413313672139</c:v>
                </c:pt>
                <c:pt idx="17">
                  <c:v>101.23417735163036</c:v>
                </c:pt>
                <c:pt idx="18">
                  <c:v>100</c:v>
                </c:pt>
                <c:pt idx="19">
                  <c:v>98.862749185162201</c:v>
                </c:pt>
                <c:pt idx="20">
                  <c:v>97.813768464683477</c:v>
                </c:pt>
                <c:pt idx="21">
                  <c:v>96.844784308594186</c:v>
                </c:pt>
                <c:pt idx="22">
                  <c:v>95.948015789189228</c:v>
                </c:pt>
                <c:pt idx="23">
                  <c:v>95.1162305236208</c:v>
                </c:pt>
                <c:pt idx="24">
                  <c:v>93.884199579226348</c:v>
                </c:pt>
                <c:pt idx="25">
                  <c:v>88.803154939346214</c:v>
                </c:pt>
                <c:pt idx="26">
                  <c:v>84.150653484358614</c:v>
                </c:pt>
                <c:pt idx="27">
                  <c:v>79.884713059546272</c:v>
                </c:pt>
                <c:pt idx="28">
                  <c:v>75.968398022846216</c:v>
                </c:pt>
                <c:pt idx="29">
                  <c:v>72.36896967200102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2908187236095029</c:v>
                </c:pt>
                <c:pt idx="1">
                  <c:v>0.24260675179321425</c:v>
                </c:pt>
                <c:pt idx="2">
                  <c:v>0.25566525607264168</c:v>
                </c:pt>
                <c:pt idx="3">
                  <c:v>0.26828109919005455</c:v>
                </c:pt>
                <c:pt idx="4">
                  <c:v>0.28047641420355363</c:v>
                </c:pt>
                <c:pt idx="5">
                  <c:v>0.29227188282316746</c:v>
                </c:pt>
                <c:pt idx="6">
                  <c:v>0.30368685245505195</c:v>
                </c:pt>
                <c:pt idx="7">
                  <c:v>0.31473944209862242</c:v>
                </c:pt>
                <c:pt idx="8">
                  <c:v>0.32544663831583159</c:v>
                </c:pt>
                <c:pt idx="9">
                  <c:v>0.33582438234174183</c:v>
                </c:pt>
                <c:pt idx="10">
                  <c:v>0.34588764927595789</c:v>
                </c:pt>
                <c:pt idx="11">
                  <c:v>0.35565052018228699</c:v>
                </c:pt>
                <c:pt idx="12">
                  <c:v>0.36512624782666508</c:v>
                </c:pt>
                <c:pt idx="13">
                  <c:v>0.3743273166987422</c:v>
                </c:pt>
                <c:pt idx="14">
                  <c:v>0.3832654978887603</c:v>
                </c:pt>
                <c:pt idx="15">
                  <c:v>0.39195189932694657</c:v>
                </c:pt>
                <c:pt idx="16">
                  <c:v>0.40039701183629478</c:v>
                </c:pt>
                <c:pt idx="17">
                  <c:v>0.40861075140018116</c:v>
                </c:pt>
                <c:pt idx="18">
                  <c:v>0.41660249800288141</c:v>
                </c:pt>
                <c:pt idx="19">
                  <c:v>0.42438113136284294</c:v>
                </c:pt>
                <c:pt idx="20">
                  <c:v>0.43195506384491072</c:v>
                </c:pt>
                <c:pt idx="21">
                  <c:v>0.43933227080796383</c:v>
                </c:pt>
                <c:pt idx="22">
                  <c:v>0.44652031861811814</c:v>
                </c:pt>
                <c:pt idx="23">
                  <c:v>0.45352639053434451</c:v>
                </c:pt>
                <c:pt idx="24">
                  <c:v>0.46035731065266522</c:v>
                </c:pt>
                <c:pt idx="25">
                  <c:v>0.46701956607670647</c:v>
                </c:pt>
                <c:pt idx="26">
                  <c:v>0.47351932746601499</c:v>
                </c:pt>
                <c:pt idx="27">
                  <c:v>0.47986246809895444</c:v>
                </c:pt>
                <c:pt idx="28">
                  <c:v>0.4860545815739668</c:v>
                </c:pt>
                <c:pt idx="29">
                  <c:v>0.492100998261332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0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Louis Martin Brut 1er Cru 750ml (0.5%)</c:v>
                </c:pt>
              </c:strCache>
            </c:strRef>
          </c:cat>
          <c:val>
            <c:numRef>
              <c:f>Sheet1!$B$2:$B$11</c:f>
              <c:numCache>
                <c:formatCode>General</c:formatCode>
                <c:ptCount val="10"/>
                <c:pt idx="0">
                  <c:v>0.17184776680777428</c:v>
                </c:pt>
                <c:pt idx="1">
                  <c:v>0.1189134089238553</c:v>
                </c:pt>
                <c:pt idx="2">
                  <c:v>7.5866155008385103E-2</c:v>
                </c:pt>
                <c:pt idx="3">
                  <c:v>6.4079655478864433E-2</c:v>
                </c:pt>
                <c:pt idx="4">
                  <c:v>4.2940322885388162E-2</c:v>
                </c:pt>
                <c:pt idx="5">
                  <c:v>3.5039113395918406E-2</c:v>
                </c:pt>
                <c:pt idx="6">
                  <c:v>3.408546918901461E-2</c:v>
                </c:pt>
                <c:pt idx="7">
                  <c:v>2.5147256743358902E-2</c:v>
                </c:pt>
                <c:pt idx="8">
                  <c:v>2.238662891854732E-2</c:v>
                </c:pt>
                <c:pt idx="9">
                  <c:v>2.214738169131392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Champagne Malard Grand Cru Blanc de Noirs 750ml (0.5%)</c:v>
                </c:pt>
                <c:pt idx="7">
                  <c:v>Champagne Georges Vesselle Grand Cru Brut 750ml (1.0%)</c:v>
                </c:pt>
                <c:pt idx="8">
                  <c:v>Champagne Château de Bligny 750ml (1.3%)</c:v>
                </c:pt>
                <c:pt idx="9">
                  <c:v>Champagne Laurent-Perrier Blanc La Cuvée 750ml (2.7%)</c:v>
                </c:pt>
              </c:strCache>
            </c:strRef>
          </c:cat>
          <c:val>
            <c:numRef>
              <c:f>Sheet1!$B$2:$B$11</c:f>
              <c:numCache>
                <c:formatCode>General</c:formatCode>
                <c:ptCount val="10"/>
                <c:pt idx="0">
                  <c:v>0.1237246842882154</c:v>
                </c:pt>
                <c:pt idx="1">
                  <c:v>7.9714527562450191E-2</c:v>
                </c:pt>
                <c:pt idx="2">
                  <c:v>7.5893843590978283E-2</c:v>
                </c:pt>
                <c:pt idx="3">
                  <c:v>6.3526847012036591E-2</c:v>
                </c:pt>
                <c:pt idx="4">
                  <c:v>5.1716581418060958E-2</c:v>
                </c:pt>
                <c:pt idx="5">
                  <c:v>4.3840104305832406E-2</c:v>
                </c:pt>
                <c:pt idx="6">
                  <c:v>3.662976876294903E-2</c:v>
                </c:pt>
                <c:pt idx="7">
                  <c:v>3.0294836245850606E-2</c:v>
                </c:pt>
                <c:pt idx="8">
                  <c:v>2.9622650426769481E-2</c:v>
                </c:pt>
                <c:pt idx="9">
                  <c:v>2.90167254893866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75.20865188329867</c:v>
                </c:pt>
                <c:pt idx="1">
                  <c:v>262.53900126166474</c:v>
                </c:pt>
                <c:pt idx="2">
                  <c:v>250.75326033075282</c:v>
                </c:pt>
                <c:pt idx="3">
                  <c:v>239.78224926290542</c:v>
                </c:pt>
                <c:pt idx="4">
                  <c:v>228.76774347709414</c:v>
                </c:pt>
                <c:pt idx="5">
                  <c:v>212.02414844078908</c:v>
                </c:pt>
                <c:pt idx="6">
                  <c:v>197.14960786615103</c:v>
                </c:pt>
                <c:pt idx="7">
                  <c:v>183.94825541627975</c:v>
                </c:pt>
                <c:pt idx="8">
                  <c:v>172.22522471138288</c:v>
                </c:pt>
                <c:pt idx="9">
                  <c:v>161.79549362427178</c:v>
                </c:pt>
                <c:pt idx="10">
                  <c:v>152.48958510250142</c:v>
                </c:pt>
                <c:pt idx="11">
                  <c:v>144.15635108176022</c:v>
                </c:pt>
                <c:pt idx="12">
                  <c:v>136.66355499950575</c:v>
                </c:pt>
                <c:pt idx="13">
                  <c:v>129.89703677640361</c:v>
                </c:pt>
                <c:pt idx="14">
                  <c:v>123.61932979662255</c:v>
                </c:pt>
                <c:pt idx="15">
                  <c:v>116.75767994600864</c:v>
                </c:pt>
                <c:pt idx="16">
                  <c:v>110.5881191525045</c:v>
                </c:pt>
                <c:pt idx="17">
                  <c:v>105.02690636894441</c:v>
                </c:pt>
                <c:pt idx="18">
                  <c:v>100</c:v>
                </c:pt>
                <c:pt idx="19">
                  <c:v>95.442345024257776</c:v>
                </c:pt>
                <c:pt idx="20">
                  <c:v>91.29705385537703</c:v>
                </c:pt>
                <c:pt idx="21">
                  <c:v>87.514552148627757</c:v>
                </c:pt>
                <c:pt idx="22">
                  <c:v>84.051738238792112</c:v>
                </c:pt>
                <c:pt idx="23">
                  <c:v>80.871187684415304</c:v>
                </c:pt>
                <c:pt idx="24">
                  <c:v>77.547111435982515</c:v>
                </c:pt>
                <c:pt idx="25">
                  <c:v>71.228996403757819</c:v>
                </c:pt>
                <c:pt idx="26">
                  <c:v>65.63439278050565</c:v>
                </c:pt>
                <c:pt idx="27">
                  <c:v>60.663180703139062</c:v>
                </c:pt>
                <c:pt idx="28">
                  <c:v>56.23048699098333</c:v>
                </c:pt>
                <c:pt idx="29">
                  <c:v>52.2643025473739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08.62188269411703</c:v>
                </c:pt>
                <c:pt idx="1">
                  <c:v>202.53100488335863</c:v>
                </c:pt>
                <c:pt idx="2">
                  <c:v>196.79627777712412</c:v>
                </c:pt>
                <c:pt idx="3">
                  <c:v>191.39765037750792</c:v>
                </c:pt>
                <c:pt idx="4">
                  <c:v>185.6715191123896</c:v>
                </c:pt>
                <c:pt idx="5">
                  <c:v>174.92920664194966</c:v>
                </c:pt>
                <c:pt idx="6">
                  <c:v>165.30588541888625</c:v>
                </c:pt>
                <c:pt idx="7">
                  <c:v>156.70942125016623</c:v>
                </c:pt>
                <c:pt idx="8">
                  <c:v>149.03820339776613</c:v>
                </c:pt>
                <c:pt idx="9">
                  <c:v>142.18893647248186</c:v>
                </c:pt>
                <c:pt idx="10">
                  <c:v>136.06234877445803</c:v>
                </c:pt>
                <c:pt idx="11">
                  <c:v>130.56672752763944</c:v>
                </c:pt>
                <c:pt idx="12">
                  <c:v>125.61966345763614</c:v>
                </c:pt>
                <c:pt idx="13">
                  <c:v>121.14852706492127</c:v>
                </c:pt>
                <c:pt idx="14">
                  <c:v>116.9579313528472</c:v>
                </c:pt>
                <c:pt idx="15">
                  <c:v>112.03846962884145</c:v>
                </c:pt>
                <c:pt idx="16">
                  <c:v>107.60796306554772</c:v>
                </c:pt>
                <c:pt idx="17">
                  <c:v>103.61165297262147</c:v>
                </c:pt>
                <c:pt idx="18">
                  <c:v>100</c:v>
                </c:pt>
                <c:pt idx="19">
                  <c:v>96.728606290197106</c:v>
                </c:pt>
                <c:pt idx="20">
                  <c:v>93.757973127778996</c:v>
                </c:pt>
                <c:pt idx="21">
                  <c:v>91.053157612392923</c:v>
                </c:pt>
                <c:pt idx="22">
                  <c:v>88.583375932669313</c:v>
                </c:pt>
                <c:pt idx="23">
                  <c:v>86.321587790877516</c:v>
                </c:pt>
                <c:pt idx="24">
                  <c:v>83.819329969233507</c:v>
                </c:pt>
                <c:pt idx="25">
                  <c:v>77.953839987439906</c:v>
                </c:pt>
                <c:pt idx="26">
                  <c:v>72.718971161840329</c:v>
                </c:pt>
                <c:pt idx="27">
                  <c:v>68.031812818227806</c:v>
                </c:pt>
                <c:pt idx="28">
                  <c:v>63.821341445736834</c:v>
                </c:pt>
                <c:pt idx="29">
                  <c:v>60.0267148854211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28.98632548843059</c:v>
                </c:pt>
                <c:pt idx="1">
                  <c:v>130.79772956153391</c:v>
                </c:pt>
                <c:pt idx="2">
                  <c:v>132.32763889528007</c:v>
                </c:pt>
                <c:pt idx="3">
                  <c:v>133.6157761903101</c:v>
                </c:pt>
                <c:pt idx="4">
                  <c:v>134.2307197861993</c:v>
                </c:pt>
                <c:pt idx="5">
                  <c:v>130.66474019994544</c:v>
                </c:pt>
                <c:pt idx="6">
                  <c:v>127.31732095038248</c:v>
                </c:pt>
                <c:pt idx="7">
                  <c:v>124.22170122810883</c:v>
                </c:pt>
                <c:pt idx="8">
                  <c:v>121.38869910547807</c:v>
                </c:pt>
                <c:pt idx="9">
                  <c:v>118.81335386222098</c:v>
                </c:pt>
                <c:pt idx="10">
                  <c:v>116.48073350395975</c:v>
                </c:pt>
                <c:pt idx="11">
                  <c:v>114.37043771330957</c:v>
                </c:pt>
                <c:pt idx="12">
                  <c:v>112.45978232415328</c:v>
                </c:pt>
                <c:pt idx="13">
                  <c:v>110.72587863948998</c:v>
                </c:pt>
                <c:pt idx="14">
                  <c:v>109.02361134684917</c:v>
                </c:pt>
                <c:pt idx="15">
                  <c:v>106.41850669852143</c:v>
                </c:pt>
                <c:pt idx="16">
                  <c:v>104.05955661420461</c:v>
                </c:pt>
                <c:pt idx="17">
                  <c:v>101.9267780202189</c:v>
                </c:pt>
                <c:pt idx="18">
                  <c:v>100</c:v>
                </c:pt>
                <c:pt idx="19">
                  <c:v>98.259561390120695</c:v>
                </c:pt>
                <c:pt idx="20">
                  <c:v>96.686769588180269</c:v>
                </c:pt>
                <c:pt idx="21">
                  <c:v>95.264176128474901</c:v>
                </c:pt>
                <c:pt idx="22">
                  <c:v>93.975716216716606</c:v>
                </c:pt>
                <c:pt idx="23">
                  <c:v>92.806751160637546</c:v>
                </c:pt>
                <c:pt idx="24">
                  <c:v>91.281077721533464</c:v>
                </c:pt>
                <c:pt idx="25">
                  <c:v>85.946493761891588</c:v>
                </c:pt>
                <c:pt idx="26">
                  <c:v>81.133281493495289</c:v>
                </c:pt>
                <c:pt idx="27">
                  <c:v>76.778792164160066</c:v>
                </c:pt>
                <c:pt idx="28">
                  <c:v>72.828302999294763</c:v>
                </c:pt>
                <c:pt idx="29">
                  <c:v>69.2341112098074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8354008144834225</c:v>
                </c:pt>
                <c:pt idx="1">
                  <c:v>0.29610955370363468</c:v>
                </c:pt>
                <c:pt idx="2">
                  <c:v>0.30824559588115819</c:v>
                </c:pt>
                <c:pt idx="3">
                  <c:v>0.31997024679842651</c:v>
                </c:pt>
                <c:pt idx="4">
                  <c:v>0.33130407601845274</c:v>
                </c:pt>
                <c:pt idx="5">
                  <c:v>0.34226630428044524</c:v>
                </c:pt>
                <c:pt idx="6">
                  <c:v>0.3528749122759221</c:v>
                </c:pt>
                <c:pt idx="7">
                  <c:v>0.36314673906519318</c:v>
                </c:pt>
                <c:pt idx="8">
                  <c:v>0.37309757126729948</c:v>
                </c:pt>
                <c:pt idx="9">
                  <c:v>0.38274222401703334</c:v>
                </c:pt>
                <c:pt idx="10">
                  <c:v>0.39209461456222994</c:v>
                </c:pt>
                <c:pt idx="11">
                  <c:v>0.40116782927025624</c:v>
                </c:pt>
                <c:pt idx="12">
                  <c:v>0.40997418472216424</c:v>
                </c:pt>
                <c:pt idx="13">
                  <c:v>0.41852528349430673</c:v>
                </c:pt>
                <c:pt idx="14">
                  <c:v>0.426832065158674</c:v>
                </c:pt>
                <c:pt idx="15">
                  <c:v>0.43490485297334025</c:v>
                </c:pt>
                <c:pt idx="16">
                  <c:v>0.44275339668204405</c:v>
                </c:pt>
                <c:pt idx="17">
                  <c:v>0.45038691179598855</c:v>
                </c:pt>
                <c:pt idx="18">
                  <c:v>0.45781411569063735</c:v>
                </c:pt>
                <c:pt idx="19">
                  <c:v>0.4650432608147621</c:v>
                </c:pt>
                <c:pt idx="20">
                  <c:v>0.47208216527772595</c:v>
                </c:pt>
                <c:pt idx="21">
                  <c:v>0.47893824105333987</c:v>
                </c:pt>
                <c:pt idx="22">
                  <c:v>0.48561852001419448</c:v>
                </c:pt>
                <c:pt idx="23">
                  <c:v>0.49212967798869828</c:v>
                </c:pt>
                <c:pt idx="24">
                  <c:v>0.49847805701383963</c:v>
                </c:pt>
                <c:pt idx="25">
                  <c:v>0.5046696859395946</c:v>
                </c:pt>
                <c:pt idx="26">
                  <c:v>0.51071029952569713</c:v>
                </c:pt>
                <c:pt idx="27">
                  <c:v>0.51660535615791758</c:v>
                </c:pt>
                <c:pt idx="28">
                  <c:v>0.52236005429889476</c:v>
                </c:pt>
                <c:pt idx="29">
                  <c:v>0.527979347777731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3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Louis Martin Brut 1er Cru 750ml (0.5%)</c:v>
                </c:pt>
                <c:pt idx="7">
                  <c:v>Champagne Besserat de Bellefon Bleu Brut 750ml (1.7%)</c:v>
                </c:pt>
                <c:pt idx="8">
                  <c:v>Champagne Malard Grand Cru Blanc de Blancs 750ml (0.8%)</c:v>
                </c:pt>
                <c:pt idx="9">
                  <c:v>Champagne Château de Bligny 750ml (1.3%)</c:v>
                </c:pt>
              </c:strCache>
            </c:strRef>
          </c:cat>
          <c:val>
            <c:numRef>
              <c:f>Sheet1!$B$2:$B$11</c:f>
              <c:numCache>
                <c:formatCode>General</c:formatCode>
                <c:ptCount val="10"/>
                <c:pt idx="0">
                  <c:v>0.17658469851756228</c:v>
                </c:pt>
                <c:pt idx="1">
                  <c:v>0.1301744815982516</c:v>
                </c:pt>
                <c:pt idx="2">
                  <c:v>7.9630387022513405E-2</c:v>
                </c:pt>
                <c:pt idx="3">
                  <c:v>7.1409324922870748E-2</c:v>
                </c:pt>
                <c:pt idx="4">
                  <c:v>4.4484659231348297E-2</c:v>
                </c:pt>
                <c:pt idx="5">
                  <c:v>3.6512725991237734E-2</c:v>
                </c:pt>
                <c:pt idx="6">
                  <c:v>3.4321957107406022E-2</c:v>
                </c:pt>
                <c:pt idx="7">
                  <c:v>3.3749827617501789E-2</c:v>
                </c:pt>
                <c:pt idx="8">
                  <c:v>2.857295053238415E-2</c:v>
                </c:pt>
                <c:pt idx="9">
                  <c:v>2.632207288019702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Malard Grand Cru Blanc de Blancs 750ml (0.8%)</c:v>
                </c:pt>
                <c:pt idx="5">
                  <c:v>Champagne Besserat de Bellefon Bleu Brut 750ml (1.7%)</c:v>
                </c:pt>
                <c:pt idx="6">
                  <c:v>Champagne Canard-Duchêne Blanc Cuvée Léonie Brut 750ml (2.6%)</c:v>
                </c:pt>
                <c:pt idx="7">
                  <c:v>Champagne Château de Bligny 750ml (1.3%)</c:v>
                </c:pt>
                <c:pt idx="8">
                  <c:v>Champagne Georges Vesselle Grand Cru Brut 750ml (1.0%)</c:v>
                </c:pt>
                <c:pt idx="9">
                  <c:v>Champagne Vranken Demoiselle Tête de Cuvée 750ml (1.4%)</c:v>
                </c:pt>
              </c:strCache>
            </c:strRef>
          </c:cat>
          <c:val>
            <c:numRef>
              <c:f>Sheet1!$B$2:$B$11</c:f>
              <c:numCache>
                <c:formatCode>General</c:formatCode>
                <c:ptCount val="10"/>
                <c:pt idx="0">
                  <c:v>0.12593252064739321</c:v>
                </c:pt>
                <c:pt idx="1">
                  <c:v>8.4988994192684741E-2</c:v>
                </c:pt>
                <c:pt idx="2">
                  <c:v>7.9841700606833682E-2</c:v>
                </c:pt>
                <c:pt idx="3">
                  <c:v>7.0427023543533848E-2</c:v>
                </c:pt>
                <c:pt idx="4">
                  <c:v>5.0021049494043575E-2</c:v>
                </c:pt>
                <c:pt idx="5">
                  <c:v>4.847489640892666E-2</c:v>
                </c:pt>
                <c:pt idx="6">
                  <c:v>4.3858107827234288E-2</c:v>
                </c:pt>
                <c:pt idx="7">
                  <c:v>3.1985248949048667E-2</c:v>
                </c:pt>
                <c:pt idx="8">
                  <c:v>3.089971896726704E-2</c:v>
                </c:pt>
                <c:pt idx="9">
                  <c:v>2.580691937350261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B$2:$B$23</c:f>
              <c:numCache>
                <c:formatCode>General</c:formatCode>
                <c:ptCount val="22"/>
                <c:pt idx="0">
                  <c:v>163.61925026055602</c:v>
                </c:pt>
                <c:pt idx="1">
                  <c:v>160.93890674036822</c:v>
                </c:pt>
                <c:pt idx="2">
                  <c:v>153.72702736032326</c:v>
                </c:pt>
                <c:pt idx="3">
                  <c:v>146.3617326812435</c:v>
                </c:pt>
                <c:pt idx="4">
                  <c:v>139.36047905425858</c:v>
                </c:pt>
                <c:pt idx="5">
                  <c:v>132.71671493987159</c:v>
                </c:pt>
                <c:pt idx="6">
                  <c:v>126.42488661055282</c:v>
                </c:pt>
                <c:pt idx="7">
                  <c:v>120.47940885541249</c:v>
                </c:pt>
                <c:pt idx="8">
                  <c:v>114.8736732333941</c:v>
                </c:pt>
                <c:pt idx="9">
                  <c:v>109.59928843433372</c:v>
                </c:pt>
                <c:pt idx="10">
                  <c:v>104.64566906736839</c:v>
                </c:pt>
                <c:pt idx="11">
                  <c:v>100</c:v>
                </c:pt>
                <c:pt idx="12">
                  <c:v>93.223611224362344</c:v>
                </c:pt>
                <c:pt idx="13">
                  <c:v>86.746214049231256</c:v>
                </c:pt>
                <c:pt idx="14">
                  <c:v>80.83025271853262</c:v>
                </c:pt>
                <c:pt idx="15">
                  <c:v>75.442289764706274</c:v>
                </c:pt>
                <c:pt idx="16">
                  <c:v>70.541752155065922</c:v>
                </c:pt>
                <c:pt idx="17">
                  <c:v>66.085012287094941</c:v>
                </c:pt>
                <c:pt idx="18">
                  <c:v>62.028634207154035</c:v>
                </c:pt>
                <c:pt idx="19">
                  <c:v>58.331542089643484</c:v>
                </c:pt>
                <c:pt idx="20">
                  <c:v>54.956189627402082</c:v>
                </c:pt>
                <c:pt idx="21">
                  <c:v>51.8689704484151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C$2:$C$23</c:f>
              <c:numCache>
                <c:formatCode>General</c:formatCode>
                <c:ptCount val="22"/>
                <c:pt idx="0">
                  <c:v>134.65783918241181</c:v>
                </c:pt>
                <c:pt idx="1">
                  <c:v>135.01939374891424</c:v>
                </c:pt>
                <c:pt idx="2">
                  <c:v>131.41997786137051</c:v>
                </c:pt>
                <c:pt idx="3">
                  <c:v>127.46267970786749</c:v>
                </c:pt>
                <c:pt idx="4">
                  <c:v>123.59842592015711</c:v>
                </c:pt>
                <c:pt idx="5">
                  <c:v>119.8377291864801</c:v>
                </c:pt>
                <c:pt idx="6">
                  <c:v>116.19166893837227</c:v>
                </c:pt>
                <c:pt idx="7">
                  <c:v>112.67102236368451</c:v>
                </c:pt>
                <c:pt idx="8">
                  <c:v>109.28533400565463</c:v>
                </c:pt>
                <c:pt idx="9">
                  <c:v>106.04211188520812</c:v>
                </c:pt>
                <c:pt idx="10">
                  <c:v>102.94628690533945</c:v>
                </c:pt>
                <c:pt idx="11">
                  <c:v>100</c:v>
                </c:pt>
                <c:pt idx="12">
                  <c:v>94.750311784894365</c:v>
                </c:pt>
                <c:pt idx="13">
                  <c:v>89.590821017781749</c:v>
                </c:pt>
                <c:pt idx="14">
                  <c:v>84.809436421280864</c:v>
                </c:pt>
                <c:pt idx="15">
                  <c:v>80.397534312247544</c:v>
                </c:pt>
                <c:pt idx="16">
                  <c:v>76.336790396488652</c:v>
                </c:pt>
                <c:pt idx="17">
                  <c:v>72.603011197704632</c:v>
                </c:pt>
                <c:pt idx="18">
                  <c:v>69.169451617656165</c:v>
                </c:pt>
                <c:pt idx="19">
                  <c:v>66.009247501318711</c:v>
                </c:pt>
                <c:pt idx="20">
                  <c:v>63.096927252831172</c:v>
                </c:pt>
                <c:pt idx="21">
                  <c:v>60.4091641785528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D$2:$D$23</c:f>
              <c:numCache>
                <c:formatCode>General</c:formatCode>
                <c:ptCount val="22"/>
                <c:pt idx="0">
                  <c:v>92.446170158104152</c:v>
                </c:pt>
                <c:pt idx="1">
                  <c:v>97.296041408521901</c:v>
                </c:pt>
                <c:pt idx="2">
                  <c:v>99.015175338442447</c:v>
                </c:pt>
                <c:pt idx="3">
                  <c:v>100.05904438079347</c:v>
                </c:pt>
                <c:pt idx="4">
                  <c:v>100.78366586179672</c:v>
                </c:pt>
                <c:pt idx="5">
                  <c:v>101.22723043692505</c:v>
                </c:pt>
                <c:pt idx="6">
                  <c:v>101.42769296697509</c:v>
                </c:pt>
                <c:pt idx="7">
                  <c:v>101.4221033266377</c:v>
                </c:pt>
                <c:pt idx="8">
                  <c:v>101.24572608778277</c:v>
                </c:pt>
                <c:pt idx="9">
                  <c:v>100.93113864312744</c:v>
                </c:pt>
                <c:pt idx="10">
                  <c:v>100.50748374046069</c:v>
                </c:pt>
                <c:pt idx="11">
                  <c:v>100</c:v>
                </c:pt>
                <c:pt idx="12">
                  <c:v>96.910114292555662</c:v>
                </c:pt>
                <c:pt idx="13">
                  <c:v>93.606926266804606</c:v>
                </c:pt>
                <c:pt idx="14">
                  <c:v>90.419485662938499</c:v>
                </c:pt>
                <c:pt idx="15">
                  <c:v>87.375671406392243</c:v>
                </c:pt>
                <c:pt idx="16">
                  <c:v>84.489526884019156</c:v>
                </c:pt>
                <c:pt idx="17">
                  <c:v>81.764898360482945</c:v>
                </c:pt>
                <c:pt idx="18">
                  <c:v>79.198975832208987</c:v>
                </c:pt>
                <c:pt idx="19">
                  <c:v>76.785185415549975</c:v>
                </c:pt>
                <c:pt idx="20">
                  <c:v>74.515241579491502</c:v>
                </c:pt>
                <c:pt idx="21">
                  <c:v>72.380417729931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E$2:$E$23</c:f>
              <c:numCache>
                <c:formatCode>General</c:formatCode>
                <c:ptCount val="22"/>
                <c:pt idx="0">
                  <c:v>0.29278311448980787</c:v>
                </c:pt>
                <c:pt idx="1">
                  <c:v>0.30698425676912899</c:v>
                </c:pt>
                <c:pt idx="2">
                  <c:v>0.32062629895871314</c:v>
                </c:pt>
                <c:pt idx="3">
                  <c:v>0.33374162137263746</c:v>
                </c:pt>
                <c:pt idx="4">
                  <c:v>0.34636015127088327</c:v>
                </c:pt>
                <c:pt idx="5">
                  <c:v>0.35850959083833867</c:v>
                </c:pt>
                <c:pt idx="6">
                  <c:v>0.37021562020260268</c:v>
                </c:pt>
                <c:pt idx="7">
                  <c:v>0.38150207862191082</c:v>
                </c:pt>
                <c:pt idx="8">
                  <c:v>0.39239112653349706</c:v>
                </c:pt>
                <c:pt idx="9">
                  <c:v>0.40290339078032233</c:v>
                </c:pt>
                <c:pt idx="10">
                  <c:v>0.41305809501875207</c:v>
                </c:pt>
                <c:pt idx="11">
                  <c:v>0.4228731770418499</c:v>
                </c:pt>
                <c:pt idx="12">
                  <c:v>0.43236539452471423</c:v>
                </c:pt>
                <c:pt idx="13">
                  <c:v>0.44155042050327881</c:v>
                </c:pt>
                <c:pt idx="14">
                  <c:v>0.45044292973093358</c:v>
                </c:pt>
                <c:pt idx="15">
                  <c:v>0.45905667691383434</c:v>
                </c:pt>
                <c:pt idx="16">
                  <c:v>0.46740456770220107</c:v>
                </c:pt>
                <c:pt idx="17">
                  <c:v>0.4754987232082466</c:v>
                </c:pt>
                <c:pt idx="18">
                  <c:v>0.48335053872908129</c:v>
                </c:pt>
                <c:pt idx="19">
                  <c:v>0.49097073727290008</c:v>
                </c:pt>
                <c:pt idx="20">
                  <c:v>0.49836941841718924</c:v>
                </c:pt>
                <c:pt idx="21">
                  <c:v>0.505556102967086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Prosecco Carlo V Cuvée Del Imperator 750ml (5.4%)</c:v>
                </c:pt>
                <c:pt idx="3">
                  <c:v>Champagne Canard-Duchêne Blanc Cuvée Léonie Brut 750ml (2.6%)</c:v>
                </c:pt>
                <c:pt idx="4">
                  <c:v>Champagne Nicolas Feuillatte Réserve Exclusive Brut 750ml (3.0%)</c:v>
                </c:pt>
                <c:pt idx="5">
                  <c:v>Champagne Louis Martin Brut 1er Cru 750ml (0.5%)</c:v>
                </c:pt>
                <c:pt idx="6">
                  <c:v>Crémant de Bourgogne Patriarche Brut 750ml (1.8%)</c:v>
                </c:pt>
                <c:pt idx="7">
                  <c:v>Champagne Besserat de Bellefon Bleu Brut 750ml (1.7%)</c:v>
                </c:pt>
                <c:pt idx="8">
                  <c:v>Champagne Château de Bligny 750ml (1.3%)</c:v>
                </c:pt>
                <c:pt idx="9">
                  <c:v>Champagne Georges Vesselle Grand Cru Brut 750ml (1.0%)</c:v>
                </c:pt>
              </c:strCache>
            </c:strRef>
          </c:cat>
          <c:val>
            <c:numRef>
              <c:f>Sheet1!$B$2:$B$11</c:f>
              <c:numCache>
                <c:formatCode>General</c:formatCode>
                <c:ptCount val="10"/>
                <c:pt idx="0">
                  <c:v>0.34355652124978736</c:v>
                </c:pt>
                <c:pt idx="1">
                  <c:v>4.653107277757506E-2</c:v>
                </c:pt>
                <c:pt idx="2">
                  <c:v>4.4279939694803913E-2</c:v>
                </c:pt>
                <c:pt idx="3">
                  <c:v>3.7224308768317567E-2</c:v>
                </c:pt>
                <c:pt idx="4">
                  <c:v>3.655875609766316E-2</c:v>
                </c:pt>
                <c:pt idx="5">
                  <c:v>2.2840549070789709E-2</c:v>
                </c:pt>
                <c:pt idx="6">
                  <c:v>2.274291903745557E-2</c:v>
                </c:pt>
                <c:pt idx="7">
                  <c:v>2.1154909050786312E-2</c:v>
                </c:pt>
                <c:pt idx="8">
                  <c:v>2.0956043583005211E-2</c:v>
                </c:pt>
                <c:pt idx="9">
                  <c:v>2.08219109429872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Heidsieck Monopole Silver Top 750ml (4.2%)</c:v>
                </c:pt>
                <c:pt idx="3">
                  <c:v>Champagne Canard-Duchêne Blanc Cuvée Léonie Brut 750ml (2.6%)</c:v>
                </c:pt>
                <c:pt idx="4">
                  <c:v>Champagne Louis Martin Brut 1er Cru 750ml (0.5%)</c:v>
                </c:pt>
                <c:pt idx="5">
                  <c:v>Champagne Georges Vesselle Grand Cru Brut 750ml (1.0%)</c:v>
                </c:pt>
                <c:pt idx="6">
                  <c:v>Prosecco Carlo V Cuvée Del Imperator 750ml (5.4%)</c:v>
                </c:pt>
                <c:pt idx="7">
                  <c:v>Champagne Besserat de Bellefon Bleu Brut 750ml (1.7%)</c:v>
                </c:pt>
                <c:pt idx="8">
                  <c:v>Champagne Château de Bligny 750ml (1.3%)</c:v>
                </c:pt>
                <c:pt idx="9">
                  <c:v>Champagne E.Nicolas Rosé 750ml (0.9%)</c:v>
                </c:pt>
              </c:strCache>
            </c:strRef>
          </c:cat>
          <c:val>
            <c:numRef>
              <c:f>Sheet1!$B$2:$B$11</c:f>
              <c:numCache>
                <c:formatCode>General</c:formatCode>
                <c:ptCount val="10"/>
                <c:pt idx="0">
                  <c:v>0.29468049462828405</c:v>
                </c:pt>
                <c:pt idx="1">
                  <c:v>6.4417796479119896E-2</c:v>
                </c:pt>
                <c:pt idx="2">
                  <c:v>6.1691743604980448E-2</c:v>
                </c:pt>
                <c:pt idx="3">
                  <c:v>4.2725924626458786E-2</c:v>
                </c:pt>
                <c:pt idx="4">
                  <c:v>3.872710711065816E-2</c:v>
                </c:pt>
                <c:pt idx="5">
                  <c:v>3.5404679611051565E-2</c:v>
                </c:pt>
                <c:pt idx="6">
                  <c:v>3.088854530998586E-2</c:v>
                </c:pt>
                <c:pt idx="7">
                  <c:v>2.2341733824278814E-2</c:v>
                </c:pt>
                <c:pt idx="8">
                  <c:v>2.2212141167081211E-2</c:v>
                </c:pt>
                <c:pt idx="9">
                  <c:v>1.90495255677279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B$2:$B$31</c:f>
              <c:numCache>
                <c:formatCode>General</c:formatCode>
                <c:ptCount val="30"/>
                <c:pt idx="0">
                  <c:v>207.78412880419847</c:v>
                </c:pt>
                <c:pt idx="1">
                  <c:v>193.76583536255703</c:v>
                </c:pt>
                <c:pt idx="2">
                  <c:v>181.22820183568956</c:v>
                </c:pt>
                <c:pt idx="3">
                  <c:v>169.97282719428949</c:v>
                </c:pt>
                <c:pt idx="4">
                  <c:v>159.82957531274329</c:v>
                </c:pt>
                <c:pt idx="5">
                  <c:v>150.65299155067186</c:v>
                </c:pt>
                <c:pt idx="6">
                  <c:v>142.31892827014755</c:v>
                </c:pt>
                <c:pt idx="7">
                  <c:v>134.72148464066285</c:v>
                </c:pt>
                <c:pt idx="8">
                  <c:v>127.77029910332611</c:v>
                </c:pt>
                <c:pt idx="9">
                  <c:v>121.38819360769179</c:v>
                </c:pt>
                <c:pt idx="10">
                  <c:v>115.7088836619286</c:v>
                </c:pt>
                <c:pt idx="11">
                  <c:v>112.16746788191334</c:v>
                </c:pt>
                <c:pt idx="12">
                  <c:v>108.846532318912</c:v>
                </c:pt>
                <c:pt idx="13">
                  <c:v>105.72405284788454</c:v>
                </c:pt>
                <c:pt idx="14">
                  <c:v>102.78081086754054</c:v>
                </c:pt>
                <c:pt idx="15">
                  <c:v>100</c:v>
                </c:pt>
                <c:pt idx="16">
                  <c:v>97.366888539045817</c:v>
                </c:pt>
                <c:pt idx="17">
                  <c:v>94.868530383215571</c:v>
                </c:pt>
                <c:pt idx="18">
                  <c:v>92.493517840583706</c:v>
                </c:pt>
                <c:pt idx="19">
                  <c:v>90.231770406319924</c:v>
                </c:pt>
                <c:pt idx="20">
                  <c:v>87.740601489666702</c:v>
                </c:pt>
                <c:pt idx="21">
                  <c:v>82.556734808723675</c:v>
                </c:pt>
                <c:pt idx="22">
                  <c:v>77.81938994211049</c:v>
                </c:pt>
                <c:pt idx="23">
                  <c:v>73.480127651448853</c:v>
                </c:pt>
                <c:pt idx="24">
                  <c:v>69.496977616502448</c:v>
                </c:pt>
                <c:pt idx="25">
                  <c:v>65.833408439238795</c:v>
                </c:pt>
                <c:pt idx="26">
                  <c:v>62.457480648555745</c:v>
                </c:pt>
                <c:pt idx="27">
                  <c:v>59.341149422314409</c:v>
                </c:pt>
                <c:pt idx="28">
                  <c:v>56.459689342826792</c:v>
                </c:pt>
                <c:pt idx="29">
                  <c:v>53.7912183614135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C$2:$C$31</c:f>
              <c:numCache>
                <c:formatCode>General</c:formatCode>
                <c:ptCount val="30"/>
                <c:pt idx="0">
                  <c:v>166.33226776158236</c:v>
                </c:pt>
                <c:pt idx="1">
                  <c:v>157.6859112628712</c:v>
                </c:pt>
                <c:pt idx="2">
                  <c:v>149.89199605172738</c:v>
                </c:pt>
                <c:pt idx="3">
                  <c:v>142.84269051216708</c:v>
                </c:pt>
                <c:pt idx="4">
                  <c:v>136.44378531040962</c:v>
                </c:pt>
                <c:pt idx="5">
                  <c:v>130.61345265202112</c:v>
                </c:pt>
                <c:pt idx="6">
                  <c:v>125.28090739296726</c:v>
                </c:pt>
                <c:pt idx="7">
                  <c:v>120.38508249774249</c:v>
                </c:pt>
                <c:pt idx="8">
                  <c:v>115.87338210528824</c:v>
                </c:pt>
                <c:pt idx="9">
                  <c:v>111.70054364602271</c:v>
                </c:pt>
                <c:pt idx="10">
                  <c:v>108.01398609967976</c:v>
                </c:pt>
                <c:pt idx="11">
                  <c:v>106.19980421364438</c:v>
                </c:pt>
                <c:pt idx="12">
                  <c:v>104.50319073519003</c:v>
                </c:pt>
                <c:pt idx="13">
                  <c:v>102.9114907629705</c:v>
                </c:pt>
                <c:pt idx="14">
                  <c:v>101.41364850701717</c:v>
                </c:pt>
                <c:pt idx="15">
                  <c:v>100</c:v>
                </c:pt>
                <c:pt idx="16">
                  <c:v>98.662091039685734</c:v>
                </c:pt>
                <c:pt idx="17">
                  <c:v>97.392518066218955</c:v>
                </c:pt>
                <c:pt idx="18">
                  <c:v>96.184789588594469</c:v>
                </c:pt>
                <c:pt idx="19">
                  <c:v>95.033205828643801</c:v>
                </c:pt>
                <c:pt idx="20">
                  <c:v>93.577000814877238</c:v>
                </c:pt>
                <c:pt idx="21">
                  <c:v>89.148588139207007</c:v>
                </c:pt>
                <c:pt idx="22">
                  <c:v>85.070170551212286</c:v>
                </c:pt>
                <c:pt idx="23">
                  <c:v>81.305991440653997</c:v>
                </c:pt>
                <c:pt idx="24">
                  <c:v>77.824958299714737</c:v>
                </c:pt>
                <c:pt idx="25">
                  <c:v>74.599906196103589</c:v>
                </c:pt>
                <c:pt idx="26">
                  <c:v>71.60698879028034</c:v>
                </c:pt>
                <c:pt idx="27">
                  <c:v>68.825175339360939</c:v>
                </c:pt>
                <c:pt idx="28">
                  <c:v>66.235835159562868</c:v>
                </c:pt>
                <c:pt idx="29">
                  <c:v>63.82239383888521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D$2:$D$31</c:f>
              <c:numCache>
                <c:formatCode>General</c:formatCode>
                <c:ptCount val="30"/>
                <c:pt idx="0">
                  <c:v>114.10162139778244</c:v>
                </c:pt>
                <c:pt idx="1">
                  <c:v>112.22782385255607</c:v>
                </c:pt>
                <c:pt idx="2">
                  <c:v>110.4134057427087</c:v>
                </c:pt>
                <c:pt idx="3">
                  <c:v>108.6650430659889</c:v>
                </c:pt>
                <c:pt idx="4">
                  <c:v>106.98447751793474</c:v>
                </c:pt>
                <c:pt idx="5">
                  <c:v>105.37025804589362</c:v>
                </c:pt>
                <c:pt idx="6">
                  <c:v>103.81898856309162</c:v>
                </c:pt>
                <c:pt idx="7">
                  <c:v>102.32620580254275</c:v>
                </c:pt>
                <c:pt idx="8">
                  <c:v>100.88698373601746</c:v>
                </c:pt>
                <c:pt idx="9">
                  <c:v>99.496338032100169</c:v>
                </c:pt>
                <c:pt idx="10">
                  <c:v>98.319203944761639</c:v>
                </c:pt>
                <c:pt idx="11">
                  <c:v>98.681510507362049</c:v>
                </c:pt>
                <c:pt idx="12">
                  <c:v>99.031522742566395</c:v>
                </c:pt>
                <c:pt idx="13">
                  <c:v>99.368421856586806</c:v>
                </c:pt>
                <c:pt idx="14">
                  <c:v>99.691462279096129</c:v>
                </c:pt>
                <c:pt idx="15">
                  <c:v>100</c:v>
                </c:pt>
                <c:pt idx="16">
                  <c:v>100.29350740039122</c:v>
                </c:pt>
                <c:pt idx="17">
                  <c:v>100.57157860697181</c:v>
                </c:pt>
                <c:pt idx="18">
                  <c:v>100.83392836184275</c:v>
                </c:pt>
                <c:pt idx="19">
                  <c:v>101.08038660946896</c:v>
                </c:pt>
                <c:pt idx="20">
                  <c:v>100.92697845407363</c:v>
                </c:pt>
                <c:pt idx="21">
                  <c:v>97.445498382106919</c:v>
                </c:pt>
                <c:pt idx="22">
                  <c:v>94.192860272750622</c:v>
                </c:pt>
                <c:pt idx="23">
                  <c:v>91.149241309738173</c:v>
                </c:pt>
                <c:pt idx="24">
                  <c:v>88.297213681933812</c:v>
                </c:pt>
                <c:pt idx="25">
                  <c:v>85.621377196982181</c:v>
                </c:pt>
                <c:pt idx="26">
                  <c:v>83.108049646389603</c:v>
                </c:pt>
                <c:pt idx="27">
                  <c:v>80.745008137625007</c:v>
                </c:pt>
                <c:pt idx="28">
                  <c:v>78.521274392985163</c:v>
                </c:pt>
                <c:pt idx="29">
                  <c:v>76.4269372624426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E$2:$E$31</c:f>
              <c:numCache>
                <c:formatCode>General</c:formatCode>
                <c:ptCount val="30"/>
                <c:pt idx="0">
                  <c:v>0.30449019928230464</c:v>
                </c:pt>
                <c:pt idx="1">
                  <c:v>0.31589199929407014</c:v>
                </c:pt>
                <c:pt idx="2">
                  <c:v>0.32692599930545618</c:v>
                </c:pt>
                <c:pt idx="3">
                  <c:v>0.33760971360219494</c:v>
                </c:pt>
                <c:pt idx="4">
                  <c:v>0.34795956182716059</c:v>
                </c:pt>
                <c:pt idx="5">
                  <c:v>0.35799095318366581</c:v>
                </c:pt>
                <c:pt idx="6">
                  <c:v>0.36771836298391319</c:v>
                </c:pt>
                <c:pt idx="7">
                  <c:v>0.37715540234236233</c:v>
                </c:pt>
                <c:pt idx="8">
                  <c:v>0.38631488171968059</c:v>
                </c:pt>
                <c:pt idx="9">
                  <c:v>0.39520886894113438</c:v>
                </c:pt>
                <c:pt idx="10">
                  <c:v>0.40384874224197553</c:v>
                </c:pt>
                <c:pt idx="11">
                  <c:v>0.41224523883011643</c:v>
                </c:pt>
                <c:pt idx="12">
                  <c:v>0.42040849940192043</c:v>
                </c:pt>
                <c:pt idx="13">
                  <c:v>0.42834810899915449</c:v>
                </c:pt>
                <c:pt idx="14">
                  <c:v>0.43607313455321994</c:v>
                </c:pt>
                <c:pt idx="15">
                  <c:v>0.44359215942584368</c:v>
                </c:pt>
                <c:pt idx="16">
                  <c:v>0.45091331522287215</c:v>
                </c:pt>
                <c:pt idx="17">
                  <c:v>0.45804431112906852</c:v>
                </c:pt>
                <c:pt idx="18">
                  <c:v>0.46499246098638819</c:v>
                </c:pt>
                <c:pt idx="19">
                  <c:v>0.47176470831567441</c:v>
                </c:pt>
                <c:pt idx="20">
                  <c:v>0.47836764946172849</c:v>
                </c:pt>
                <c:pt idx="21">
                  <c:v>0.48480755502392936</c:v>
                </c:pt>
                <c:pt idx="22">
                  <c:v>0.49109038971875951</c:v>
                </c:pt>
                <c:pt idx="23">
                  <c:v>0.49722183080648535</c:v>
                </c:pt>
                <c:pt idx="24">
                  <c:v>0.50320728520164615</c:v>
                </c:pt>
                <c:pt idx="25">
                  <c:v>0.50905190537574441</c:v>
                </c:pt>
                <c:pt idx="26">
                  <c:v>0.51476060415044511</c:v>
                </c:pt>
                <c:pt idx="27">
                  <c:v>0.52033806847055486</c:v>
                </c:pt>
                <c:pt idx="28">
                  <c:v>0.52578877223793496</c:v>
                </c:pt>
                <c:pt idx="29">
                  <c:v>0.531116988280205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5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Savian (2.1%)</c:v>
                </c:pt>
                <c:pt idx="4">
                  <c:v>Patriarche (2.6%)</c:v>
                </c:pt>
                <c:pt idx="5">
                  <c:v>Muré (1.3%)</c:v>
                </c:pt>
                <c:pt idx="6">
                  <c:v>Heidsieck &amp; C° Monopole (4.2%)</c:v>
                </c:pt>
                <c:pt idx="7">
                  <c:v>Malard (6.0%)</c:v>
                </c:pt>
                <c:pt idx="8">
                  <c:v>Nicolas Feuillatte (4.5%)</c:v>
                </c:pt>
                <c:pt idx="9">
                  <c:v>Ruinart (12.8%)</c:v>
                </c:pt>
              </c:strCache>
            </c:strRef>
          </c:cat>
          <c:val>
            <c:numRef>
              <c:f>Sheet1!$B$2:$B$11</c:f>
              <c:numCache>
                <c:formatCode>General</c:formatCode>
                <c:ptCount val="10"/>
                <c:pt idx="0">
                  <c:v>0.183228968982733</c:v>
                </c:pt>
                <c:pt idx="1">
                  <c:v>0.16837560791477926</c:v>
                </c:pt>
                <c:pt idx="2">
                  <c:v>9.1139377507454336E-2</c:v>
                </c:pt>
                <c:pt idx="3">
                  <c:v>5.2173648056400394E-2</c:v>
                </c:pt>
                <c:pt idx="4">
                  <c:v>4.3258996736151932E-2</c:v>
                </c:pt>
                <c:pt idx="5">
                  <c:v>3.9941066613715263E-2</c:v>
                </c:pt>
                <c:pt idx="6">
                  <c:v>3.9934081576037915E-2</c:v>
                </c:pt>
                <c:pt idx="7">
                  <c:v>3.7568334816857563E-2</c:v>
                </c:pt>
                <c:pt idx="8">
                  <c:v>3.691761076806601E-2</c:v>
                </c:pt>
                <c:pt idx="9">
                  <c:v>3.03068543112188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Nicolas Feuillatte Réserve Exclusive Brut 750ml (3.0%)</c:v>
                </c:pt>
                <c:pt idx="4">
                  <c:v>Champagne Heidsieck Monopole Silver Top 750ml (4.2%)</c:v>
                </c:pt>
                <c:pt idx="5">
                  <c:v>Prosecco Carlo V Cuvée Del Imperator 750ml (5.4%)</c:v>
                </c:pt>
                <c:pt idx="6">
                  <c:v>Champagne Vranken Demoiselle Tête de Cuvée 750ml (1.4%)</c:v>
                </c:pt>
                <c:pt idx="7">
                  <c:v>Crémant d'Alsace Muré Prestige Bio 750ml (1.3%)</c:v>
                </c:pt>
                <c:pt idx="8">
                  <c:v>Champagne E.Nicolas Rosé 750ml (0.9%)</c:v>
                </c:pt>
                <c:pt idx="9">
                  <c:v>Champagne Laurent-Perrier Blanc La Cuvée 750ml (2.7%)</c:v>
                </c:pt>
              </c:strCache>
            </c:strRef>
          </c:cat>
          <c:val>
            <c:numRef>
              <c:f>Sheet1!$B$2:$B$11</c:f>
              <c:numCache>
                <c:formatCode>General</c:formatCode>
                <c:ptCount val="10"/>
                <c:pt idx="0">
                  <c:v>0.13061577875950686</c:v>
                </c:pt>
                <c:pt idx="1">
                  <c:v>7.9134189118580806E-2</c:v>
                </c:pt>
                <c:pt idx="2">
                  <c:v>5.1506318917477978E-2</c:v>
                </c:pt>
                <c:pt idx="3">
                  <c:v>4.234881982967495E-2</c:v>
                </c:pt>
                <c:pt idx="4">
                  <c:v>3.5077146478731495E-2</c:v>
                </c:pt>
                <c:pt idx="5">
                  <c:v>3.0241872038335834E-2</c:v>
                </c:pt>
                <c:pt idx="6">
                  <c:v>2.6239173939417017E-2</c:v>
                </c:pt>
                <c:pt idx="7">
                  <c:v>2.4291044988211826E-2</c:v>
                </c:pt>
                <c:pt idx="8">
                  <c:v>2.4207816787275859E-2</c:v>
                </c:pt>
                <c:pt idx="9">
                  <c:v>2.35249716919694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Champagne Malard Brut 1er Cru 750ml (4.1%)</c:v>
                </c:pt>
                <c:pt idx="3">
                  <c:v>Champagne Nicolas Feuillatte Réserve Exclusive Brut 750ml (3.0%)</c:v>
                </c:pt>
                <c:pt idx="4">
                  <c:v>Champagne Heidsieck Monopole Silver Top 750ml (4.2%)</c:v>
                </c:pt>
                <c:pt idx="5">
                  <c:v>Champagne Laurent-Perrier Blanc La Cuvée 750ml (2.7%)</c:v>
                </c:pt>
                <c:pt idx="6">
                  <c:v>Champagne Vranken Demoiselle Tête de Cuvée 750ml (1.4%)</c:v>
                </c:pt>
                <c:pt idx="7">
                  <c:v>Prosecco Carlo V Cuvée Del Imperator 750ml (5.4%)</c:v>
                </c:pt>
                <c:pt idx="8">
                  <c:v>Champagne Ruinart Brut 750ml (7.3%)</c:v>
                </c:pt>
                <c:pt idx="9">
                  <c:v>Champagne Canard-Duchêne Blanc Cuvée Léonie Brut 750ml (2.6%)</c:v>
                </c:pt>
              </c:strCache>
            </c:strRef>
          </c:cat>
          <c:val>
            <c:numRef>
              <c:f>Sheet1!$B$2:$B$11</c:f>
              <c:numCache>
                <c:formatCode>General</c:formatCode>
                <c:ptCount val="10"/>
                <c:pt idx="0">
                  <c:v>9.4960967298391735E-2</c:v>
                </c:pt>
                <c:pt idx="1">
                  <c:v>6.4383409090331745E-2</c:v>
                </c:pt>
                <c:pt idx="2">
                  <c:v>5.5814817874312472E-2</c:v>
                </c:pt>
                <c:pt idx="3">
                  <c:v>4.5689945162020823E-2</c:v>
                </c:pt>
                <c:pt idx="4">
                  <c:v>3.3685417011087064E-2</c:v>
                </c:pt>
                <c:pt idx="5">
                  <c:v>3.1690824490459235E-2</c:v>
                </c:pt>
                <c:pt idx="6">
                  <c:v>3.0906076938146385E-2</c:v>
                </c:pt>
                <c:pt idx="7">
                  <c:v>2.5975669008805713E-2</c:v>
                </c:pt>
                <c:pt idx="8">
                  <c:v>2.4417261113097149E-2</c:v>
                </c:pt>
                <c:pt idx="9">
                  <c:v>2.30202319042637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âteau de Blign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0000000000003</c:v>
                </c:pt>
                <c:pt idx="3">
                  <c:v>39.950000000000003</c:v>
                </c:pt>
                <c:pt idx="4">
                  <c:v>42.95</c:v>
                </c:pt>
              </c:numCache>
            </c:numRef>
          </c:xVal>
          <c:yVal>
            <c:numRef>
              <c:f>Sheet1!$B$2:$B$6</c:f>
              <c:numCache>
                <c:formatCode>General</c:formatCode>
                <c:ptCount val="5"/>
                <c:pt idx="0">
                  <c:v>1.2847701624768593</c:v>
                </c:pt>
                <c:pt idx="1">
                  <c:v>0.37037837598947665</c:v>
                </c:pt>
                <c:pt idx="2">
                  <c:v>0</c:v>
                </c:pt>
                <c:pt idx="3">
                  <c:v>-0.31588591708549779</c:v>
                </c:pt>
                <c:pt idx="4">
                  <c:v>-0.5360906829401556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27.6260628777313</c:v>
                </c:pt>
                <c:pt idx="1">
                  <c:v>213.43722292538155</c:v>
                </c:pt>
                <c:pt idx="2">
                  <c:v>200.40777422502609</c:v>
                </c:pt>
                <c:pt idx="3">
                  <c:v>188.43428547019224</c:v>
                </c:pt>
                <c:pt idx="4">
                  <c:v>177.22154608394658</c:v>
                </c:pt>
                <c:pt idx="5">
                  <c:v>165.38260565743411</c:v>
                </c:pt>
                <c:pt idx="6">
                  <c:v>154.80945882716281</c:v>
                </c:pt>
                <c:pt idx="7">
                  <c:v>145.34154862158923</c:v>
                </c:pt>
                <c:pt idx="8">
                  <c:v>136.83505960106939</c:v>
                </c:pt>
                <c:pt idx="9">
                  <c:v>129.16359603460194</c:v>
                </c:pt>
                <c:pt idx="10">
                  <c:v>122.21756468790115</c:v>
                </c:pt>
                <c:pt idx="11">
                  <c:v>115.90280130822588</c:v>
                </c:pt>
                <c:pt idx="12">
                  <c:v>110.13885111935477</c:v>
                </c:pt>
                <c:pt idx="13">
                  <c:v>104.85717421275136</c:v>
                </c:pt>
                <c:pt idx="14">
                  <c:v>100</c:v>
                </c:pt>
                <c:pt idx="15">
                  <c:v>95.551680598868174</c:v>
                </c:pt>
                <c:pt idx="16">
                  <c:v>91.482223796792468</c:v>
                </c:pt>
                <c:pt idx="17">
                  <c:v>87.746544690219707</c:v>
                </c:pt>
                <c:pt idx="18">
                  <c:v>84.305646826622677</c:v>
                </c:pt>
                <c:pt idx="19">
                  <c:v>81.125814889195297</c:v>
                </c:pt>
                <c:pt idx="20">
                  <c:v>78.177887052652963</c:v>
                </c:pt>
                <c:pt idx="21">
                  <c:v>75.436612454403999</c:v>
                </c:pt>
                <c:pt idx="22">
                  <c:v>72.880091725388439</c:v>
                </c:pt>
                <c:pt idx="23">
                  <c:v>70.489294497932818</c:v>
                </c:pt>
                <c:pt idx="24">
                  <c:v>67.97351061291684</c:v>
                </c:pt>
                <c:pt idx="25">
                  <c:v>63.337475138042031</c:v>
                </c:pt>
                <c:pt idx="26">
                  <c:v>59.169836059537026</c:v>
                </c:pt>
                <c:pt idx="27">
                  <c:v>55.410097887913402</c:v>
                </c:pt>
                <c:pt idx="28">
                  <c:v>52.007025008937134</c:v>
                </c:pt>
                <c:pt idx="29">
                  <c:v>48.9170696307737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82.63720159044655</c:v>
                </c:pt>
                <c:pt idx="1">
                  <c:v>174.24236078376921</c:v>
                </c:pt>
                <c:pt idx="2">
                  <c:v>166.41662163473947</c:v>
                </c:pt>
                <c:pt idx="3">
                  <c:v>159.12035106884238</c:v>
                </c:pt>
                <c:pt idx="4">
                  <c:v>152.14439205868035</c:v>
                </c:pt>
                <c:pt idx="5">
                  <c:v>144.3148160186721</c:v>
                </c:pt>
                <c:pt idx="6">
                  <c:v>137.27527905296432</c:v>
                </c:pt>
                <c:pt idx="7">
                  <c:v>130.93413121619173</c:v>
                </c:pt>
                <c:pt idx="8">
                  <c:v>125.20616621297556</c:v>
                </c:pt>
                <c:pt idx="9">
                  <c:v>120.01437603181489</c:v>
                </c:pt>
                <c:pt idx="10">
                  <c:v>115.29055660411494</c:v>
                </c:pt>
                <c:pt idx="11">
                  <c:v>110.97514930940432</c:v>
                </c:pt>
                <c:pt idx="12">
                  <c:v>107.01663910377886</c:v>
                </c:pt>
                <c:pt idx="13">
                  <c:v>103.37073949776547</c:v>
                </c:pt>
                <c:pt idx="14">
                  <c:v>100</c:v>
                </c:pt>
                <c:pt idx="15">
                  <c:v>96.905972048273654</c:v>
                </c:pt>
                <c:pt idx="16">
                  <c:v>94.075870121971377</c:v>
                </c:pt>
                <c:pt idx="17">
                  <c:v>91.478698917285072</c:v>
                </c:pt>
                <c:pt idx="18">
                  <c:v>89.087366115689832</c:v>
                </c:pt>
                <c:pt idx="19">
                  <c:v>86.87824277343563</c:v>
                </c:pt>
                <c:pt idx="20">
                  <c:v>84.830743245152874</c:v>
                </c:pt>
                <c:pt idx="21">
                  <c:v>82.926938059152434</c:v>
                </c:pt>
                <c:pt idx="22">
                  <c:v>81.151205556423065</c:v>
                </c:pt>
                <c:pt idx="23">
                  <c:v>79.489923425718871</c:v>
                </c:pt>
                <c:pt idx="24">
                  <c:v>77.61881421128335</c:v>
                </c:pt>
                <c:pt idx="25">
                  <c:v>73.230441624462557</c:v>
                </c:pt>
                <c:pt idx="26">
                  <c:v>69.257745377322905</c:v>
                </c:pt>
                <c:pt idx="27">
                  <c:v>65.649144682296594</c:v>
                </c:pt>
                <c:pt idx="28">
                  <c:v>62.36070224813632</c:v>
                </c:pt>
                <c:pt idx="29">
                  <c:v>59.3548784445172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7.96971062622089</c:v>
                </c:pt>
                <c:pt idx="1">
                  <c:v>135.37434527566052</c:v>
                </c:pt>
                <c:pt idx="2">
                  <c:v>132.74857497502691</c:v>
                </c:pt>
                <c:pt idx="3">
                  <c:v>130.11883252678552</c:v>
                </c:pt>
                <c:pt idx="4">
                  <c:v>127.3620868544897</c:v>
                </c:pt>
                <c:pt idx="5">
                  <c:v>123.50678006160609</c:v>
                </c:pt>
                <c:pt idx="6">
                  <c:v>119.96621963289016</c:v>
                </c:pt>
                <c:pt idx="7">
                  <c:v>116.71830373640945</c:v>
                </c:pt>
                <c:pt idx="8">
                  <c:v>113.73677761641225</c:v>
                </c:pt>
                <c:pt idx="9">
                  <c:v>110.99417139995067</c:v>
                </c:pt>
                <c:pt idx="10">
                  <c:v>108.4637027713744</c:v>
                </c:pt>
                <c:pt idx="11">
                  <c:v>106.12038298928744</c:v>
                </c:pt>
                <c:pt idx="12">
                  <c:v>103.94156452716632</c:v>
                </c:pt>
                <c:pt idx="13">
                  <c:v>101.90712546410749</c:v>
                </c:pt>
                <c:pt idx="14">
                  <c:v>100</c:v>
                </c:pt>
                <c:pt idx="15">
                  <c:v>98.239928855583287</c:v>
                </c:pt>
                <c:pt idx="16">
                  <c:v>96.629740347015542</c:v>
                </c:pt>
                <c:pt idx="17">
                  <c:v>95.152521047240114</c:v>
                </c:pt>
                <c:pt idx="18">
                  <c:v>93.793057479893577</c:v>
                </c:pt>
                <c:pt idx="19">
                  <c:v>92.537771700609994</c:v>
                </c:pt>
                <c:pt idx="20">
                  <c:v>91.374613720302392</c:v>
                </c:pt>
                <c:pt idx="21">
                  <c:v>90.292932977123797</c:v>
                </c:pt>
                <c:pt idx="22">
                  <c:v>89.283343101154344</c:v>
                </c:pt>
                <c:pt idx="23">
                  <c:v>88.337588706591035</c:v>
                </c:pt>
                <c:pt idx="24">
                  <c:v>87.097158701859684</c:v>
                </c:pt>
                <c:pt idx="25">
                  <c:v>82.938757047808565</c:v>
                </c:pt>
                <c:pt idx="26">
                  <c:v>79.146025820752641</c:v>
                </c:pt>
                <c:pt idx="27">
                  <c:v>75.675877364886006</c:v>
                </c:pt>
                <c:pt idx="28">
                  <c:v>72.491323225081871</c:v>
                </c:pt>
                <c:pt idx="29">
                  <c:v>69.5605412580167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38471816876727899</c:v>
                </c:pt>
                <c:pt idx="1">
                  <c:v>0.39551258685908103</c:v>
                </c:pt>
                <c:pt idx="2">
                  <c:v>0.40593478363737284</c:v>
                </c:pt>
                <c:pt idx="3">
                  <c:v>0.41600368560962064</c:v>
                </c:pt>
                <c:pt idx="4">
                  <c:v>0.425736957516127</c:v>
                </c:pt>
                <c:pt idx="5">
                  <c:v>0.43515110575356758</c:v>
                </c:pt>
                <c:pt idx="6">
                  <c:v>0.4442615717898003</c:v>
                </c:pt>
                <c:pt idx="7">
                  <c:v>0.45308281668202571</c:v>
                </c:pt>
                <c:pt idx="8">
                  <c:v>0.46162839767136898</c:v>
                </c:pt>
                <c:pt idx="9">
                  <c:v>0.46991103770719422</c:v>
                </c:pt>
                <c:pt idx="10">
                  <c:v>0.47794268865102452</c:v>
                </c:pt>
                <c:pt idx="11">
                  <c:v>0.48573458882041237</c:v>
                </c:pt>
                <c:pt idx="12">
                  <c:v>0.49329731545540623</c:v>
                </c:pt>
                <c:pt idx="13">
                  <c:v>0.50064083262271919</c:v>
                </c:pt>
                <c:pt idx="14">
                  <c:v>0.5077745350138233</c:v>
                </c:pt>
                <c:pt idx="15">
                  <c:v>0.51470728804179755</c:v>
                </c:pt>
                <c:pt idx="16">
                  <c:v>0.5214474645967726</c:v>
                </c:pt>
                <c:pt idx="17">
                  <c:v>0.52800297878037838</c:v>
                </c:pt>
                <c:pt idx="18">
                  <c:v>0.53438131690496782</c:v>
                </c:pt>
                <c:pt idx="19">
                  <c:v>0.54058956601290153</c:v>
                </c:pt>
                <c:pt idx="20">
                  <c:v>0.54663444014431073</c:v>
                </c:pt>
                <c:pt idx="21">
                  <c:v>0.55252230455802098</c:v>
                </c:pt>
                <c:pt idx="22">
                  <c:v>0.55825919808932845</c:v>
                </c:pt>
                <c:pt idx="23">
                  <c:v>0.56385085380971678</c:v>
                </c:pt>
                <c:pt idx="24">
                  <c:v>0.56930271813709532</c:v>
                </c:pt>
                <c:pt idx="25">
                  <c:v>0.57461996853046449</c:v>
                </c:pt>
                <c:pt idx="26">
                  <c:v>0.57980752988984896</c:v>
                </c:pt>
                <c:pt idx="27">
                  <c:v>0.5848700897706941</c:v>
                </c:pt>
                <c:pt idx="28">
                  <c:v>0.58981211251151933</c:v>
                </c:pt>
                <c:pt idx="29">
                  <c:v>0.594637852364324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7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Prosecco Carlo V Cuvée Del Imperator 750ml (5.4%)</c:v>
                </c:pt>
                <c:pt idx="7">
                  <c:v>Champagne Georges Vesselle Grand Cru Brut 750ml (1.0%)</c:v>
                </c:pt>
                <c:pt idx="8">
                  <c:v>Crémant de Bourgogne Patriarche Brut 750ml (1.8%)</c:v>
                </c:pt>
                <c:pt idx="9">
                  <c:v>Champagne Laurent-Perrier Blanc La Cuvée 750ml (2.7%)</c:v>
                </c:pt>
              </c:strCache>
            </c:strRef>
          </c:cat>
          <c:val>
            <c:numRef>
              <c:f>Sheet1!$B$2:$B$11</c:f>
              <c:numCache>
                <c:formatCode>General</c:formatCode>
                <c:ptCount val="10"/>
                <c:pt idx="0">
                  <c:v>0.21954890721375211</c:v>
                </c:pt>
                <c:pt idx="1">
                  <c:v>0.10711506575480104</c:v>
                </c:pt>
                <c:pt idx="2">
                  <c:v>5.6686136538159813E-2</c:v>
                </c:pt>
                <c:pt idx="3">
                  <c:v>3.8398030091746048E-2</c:v>
                </c:pt>
                <c:pt idx="4">
                  <c:v>3.1311536085133283E-2</c:v>
                </c:pt>
                <c:pt idx="5">
                  <c:v>3.1077095977913229E-2</c:v>
                </c:pt>
                <c:pt idx="6">
                  <c:v>2.7620528804744277E-2</c:v>
                </c:pt>
                <c:pt idx="7">
                  <c:v>2.3683226337330804E-2</c:v>
                </c:pt>
                <c:pt idx="8">
                  <c:v>2.1956261138920744E-2</c:v>
                </c:pt>
                <c:pt idx="9">
                  <c:v>1.81768757248200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Besserat de Bellefon Bleu Brut 750ml (1.7%)</c:v>
                </c:pt>
                <c:pt idx="5">
                  <c:v>Champagne Nicolas Feuillatte Réserve Exclusive Brut 750ml (3.0%)</c:v>
                </c:pt>
                <c:pt idx="6">
                  <c:v>Champagne Georges Vesselle Grand Cru Brut 750ml (1.0%)</c:v>
                </c:pt>
                <c:pt idx="7">
                  <c:v>Champagne Laurent-Perrier Blanc La Cuvée 750ml (2.7%)</c:v>
                </c:pt>
                <c:pt idx="8">
                  <c:v>Champagne Vranken Demoiselle Tête de Cuvée 750ml (1.4%)</c:v>
                </c:pt>
                <c:pt idx="9">
                  <c:v>Champagne De Saint-Gall Tradition 1er Cru 750ml (0.8%)</c:v>
                </c:pt>
              </c:strCache>
            </c:strRef>
          </c:cat>
          <c:val>
            <c:numRef>
              <c:f>Sheet1!$B$2:$B$11</c:f>
              <c:numCache>
                <c:formatCode>General</c:formatCode>
                <c:ptCount val="10"/>
                <c:pt idx="0">
                  <c:v>0.13955431690021047</c:v>
                </c:pt>
                <c:pt idx="1">
                  <c:v>9.6725231140552245E-2</c:v>
                </c:pt>
                <c:pt idx="2">
                  <c:v>8.362904890956166E-2</c:v>
                </c:pt>
                <c:pt idx="3">
                  <c:v>5.2228328487947479E-2</c:v>
                </c:pt>
                <c:pt idx="4">
                  <c:v>4.6363888543070261E-2</c:v>
                </c:pt>
                <c:pt idx="5">
                  <c:v>4.5092180524836975E-2</c:v>
                </c:pt>
                <c:pt idx="6">
                  <c:v>2.6336771768437996E-2</c:v>
                </c:pt>
                <c:pt idx="7">
                  <c:v>2.2763767708489535E-2</c:v>
                </c:pt>
                <c:pt idx="8">
                  <c:v>2.1848641973514833E-2</c:v>
                </c:pt>
                <c:pt idx="9">
                  <c:v>1.99526343952373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Martin Brut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9.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0000000000003</c:v>
                </c:pt>
                <c:pt idx="3">
                  <c:v>34.950000000000003</c:v>
                </c:pt>
                <c:pt idx="4">
                  <c:v>39.950000000000003</c:v>
                </c:pt>
              </c:numCache>
            </c:numRef>
          </c:xVal>
          <c:yVal>
            <c:numRef>
              <c:f>Sheet1!$B$2:$B$6</c:f>
              <c:numCache>
                <c:formatCode>General</c:formatCode>
                <c:ptCount val="5"/>
                <c:pt idx="0">
                  <c:v>1.7526943707768674</c:v>
                </c:pt>
                <c:pt idx="1">
                  <c:v>0.82299780101956732</c:v>
                </c:pt>
                <c:pt idx="2">
                  <c:v>0</c:v>
                </c:pt>
                <c:pt idx="3">
                  <c:v>-0.32302259899129826</c:v>
                </c:pt>
                <c:pt idx="4">
                  <c:v>-0.7424979756641876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0000000000003"/>
          <c:min val="25.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B$2:$B$29</c:f>
              <c:numCache>
                <c:formatCode>General</c:formatCode>
                <c:ptCount val="28"/>
                <c:pt idx="0">
                  <c:v>255.78478802666811</c:v>
                </c:pt>
                <c:pt idx="1">
                  <c:v>242.5167392958476</c:v>
                </c:pt>
                <c:pt idx="2">
                  <c:v>230.10481638422405</c:v>
                </c:pt>
                <c:pt idx="3">
                  <c:v>218.48931383794192</c:v>
                </c:pt>
                <c:pt idx="4">
                  <c:v>207.61360765688264</c:v>
                </c:pt>
                <c:pt idx="5">
                  <c:v>197.42511724106268</c:v>
                </c:pt>
                <c:pt idx="6">
                  <c:v>187.87552684629296</c:v>
                </c:pt>
                <c:pt idx="7">
                  <c:v>178.92052687659802</c:v>
                </c:pt>
                <c:pt idx="8">
                  <c:v>164.55292511641028</c:v>
                </c:pt>
                <c:pt idx="9">
                  <c:v>148.97406061791088</c:v>
                </c:pt>
                <c:pt idx="10">
                  <c:v>134.81906687876474</c:v>
                </c:pt>
                <c:pt idx="11">
                  <c:v>122.00275283692702</c:v>
                </c:pt>
                <c:pt idx="12">
                  <c:v>110.42962378611563</c:v>
                </c:pt>
                <c:pt idx="13">
                  <c:v>100</c:v>
                </c:pt>
                <c:pt idx="14">
                  <c:v>90.615588956529407</c:v>
                </c:pt>
                <c:pt idx="15">
                  <c:v>82.18295159553179</c:v>
                </c:pt>
                <c:pt idx="16">
                  <c:v>74.614751735288309</c:v>
                </c:pt>
                <c:pt idx="17">
                  <c:v>67.829646323316865</c:v>
                </c:pt>
                <c:pt idx="18">
                  <c:v>61.411480536253158</c:v>
                </c:pt>
                <c:pt idx="19">
                  <c:v>55.469353926769053</c:v>
                </c:pt>
                <c:pt idx="20">
                  <c:v>50.104334778609285</c:v>
                </c:pt>
                <c:pt idx="21">
                  <c:v>45.280815023400514</c:v>
                </c:pt>
                <c:pt idx="22">
                  <c:v>40.964486420324597</c:v>
                </c:pt>
                <c:pt idx="23">
                  <c:v>37.120346055260583</c:v>
                </c:pt>
                <c:pt idx="24">
                  <c:v>33.711801669462453</c:v>
                </c:pt>
                <c:pt idx="25">
                  <c:v>30.700810688299384</c:v>
                </c:pt>
                <c:pt idx="26">
                  <c:v>28.04871019279306</c:v>
                </c:pt>
                <c:pt idx="27">
                  <c:v>25.7173167402849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C$2:$C$29</c:f>
              <c:numCache>
                <c:formatCode>General</c:formatCode>
                <c:ptCount val="28"/>
                <c:pt idx="0">
                  <c:v>205.29839003054173</c:v>
                </c:pt>
                <c:pt idx="1">
                  <c:v>198.31952048039827</c:v>
                </c:pt>
                <c:pt idx="2">
                  <c:v>191.65374042743881</c:v>
                </c:pt>
                <c:pt idx="3">
                  <c:v>185.2889263476219</c:v>
                </c:pt>
                <c:pt idx="4">
                  <c:v>179.21206074438751</c:v>
                </c:pt>
                <c:pt idx="5">
                  <c:v>173.41030056233154</c:v>
                </c:pt>
                <c:pt idx="6">
                  <c:v>167.87147314970619</c:v>
                </c:pt>
                <c:pt idx="7">
                  <c:v>162.5841576904574</c:v>
                </c:pt>
                <c:pt idx="8">
                  <c:v>152.02848912046272</c:v>
                </c:pt>
                <c:pt idx="9">
                  <c:v>139.90116740455591</c:v>
                </c:pt>
                <c:pt idx="10">
                  <c:v>128.65978218415381</c:v>
                </c:pt>
                <c:pt idx="11">
                  <c:v>118.2862815600739</c:v>
                </c:pt>
                <c:pt idx="12">
                  <c:v>108.74740672876212</c:v>
                </c:pt>
                <c:pt idx="13">
                  <c:v>100</c:v>
                </c:pt>
                <c:pt idx="14">
                  <c:v>91.996319173009326</c:v>
                </c:pt>
                <c:pt idx="15">
                  <c:v>84.687694973424598</c:v>
                </c:pt>
                <c:pt idx="16">
                  <c:v>78.026191709350059</c:v>
                </c:pt>
                <c:pt idx="17">
                  <c:v>71.964944080712954</c:v>
                </c:pt>
                <c:pt idx="18">
                  <c:v>66.091632823434054</c:v>
                </c:pt>
                <c:pt idx="19">
                  <c:v>60.542343773746929</c:v>
                </c:pt>
                <c:pt idx="20">
                  <c:v>55.450716660818401</c:v>
                </c:pt>
                <c:pt idx="21">
                  <c:v>50.803118125127476</c:v>
                </c:pt>
                <c:pt idx="22">
                  <c:v>46.585244645030308</c:v>
                </c:pt>
                <c:pt idx="23">
                  <c:v>42.77991887090932</c:v>
                </c:pt>
                <c:pt idx="24">
                  <c:v>39.365987913664895</c:v>
                </c:pt>
                <c:pt idx="25">
                  <c:v>36.318362769701508</c:v>
                </c:pt>
                <c:pt idx="26">
                  <c:v>33.608898739248424</c:v>
                </c:pt>
                <c:pt idx="27">
                  <c:v>31.2076798243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D$2:$D$29</c:f>
              <c:numCache>
                <c:formatCode>General</c:formatCode>
                <c:ptCount val="28"/>
                <c:pt idx="0">
                  <c:v>142.10869512014855</c:v>
                </c:pt>
                <c:pt idx="1">
                  <c:v>143.02797430015067</c:v>
                </c:pt>
                <c:pt idx="2">
                  <c:v>143.57426569966896</c:v>
                </c:pt>
                <c:pt idx="3">
                  <c:v>143.79607801702304</c:v>
                </c:pt>
                <c:pt idx="4">
                  <c:v>143.73588890005391</c:v>
                </c:pt>
                <c:pt idx="5">
                  <c:v>143.43137052630323</c:v>
                </c:pt>
                <c:pt idx="6">
                  <c:v>142.91624920636826</c:v>
                </c:pt>
                <c:pt idx="7">
                  <c:v>142.22082873820048</c:v>
                </c:pt>
                <c:pt idx="8">
                  <c:v>136.42571325226734</c:v>
                </c:pt>
                <c:pt idx="9">
                  <c:v>128.60262103494458</c:v>
                </c:pt>
                <c:pt idx="10">
                  <c:v>120.99220434900133</c:v>
                </c:pt>
                <c:pt idx="11">
                  <c:v>113.66112712683938</c:v>
                </c:pt>
                <c:pt idx="12">
                  <c:v>106.65445245797021</c:v>
                </c:pt>
                <c:pt idx="13">
                  <c:v>100</c:v>
                </c:pt>
                <c:pt idx="14">
                  <c:v>93.713393346176431</c:v>
                </c:pt>
                <c:pt idx="15">
                  <c:v>87.802000395819803</c:v>
                </c:pt>
                <c:pt idx="16">
                  <c:v>82.267140516943314</c:v>
                </c:pt>
                <c:pt idx="17">
                  <c:v>77.105002961097185</c:v>
                </c:pt>
                <c:pt idx="18">
                  <c:v>71.908612220250319</c:v>
                </c:pt>
                <c:pt idx="19">
                  <c:v>66.847078889810234</c:v>
                </c:pt>
                <c:pt idx="20">
                  <c:v>62.094479190117433</c:v>
                </c:pt>
                <c:pt idx="21">
                  <c:v>57.664653977519386</c:v>
                </c:pt>
                <c:pt idx="22">
                  <c:v>53.56827464069984</c:v>
                </c:pt>
                <c:pt idx="23">
                  <c:v>49.810388936333574</c:v>
                </c:pt>
                <c:pt idx="24">
                  <c:v>46.389071136765494</c:v>
                </c:pt>
                <c:pt idx="25">
                  <c:v>43.295346424735861</c:v>
                </c:pt>
                <c:pt idx="26">
                  <c:v>40.514141817489815</c:v>
                </c:pt>
                <c:pt idx="27">
                  <c:v>38.0258063332515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E$2:$E$29</c:f>
              <c:numCache>
                <c:formatCode>General</c:formatCode>
                <c:ptCount val="28"/>
                <c:pt idx="0">
                  <c:v>0.30896488390102578</c:v>
                </c:pt>
                <c:pt idx="1">
                  <c:v>0.32185733009690226</c:v>
                </c:pt>
                <c:pt idx="2">
                  <c:v>0.33427752551637296</c:v>
                </c:pt>
                <c:pt idx="3">
                  <c:v>0.34625095131643829</c:v>
                </c:pt>
                <c:pt idx="4">
                  <c:v>0.35780128786561793</c:v>
                </c:pt>
                <c:pt idx="5">
                  <c:v>0.36895057106239526</c:v>
                </c:pt>
                <c:pt idx="6">
                  <c:v>0.37971933264836122</c:v>
                </c:pt>
                <c:pt idx="7">
                  <c:v>0.39012672639587193</c:v>
                </c:pt>
                <c:pt idx="8">
                  <c:v>0.40019064180188063</c:v>
                </c:pt>
                <c:pt idx="9">
                  <c:v>0.40992780670769424</c:v>
                </c:pt>
                <c:pt idx="10">
                  <c:v>0.41935388008297064</c:v>
                </c:pt>
                <c:pt idx="11">
                  <c:v>0.4284835360565088</c:v>
                </c:pt>
                <c:pt idx="12">
                  <c:v>0.43733054014232142</c:v>
                </c:pt>
                <c:pt idx="13">
                  <c:v>0.44590781849381039</c:v>
                </c:pt>
                <c:pt idx="14">
                  <c:v>0.45422752091882829</c:v>
                </c:pt>
                <c:pt idx="15">
                  <c:v>0.46230107830168593</c:v>
                </c:pt>
                <c:pt idx="16">
                  <c:v>0.47013925500282761</c:v>
                </c:pt>
                <c:pt idx="17">
                  <c:v>0.47775219674129271</c:v>
                </c:pt>
                <c:pt idx="18">
                  <c:v>0.48514947440784661</c:v>
                </c:pt>
                <c:pt idx="19">
                  <c:v>0.4923401242066196</c:v>
                </c:pt>
                <c:pt idx="20">
                  <c:v>0.49933268447925577</c:v>
                </c:pt>
                <c:pt idx="21">
                  <c:v>0.506135229527092</c:v>
                </c:pt>
                <c:pt idx="22">
                  <c:v>0.51275540071305581</c:v>
                </c:pt>
                <c:pt idx="23">
                  <c:v>0.51920043509515823</c:v>
                </c:pt>
                <c:pt idx="24">
                  <c:v>0.52547719181715358</c:v>
                </c:pt>
                <c:pt idx="25">
                  <c:v>0.53159217645868517</c:v>
                </c:pt>
                <c:pt idx="26">
                  <c:v>0.5375515635266408</c:v>
                </c:pt>
                <c:pt idx="27">
                  <c:v>0.543361217251180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10"/>
          <c:min val="2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Georges Vesselle Grand Cru Brut 750ml (1.0%)</c:v>
                </c:pt>
                <c:pt idx="4">
                  <c:v>Champagne Heidsieck Monopole Silver Top 750ml (4.2%)</c:v>
                </c:pt>
                <c:pt idx="5">
                  <c:v>Crémant de Bourgogne Patriarche Brut 750ml (1.8%)</c:v>
                </c:pt>
                <c:pt idx="6">
                  <c:v>Champagne Besserat de Bellefon Bleu Brut 750ml (1.7%)</c:v>
                </c:pt>
                <c:pt idx="7">
                  <c:v>Champagne E.Nicolas Rosé 750ml (0.9%)</c:v>
                </c:pt>
                <c:pt idx="8">
                  <c:v>Prosecco Carlo V Cuvée Del Imperator 750ml (5.4%)</c:v>
                </c:pt>
                <c:pt idx="9">
                  <c:v>Mousseux Château Moncontour Brut Vouvray 750ml (1.5%)</c:v>
                </c:pt>
              </c:strCache>
            </c:strRef>
          </c:cat>
          <c:val>
            <c:numRef>
              <c:f>Sheet1!$B$2:$B$11</c:f>
              <c:numCache>
                <c:formatCode>General</c:formatCode>
                <c:ptCount val="10"/>
                <c:pt idx="0">
                  <c:v>0.31726714916399312</c:v>
                </c:pt>
                <c:pt idx="1">
                  <c:v>0.23588537846632698</c:v>
                </c:pt>
                <c:pt idx="2">
                  <c:v>5.0858250516962397E-2</c:v>
                </c:pt>
                <c:pt idx="3">
                  <c:v>4.4687344560238478E-2</c:v>
                </c:pt>
                <c:pt idx="4">
                  <c:v>4.4407520197443186E-2</c:v>
                </c:pt>
                <c:pt idx="5">
                  <c:v>1.9819555484792181E-2</c:v>
                </c:pt>
                <c:pt idx="6">
                  <c:v>1.9494696320002287E-2</c:v>
                </c:pt>
                <c:pt idx="7">
                  <c:v>1.5422789763201853E-2</c:v>
                </c:pt>
                <c:pt idx="8">
                  <c:v>1.5339318534331549E-2</c:v>
                </c:pt>
                <c:pt idx="9">
                  <c:v>1.525311190223593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Nicolas Feuillatte Réserve Exclusive Brut 750ml (3.0%)</c:v>
                </c:pt>
                <c:pt idx="3">
                  <c:v>Champagne Heidsieck Monopole Silver Top 750ml (4.2%)</c:v>
                </c:pt>
                <c:pt idx="4">
                  <c:v>Champagne Georges Vesselle Grand Cru Brut 750ml (1.0%)</c:v>
                </c:pt>
                <c:pt idx="5">
                  <c:v>Champagne Besserat de Bellefon Bleu Brut 750ml (1.7%)</c:v>
                </c:pt>
                <c:pt idx="6">
                  <c:v>Champagne Christophe Lefèvre Cuvée Prestige 750ml (0.4%)</c:v>
                </c:pt>
                <c:pt idx="7">
                  <c:v>Champagne Canard-Duchêne Blanc Cuvée Léonie Brut 750ml (2.6%)</c:v>
                </c:pt>
                <c:pt idx="8">
                  <c:v>Champagne Château de Bligny 750ml (1.3%)</c:v>
                </c:pt>
                <c:pt idx="9">
                  <c:v>Champagne Malard Grand Cru Blanc de Noirs 750ml (0.5%)</c:v>
                </c:pt>
              </c:strCache>
            </c:strRef>
          </c:cat>
          <c:val>
            <c:numRef>
              <c:f>Sheet1!$B$2:$B$11</c:f>
              <c:numCache>
                <c:formatCode>General</c:formatCode>
                <c:ptCount val="10"/>
                <c:pt idx="0">
                  <c:v>0.2813664819325849</c:v>
                </c:pt>
                <c:pt idx="1">
                  <c:v>0.20977185313358293</c:v>
                </c:pt>
                <c:pt idx="2">
                  <c:v>6.8344120083624921E-2</c:v>
                </c:pt>
                <c:pt idx="3">
                  <c:v>6.1326161403715884E-2</c:v>
                </c:pt>
                <c:pt idx="4">
                  <c:v>5.8194441692205189E-2</c:v>
                </c:pt>
                <c:pt idx="5">
                  <c:v>3.3189270670242139E-2</c:v>
                </c:pt>
                <c:pt idx="6">
                  <c:v>2.2714682212352708E-2</c:v>
                </c:pt>
                <c:pt idx="7">
                  <c:v>1.8506069134238641E-2</c:v>
                </c:pt>
                <c:pt idx="8">
                  <c:v>1.7778606449191017E-2</c:v>
                </c:pt>
                <c:pt idx="9">
                  <c:v>1.6944189536406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 (3.7%)</c:v>
                </c:pt>
                <c:pt idx="1">
                  <c:v>Carlo V (5.4%)</c:v>
                </c:pt>
                <c:pt idx="2">
                  <c:v>Nicolas (14.4%)</c:v>
                </c:pt>
                <c:pt idx="3">
                  <c:v>Patriarche (2.6%)</c:v>
                </c:pt>
                <c:pt idx="4">
                  <c:v>Savian (2.1%)</c:v>
                </c:pt>
                <c:pt idx="5">
                  <c:v>Muré (1.3%)</c:v>
                </c:pt>
                <c:pt idx="6">
                  <c:v>Nicolas Feuillatte (4.5%)</c:v>
                </c:pt>
                <c:pt idx="7">
                  <c:v>Malard (6.0%)</c:v>
                </c:pt>
                <c:pt idx="8">
                  <c:v>Ruinart (12.8%)</c:v>
                </c:pt>
                <c:pt idx="9">
                  <c:v>Heidsieck &amp; C° Monopole (4.2%)</c:v>
                </c:pt>
              </c:strCache>
            </c:strRef>
          </c:cat>
          <c:val>
            <c:numRef>
              <c:f>Sheet1!$B$2:$B$11</c:f>
              <c:numCache>
                <c:formatCode>General</c:formatCode>
                <c:ptCount val="10"/>
                <c:pt idx="0">
                  <c:v>0.1724194963578255</c:v>
                </c:pt>
                <c:pt idx="1">
                  <c:v>0.14907583425823351</c:v>
                </c:pt>
                <c:pt idx="2">
                  <c:v>0.10563797957894584</c:v>
                </c:pt>
                <c:pt idx="3">
                  <c:v>4.7989694340557505E-2</c:v>
                </c:pt>
                <c:pt idx="4">
                  <c:v>4.5729879664096758E-2</c:v>
                </c:pt>
                <c:pt idx="5">
                  <c:v>4.2177358803104782E-2</c:v>
                </c:pt>
                <c:pt idx="6">
                  <c:v>3.7607971257719607E-2</c:v>
                </c:pt>
                <c:pt idx="7">
                  <c:v>3.6341268290049439E-2</c:v>
                </c:pt>
                <c:pt idx="8">
                  <c:v>3.4512108599994804E-2</c:v>
                </c:pt>
                <c:pt idx="9">
                  <c:v>2.916925418566778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0000000000003</c:v>
                </c:pt>
                <c:pt idx="3">
                  <c:v>39.950000000000003</c:v>
                </c:pt>
                <c:pt idx="4">
                  <c:v>42.95</c:v>
                </c:pt>
              </c:numCache>
            </c:numRef>
          </c:xVal>
          <c:yVal>
            <c:numRef>
              <c:f>Sheet1!$B$2:$B$6</c:f>
              <c:numCache>
                <c:formatCode>General</c:formatCode>
                <c:ptCount val="5"/>
                <c:pt idx="0">
                  <c:v>0.56061252615423862</c:v>
                </c:pt>
                <c:pt idx="1">
                  <c:v>0.17996051536748212</c:v>
                </c:pt>
                <c:pt idx="2">
                  <c:v>0</c:v>
                </c:pt>
                <c:pt idx="3">
                  <c:v>-0.27298957404779411</c:v>
                </c:pt>
                <c:pt idx="4">
                  <c:v>-0.4425805346187953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4.95</c:v>
                </c:pt>
                <c:pt idx="1">
                  <c:v>49.95</c:v>
                </c:pt>
                <c:pt idx="2">
                  <c:v>54.95</c:v>
                </c:pt>
                <c:pt idx="3">
                  <c:v>59</c:v>
                </c:pt>
                <c:pt idx="4">
                  <c:v>65</c:v>
                </c:pt>
              </c:numCache>
            </c:numRef>
          </c:xVal>
          <c:yVal>
            <c:numRef>
              <c:f>Sheet1!$B$9:$B$13</c:f>
              <c:numCache>
                <c:formatCode>General</c:formatCode>
                <c:ptCount val="5"/>
                <c:pt idx="0">
                  <c:v>0.34164128610714312</c:v>
                </c:pt>
                <c:pt idx="1">
                  <c:v>0.20811948586722293</c:v>
                </c:pt>
                <c:pt idx="2">
                  <c:v>0</c:v>
                </c:pt>
                <c:pt idx="3">
                  <c:v>-9.2204194445561979E-2</c:v>
                </c:pt>
                <c:pt idx="4">
                  <c:v>-0.267851255336127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7.95</c:v>
                </c:pt>
                <c:pt idx="1">
                  <c:v>54.95</c:v>
                </c:pt>
                <c:pt idx="2">
                  <c:v>59</c:v>
                </c:pt>
                <c:pt idx="3">
                  <c:v>65</c:v>
                </c:pt>
                <c:pt idx="4">
                  <c:v>69</c:v>
                </c:pt>
              </c:numCache>
            </c:numRef>
          </c:xVal>
          <c:yVal>
            <c:numRef>
              <c:f>Sheet1!$B$16:$B$20</c:f>
              <c:numCache>
                <c:formatCode>General</c:formatCode>
                <c:ptCount val="5"/>
                <c:pt idx="0">
                  <c:v>0.58142925577004811</c:v>
                </c:pt>
                <c:pt idx="1">
                  <c:v>0.16318499212579179</c:v>
                </c:pt>
                <c:pt idx="2">
                  <c:v>0</c:v>
                </c:pt>
                <c:pt idx="3">
                  <c:v>-0.25822640352601323</c:v>
                </c:pt>
                <c:pt idx="4">
                  <c:v>-0.3742505774893087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
          <c:min val="2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151.97313890952026</c:v>
                </c:pt>
                <c:pt idx="1">
                  <c:v>146.10868246458458</c:v>
                </c:pt>
                <c:pt idx="2">
                  <c:v>140.58248931998526</c:v>
                </c:pt>
                <c:pt idx="3">
                  <c:v>135.36635445762758</c:v>
                </c:pt>
                <c:pt idx="4">
                  <c:v>130.47731022583974</c:v>
                </c:pt>
                <c:pt idx="5">
                  <c:v>126.24060049771366</c:v>
                </c:pt>
                <c:pt idx="6">
                  <c:v>122.26233174413899</c:v>
                </c:pt>
                <c:pt idx="7">
                  <c:v>118.51893851947057</c:v>
                </c:pt>
                <c:pt idx="8">
                  <c:v>114.98991084247541</c:v>
                </c:pt>
                <c:pt idx="9">
                  <c:v>111.65728893537903</c:v>
                </c:pt>
                <c:pt idx="10">
                  <c:v>108.50525362776366</c:v>
                </c:pt>
                <c:pt idx="11">
                  <c:v>105.51979305892949</c:v>
                </c:pt>
                <c:pt idx="12">
                  <c:v>102.6884303361151</c:v>
                </c:pt>
                <c:pt idx="13">
                  <c:v>100</c:v>
                </c:pt>
                <c:pt idx="14">
                  <c:v>97.301181186925547</c:v>
                </c:pt>
                <c:pt idx="15">
                  <c:v>93.54972430269251</c:v>
                </c:pt>
                <c:pt idx="16">
                  <c:v>90.106471925362072</c:v>
                </c:pt>
                <c:pt idx="17">
                  <c:v>86.944993205784698</c:v>
                </c:pt>
                <c:pt idx="18">
                  <c:v>84.039650281548788</c:v>
                </c:pt>
                <c:pt idx="19">
                  <c:v>81.366116862911298</c:v>
                </c:pt>
                <c:pt idx="20">
                  <c:v>78.901700214056234</c:v>
                </c:pt>
                <c:pt idx="21">
                  <c:v>76.6254989106274</c:v>
                </c:pt>
                <c:pt idx="22">
                  <c:v>74.518439086625193</c:v>
                </c:pt>
                <c:pt idx="23">
                  <c:v>72.563230391894379</c:v>
                </c:pt>
                <c:pt idx="24">
                  <c:v>70.556005521583657</c:v>
                </c:pt>
                <c:pt idx="25">
                  <c:v>67.114255289650032</c:v>
                </c:pt>
                <c:pt idx="26">
                  <c:v>64.00636582901538</c:v>
                </c:pt>
                <c:pt idx="27">
                  <c:v>61.188457406414457</c:v>
                </c:pt>
                <c:pt idx="28">
                  <c:v>58.623086690696738</c:v>
                </c:pt>
                <c:pt idx="29">
                  <c:v>56.2783007146567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23.35488651625145</c:v>
                </c:pt>
                <c:pt idx="1">
                  <c:v>120.71079519693524</c:v>
                </c:pt>
                <c:pt idx="2">
                  <c:v>118.18135257074192</c:v>
                </c:pt>
                <c:pt idx="3">
                  <c:v>115.75711911125441</c:v>
                </c:pt>
                <c:pt idx="4">
                  <c:v>113.46636183705756</c:v>
                </c:pt>
                <c:pt idx="5">
                  <c:v>111.61074690285815</c:v>
                </c:pt>
                <c:pt idx="6">
                  <c:v>109.8646109225901</c:v>
                </c:pt>
                <c:pt idx="7">
                  <c:v>108.21767386828482</c:v>
                </c:pt>
                <c:pt idx="8">
                  <c:v>106.6611223939355</c:v>
                </c:pt>
                <c:pt idx="9">
                  <c:v>105.18735566290454</c:v>
                </c:pt>
                <c:pt idx="10">
                  <c:v>103.789778653063</c:v>
                </c:pt>
                <c:pt idx="11">
                  <c:v>102.46263385996004</c:v>
                </c:pt>
                <c:pt idx="12">
                  <c:v>101.20086403407819</c:v>
                </c:pt>
                <c:pt idx="13">
                  <c:v>100</c:v>
                </c:pt>
                <c:pt idx="14">
                  <c:v>98.711033096372475</c:v>
                </c:pt>
                <c:pt idx="15">
                  <c:v>96.263385804172643</c:v>
                </c:pt>
                <c:pt idx="16">
                  <c:v>94.02821547886208</c:v>
                </c:pt>
                <c:pt idx="17">
                  <c:v>91.99100260036947</c:v>
                </c:pt>
                <c:pt idx="18">
                  <c:v>90.136544304832938</c:v>
                </c:pt>
                <c:pt idx="19">
                  <c:v>88.449574274210761</c:v>
                </c:pt>
                <c:pt idx="20">
                  <c:v>86.915211752208933</c:v>
                </c:pt>
                <c:pt idx="21">
                  <c:v>85.519255731744025</c:v>
                </c:pt>
                <c:pt idx="22">
                  <c:v>84.248355795380618</c:v>
                </c:pt>
                <c:pt idx="23">
                  <c:v>83.090094356976024</c:v>
                </c:pt>
                <c:pt idx="24">
                  <c:v>81.815124150362678</c:v>
                </c:pt>
                <c:pt idx="25">
                  <c:v>78.80105073713689</c:v>
                </c:pt>
                <c:pt idx="26">
                  <c:v>76.083297096032965</c:v>
                </c:pt>
                <c:pt idx="27">
                  <c:v>73.623729316389941</c:v>
                </c:pt>
                <c:pt idx="28">
                  <c:v>71.389477484336865</c:v>
                </c:pt>
                <c:pt idx="29">
                  <c:v>69.352242769971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82.073780054161432</c:v>
                </c:pt>
                <c:pt idx="1">
                  <c:v>84.076040679687836</c:v>
                </c:pt>
                <c:pt idx="2">
                  <c:v>85.869943839428885</c:v>
                </c:pt>
                <c:pt idx="3">
                  <c:v>87.473167264407166</c:v>
                </c:pt>
                <c:pt idx="4">
                  <c:v>88.930229776369046</c:v>
                </c:pt>
                <c:pt idx="5">
                  <c:v>90.509034938479616</c:v>
                </c:pt>
                <c:pt idx="6">
                  <c:v>91.982481665778579</c:v>
                </c:pt>
                <c:pt idx="7">
                  <c:v>93.359438297139192</c:v>
                </c:pt>
                <c:pt idx="8">
                  <c:v>94.64795309612019</c:v>
                </c:pt>
                <c:pt idx="9">
                  <c:v>95.855361013493493</c:v>
                </c:pt>
                <c:pt idx="10">
                  <c:v>96.988368702560905</c:v>
                </c:pt>
                <c:pt idx="11">
                  <c:v>98.053123483893941</c:v>
                </c:pt>
                <c:pt idx="12">
                  <c:v>99.055270356021907</c:v>
                </c:pt>
                <c:pt idx="13">
                  <c:v>100</c:v>
                </c:pt>
                <c:pt idx="14">
                  <c:v>100.74373801973553</c:v>
                </c:pt>
                <c:pt idx="15">
                  <c:v>100.16938171439513</c:v>
                </c:pt>
                <c:pt idx="16">
                  <c:v>99.670486878411936</c:v>
                </c:pt>
                <c:pt idx="17">
                  <c:v>99.249595340641989</c:v>
                </c:pt>
                <c:pt idx="18">
                  <c:v>98.906441659338597</c:v>
                </c:pt>
                <c:pt idx="19">
                  <c:v>98.638722075843944</c:v>
                </c:pt>
                <c:pt idx="20">
                  <c:v>98.442728258647719</c:v>
                </c:pt>
                <c:pt idx="21">
                  <c:v>98.313838692278594</c:v>
                </c:pt>
                <c:pt idx="22">
                  <c:v>98.246883352851796</c:v>
                </c:pt>
                <c:pt idx="23">
                  <c:v>98.236407382057067</c:v>
                </c:pt>
                <c:pt idx="24">
                  <c:v>98.015319122436622</c:v>
                </c:pt>
                <c:pt idx="25">
                  <c:v>95.608623227381031</c:v>
                </c:pt>
                <c:pt idx="26">
                  <c:v>93.445804707575348</c:v>
                </c:pt>
                <c:pt idx="27">
                  <c:v>91.496685465891034</c:v>
                </c:pt>
                <c:pt idx="28">
                  <c:v>89.734729712753222</c:v>
                </c:pt>
                <c:pt idx="29">
                  <c:v>88.1367010014086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7257534418467383</c:v>
                </c:pt>
                <c:pt idx="1">
                  <c:v>0.28533718025160931</c:v>
                </c:pt>
                <c:pt idx="2">
                  <c:v>0.29765895300589185</c:v>
                </c:pt>
                <c:pt idx="3">
                  <c:v>0.30956303854816491</c:v>
                </c:pt>
                <c:pt idx="4">
                  <c:v>0.32107032123902896</c:v>
                </c:pt>
                <c:pt idx="5">
                  <c:v>0.33220031597281524</c:v>
                </c:pt>
                <c:pt idx="6">
                  <c:v>0.34297127861841509</c:v>
                </c:pt>
                <c:pt idx="7">
                  <c:v>0.35340030594193222</c:v>
                </c:pt>
                <c:pt idx="8">
                  <c:v>0.36350342616158937</c:v>
                </c:pt>
                <c:pt idx="9">
                  <c:v>0.37329568114371897</c:v>
                </c:pt>
                <c:pt idx="10">
                  <c:v>0.38279120112638976</c:v>
                </c:pt>
                <c:pt idx="11">
                  <c:v>0.39200327275136904</c:v>
                </c:pt>
                <c:pt idx="12">
                  <c:v>0.40094440109326063</c:v>
                </c:pt>
                <c:pt idx="13">
                  <c:v>0.40962636629480764</c:v>
                </c:pt>
                <c:pt idx="14">
                  <c:v>0.41806027534773893</c:v>
                </c:pt>
                <c:pt idx="15">
                  <c:v>0.42625660949777078</c:v>
                </c:pt>
                <c:pt idx="16">
                  <c:v>0.43422526769919056</c:v>
                </c:pt>
                <c:pt idx="17">
                  <c:v>0.44197560649783196</c:v>
                </c:pt>
                <c:pt idx="18">
                  <c:v>0.44951647668029371</c:v>
                </c:pt>
                <c:pt idx="19">
                  <c:v>0.45685625699122301</c:v>
                </c:pt>
                <c:pt idx="20">
                  <c:v>0.46400288518870708</c:v>
                </c:pt>
                <c:pt idx="21">
                  <c:v>0.4709638866797628</c:v>
                </c:pt>
                <c:pt idx="22">
                  <c:v>0.47774640095309906</c:v>
                </c:pt>
                <c:pt idx="23">
                  <c:v>0.4843572060043258</c:v>
                </c:pt>
                <c:pt idx="24">
                  <c:v>0.49080274092927173</c:v>
                </c:pt>
                <c:pt idx="25">
                  <c:v>0.49708912684372508</c:v>
                </c:pt>
                <c:pt idx="26">
                  <c:v>0.50322218627246007</c:v>
                </c:pt>
                <c:pt idx="27">
                  <c:v>0.5092074611366475</c:v>
                </c:pt>
                <c:pt idx="28">
                  <c:v>0.51505022945644907</c:v>
                </c:pt>
                <c:pt idx="29">
                  <c:v>0.520755520874608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Ruinart Brut 750ml (7.3%)</c:v>
                </c:pt>
                <c:pt idx="4">
                  <c:v>Champagne Nicolas Feuillatte Réserve Exclusive Brut 750ml (3.0%)</c:v>
                </c:pt>
                <c:pt idx="5">
                  <c:v>Champagne Canard-Duchêne Blanc Cuvée Léonie Brut 750ml (2.6%)</c:v>
                </c:pt>
                <c:pt idx="6">
                  <c:v>Champagne Laurent-Perrier Blanc La Cuvée 750ml (2.7%)</c:v>
                </c:pt>
                <c:pt idx="7">
                  <c:v>Champagne Vranken Demoiselle Rosé Prestige 750ml (2.0%)</c:v>
                </c:pt>
                <c:pt idx="8">
                  <c:v>Champagne Vranken Demoiselle Tête de Cuvée 750ml (1.4%)</c:v>
                </c:pt>
                <c:pt idx="9">
                  <c:v>Prosecco Carlo V Cuvée Del Imperator 750ml (5.4%)</c:v>
                </c:pt>
              </c:strCache>
            </c:strRef>
          </c:cat>
          <c:val>
            <c:numRef>
              <c:f>Sheet1!$B$2:$B$11</c:f>
              <c:numCache>
                <c:formatCode>General</c:formatCode>
                <c:ptCount val="10"/>
                <c:pt idx="0">
                  <c:v>0.14942423575542771</c:v>
                </c:pt>
                <c:pt idx="1">
                  <c:v>8.3258399143088205E-2</c:v>
                </c:pt>
                <c:pt idx="2">
                  <c:v>6.0152424582068972E-2</c:v>
                </c:pt>
                <c:pt idx="3">
                  <c:v>4.2953813075781645E-2</c:v>
                </c:pt>
                <c:pt idx="4">
                  <c:v>3.387111909926762E-2</c:v>
                </c:pt>
                <c:pt idx="5">
                  <c:v>3.1522376589748283E-2</c:v>
                </c:pt>
                <c:pt idx="6">
                  <c:v>3.118013010490378E-2</c:v>
                </c:pt>
                <c:pt idx="7">
                  <c:v>2.9182686681648109E-2</c:v>
                </c:pt>
                <c:pt idx="8">
                  <c:v>2.9085075662790429E-2</c:v>
                </c:pt>
                <c:pt idx="9">
                  <c:v>2.84973516077270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Laurent-Perrier Blanc La Cuvée 750ml (2.7%)</c:v>
                </c:pt>
                <c:pt idx="5">
                  <c:v>Champagne Besserat de Bellefon Bleu Brut 750ml (1.7%)</c:v>
                </c:pt>
                <c:pt idx="6">
                  <c:v>Champagne Ruinart Brut 750ml (7.3%)</c:v>
                </c:pt>
                <c:pt idx="7">
                  <c:v>Champagne Ayala Brut Majeur 750ml (1.7%)</c:v>
                </c:pt>
                <c:pt idx="8">
                  <c:v>Champagne Vranken Demoiselle Tête de Cuvée 750ml (1.4%)</c:v>
                </c:pt>
                <c:pt idx="9">
                  <c:v>Champagne Château de Bligny 750ml (1.3%)</c:v>
                </c:pt>
              </c:strCache>
            </c:strRef>
          </c:cat>
          <c:val>
            <c:numRef>
              <c:f>Sheet1!$B$2:$B$11</c:f>
              <c:numCache>
                <c:formatCode>General</c:formatCode>
                <c:ptCount val="10"/>
                <c:pt idx="0">
                  <c:v>0.27187512654457285</c:v>
                </c:pt>
                <c:pt idx="1">
                  <c:v>4.8324822628548959E-2</c:v>
                </c:pt>
                <c:pt idx="2">
                  <c:v>4.6933354129509164E-2</c:v>
                </c:pt>
                <c:pt idx="3">
                  <c:v>3.7668910734048745E-2</c:v>
                </c:pt>
                <c:pt idx="4">
                  <c:v>3.6079674107786355E-2</c:v>
                </c:pt>
                <c:pt idx="5">
                  <c:v>3.5355985211169415E-2</c:v>
                </c:pt>
                <c:pt idx="6">
                  <c:v>3.3328199327550559E-2</c:v>
                </c:pt>
                <c:pt idx="7">
                  <c:v>3.0173610086455315E-2</c:v>
                </c:pt>
                <c:pt idx="8">
                  <c:v>2.7928263158454269E-2</c:v>
                </c:pt>
                <c:pt idx="9">
                  <c:v>2.690446008357328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37.58429392227262</c:v>
                </c:pt>
                <c:pt idx="1">
                  <c:v>135.98136824822987</c:v>
                </c:pt>
                <c:pt idx="2">
                  <c:v>134.43791236485336</c:v>
                </c:pt>
                <c:pt idx="3">
                  <c:v>132.95048045473803</c:v>
                </c:pt>
                <c:pt idx="4">
                  <c:v>131.51588372115515</c:v>
                </c:pt>
                <c:pt idx="5">
                  <c:v>130.13116714867087</c:v>
                </c:pt>
                <c:pt idx="6">
                  <c:v>128.79358911860103</c:v>
                </c:pt>
                <c:pt idx="7">
                  <c:v>127.50060340753701</c:v>
                </c:pt>
                <c:pt idx="8">
                  <c:v>126.24984313082186</c:v>
                </c:pt>
                <c:pt idx="9">
                  <c:v>125.03910626573997</c:v>
                </c:pt>
                <c:pt idx="10">
                  <c:v>123.72560057117458</c:v>
                </c:pt>
                <c:pt idx="11">
                  <c:v>121.2141845477969</c:v>
                </c:pt>
                <c:pt idx="12">
                  <c:v>118.79388241457501</c:v>
                </c:pt>
                <c:pt idx="13">
                  <c:v>116.46016240156771</c:v>
                </c:pt>
                <c:pt idx="14">
                  <c:v>114.20980156464984</c:v>
                </c:pt>
                <c:pt idx="15">
                  <c:v>112.04076185631348</c:v>
                </c:pt>
                <c:pt idx="16">
                  <c:v>109.95185490655214</c:v>
                </c:pt>
                <c:pt idx="17">
                  <c:v>107.94226150303865</c:v>
                </c:pt>
                <c:pt idx="18">
                  <c:v>106.01102959585982</c:v>
                </c:pt>
                <c:pt idx="19">
                  <c:v>104.15668260297259</c:v>
                </c:pt>
                <c:pt idx="20">
                  <c:v>102.42868097413952</c:v>
                </c:pt>
                <c:pt idx="21">
                  <c:v>101.20679464755816</c:v>
                </c:pt>
                <c:pt idx="22">
                  <c:v>100</c:v>
                </c:pt>
                <c:pt idx="23">
                  <c:v>98.808154063770175</c:v>
                </c:pt>
                <c:pt idx="24">
                  <c:v>97.631105124249203</c:v>
                </c:pt>
                <c:pt idx="25">
                  <c:v>96.468719969739055</c:v>
                </c:pt>
                <c:pt idx="26">
                  <c:v>95.320904921505289</c:v>
                </c:pt>
                <c:pt idx="27">
                  <c:v>94.187619538986567</c:v>
                </c:pt>
                <c:pt idx="28">
                  <c:v>93.068882810489129</c:v>
                </c:pt>
                <c:pt idx="29">
                  <c:v>91.384291330278216</c:v>
                </c:pt>
                <c:pt idx="30">
                  <c:v>89.734273258946345</c:v>
                </c:pt>
                <c:pt idx="31">
                  <c:v>88.11813107806806</c:v>
                </c:pt>
                <c:pt idx="32">
                  <c:v>86.535213941030278</c:v>
                </c:pt>
                <c:pt idx="33">
                  <c:v>84.984917724758176</c:v>
                </c:pt>
                <c:pt idx="34">
                  <c:v>83.466682655765666</c:v>
                </c:pt>
                <c:pt idx="35">
                  <c:v>81.979988975418635</c:v>
                </c:pt>
                <c:pt idx="36">
                  <c:v>80.524351156248102</c:v>
                </c:pt>
                <c:pt idx="37">
                  <c:v>79.099311188447487</c:v>
                </c:pt>
                <c:pt idx="38">
                  <c:v>77.704431428794607</c:v>
                </c:pt>
                <c:pt idx="39">
                  <c:v>76.339287450215537</c:v>
                </c:pt>
                <c:pt idx="40">
                  <c:v>75.0034612571904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12.84619432135095</c:v>
                </c:pt>
                <c:pt idx="1">
                  <c:v>112.63797038392521</c:v>
                </c:pt>
                <c:pt idx="2">
                  <c:v>112.45271854668555</c:v>
                </c:pt>
                <c:pt idx="3">
                  <c:v>112.28898227764492</c:v>
                </c:pt>
                <c:pt idx="4">
                  <c:v>112.14541315086875</c:v>
                </c:pt>
                <c:pt idx="5">
                  <c:v>112.02076116673254</c:v>
                </c:pt>
                <c:pt idx="6">
                  <c:v>111.91386640492205</c:v>
                </c:pt>
                <c:pt idx="7">
                  <c:v>111.82365176716192</c:v>
                </c:pt>
                <c:pt idx="8">
                  <c:v>111.7491165668081</c:v>
                </c:pt>
                <c:pt idx="9">
                  <c:v>111.68933075776042</c:v>
                </c:pt>
                <c:pt idx="10">
                  <c:v>111.51794710379639</c:v>
                </c:pt>
                <c:pt idx="11">
                  <c:v>110.24846630906806</c:v>
                </c:pt>
                <c:pt idx="12">
                  <c:v>109.02285052948473</c:v>
                </c:pt>
                <c:pt idx="13">
                  <c:v>107.83899489690538</c:v>
                </c:pt>
                <c:pt idx="14">
                  <c:v>106.69586396691938</c:v>
                </c:pt>
                <c:pt idx="15">
                  <c:v>105.5934244080283</c:v>
                </c:pt>
                <c:pt idx="16">
                  <c:v>104.53237593530733</c:v>
                </c:pt>
                <c:pt idx="17">
                  <c:v>103.51373151136967</c:v>
                </c:pt>
                <c:pt idx="18">
                  <c:v>102.53835630741723</c:v>
                </c:pt>
                <c:pt idx="19">
                  <c:v>101.60658971682395</c:v>
                </c:pt>
                <c:pt idx="20">
                  <c:v>100.76706857315938</c:v>
                </c:pt>
                <c:pt idx="21">
                  <c:v>100.38562728611129</c:v>
                </c:pt>
                <c:pt idx="22">
                  <c:v>100</c:v>
                </c:pt>
                <c:pt idx="23">
                  <c:v>99.610390445597176</c:v>
                </c:pt>
                <c:pt idx="24">
                  <c:v>99.216991245173318</c:v>
                </c:pt>
                <c:pt idx="25">
                  <c:v>98.82001088510934</c:v>
                </c:pt>
                <c:pt idx="26">
                  <c:v>98.419695536311096</c:v>
                </c:pt>
                <c:pt idx="27">
                  <c:v>98.016344298284821</c:v>
                </c:pt>
                <c:pt idx="28">
                  <c:v>97.61031731170965</c:v>
                </c:pt>
                <c:pt idx="29">
                  <c:v>96.601466844277411</c:v>
                </c:pt>
                <c:pt idx="30">
                  <c:v>95.602766892165718</c:v>
                </c:pt>
                <c:pt idx="31">
                  <c:v>94.614242404434407</c:v>
                </c:pt>
                <c:pt idx="32">
                  <c:v>93.635949215452314</c:v>
                </c:pt>
                <c:pt idx="33">
                  <c:v>92.667975701342215</c:v>
                </c:pt>
                <c:pt idx="34">
                  <c:v>91.710441861842099</c:v>
                </c:pt>
                <c:pt idx="35">
                  <c:v>90.763496198045587</c:v>
                </c:pt>
                <c:pt idx="36">
                  <c:v>89.827310834414078</c:v>
                </c:pt>
                <c:pt idx="37">
                  <c:v>88.902075371879562</c:v>
                </c:pt>
                <c:pt idx="38">
                  <c:v>87.987989960704098</c:v>
                </c:pt>
                <c:pt idx="39">
                  <c:v>87.085258052140659</c:v>
                </c:pt>
                <c:pt idx="40">
                  <c:v>86.1940792337185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70.504467453123738</c:v>
                </c:pt>
                <c:pt idx="1">
                  <c:v>72.696614910719987</c:v>
                </c:pt>
                <c:pt idx="2">
                  <c:v>74.85082661135543</c:v>
                </c:pt>
                <c:pt idx="3">
                  <c:v>76.96906149749509</c:v>
                </c:pt>
                <c:pt idx="4">
                  <c:v>79.053127545840823</c:v>
                </c:pt>
                <c:pt idx="5">
                  <c:v>81.104695763206621</c:v>
                </c:pt>
                <c:pt idx="6">
                  <c:v>83.125312934822972</c:v>
                </c:pt>
                <c:pt idx="7">
                  <c:v>85.116413253001454</c:v>
                </c:pt>
                <c:pt idx="8">
                  <c:v>87.079328893663316</c:v>
                </c:pt>
                <c:pt idx="9">
                  <c:v>89.015299582437052</c:v>
                </c:pt>
                <c:pt idx="10">
                  <c:v>90.822168013566568</c:v>
                </c:pt>
                <c:pt idx="11">
                  <c:v>91.664930656727122</c:v>
                </c:pt>
                <c:pt idx="12">
                  <c:v>92.467301118007626</c:v>
                </c:pt>
                <c:pt idx="13">
                  <c:v>93.2317091861172</c:v>
                </c:pt>
                <c:pt idx="14">
                  <c:v>93.961259706149676</c:v>
                </c:pt>
                <c:pt idx="15">
                  <c:v>94.659772903768072</c:v>
                </c:pt>
                <c:pt idx="16">
                  <c:v>95.33162503577266</c:v>
                </c:pt>
                <c:pt idx="17">
                  <c:v>95.981415266539045</c:v>
                </c:pt>
                <c:pt idx="18">
                  <c:v>96.613549078308154</c:v>
                </c:pt>
                <c:pt idx="19">
                  <c:v>97.231857898889601</c:v>
                </c:pt>
                <c:pt idx="20">
                  <c:v>97.888721605937235</c:v>
                </c:pt>
                <c:pt idx="21">
                  <c:v>98.963893874473413</c:v>
                </c:pt>
                <c:pt idx="22">
                  <c:v>100</c:v>
                </c:pt>
                <c:pt idx="23">
                  <c:v>100.99789721202879</c:v>
                </c:pt>
                <c:pt idx="24">
                  <c:v>101.95842093190544</c:v>
                </c:pt>
                <c:pt idx="25">
                  <c:v>102.88241286512552</c:v>
                </c:pt>
                <c:pt idx="26">
                  <c:v>103.77074594587931</c:v>
                </c:pt>
                <c:pt idx="27">
                  <c:v>104.62434394146744</c:v>
                </c:pt>
                <c:pt idx="28">
                  <c:v>105.44419436537306</c:v>
                </c:pt>
                <c:pt idx="29">
                  <c:v>105.56082254741438</c:v>
                </c:pt>
                <c:pt idx="30">
                  <c:v>105.64348738359686</c:v>
                </c:pt>
                <c:pt idx="31">
                  <c:v>105.693650834962</c:v>
                </c:pt>
                <c:pt idx="32">
                  <c:v>105.71277004517245</c:v>
                </c:pt>
                <c:pt idx="33">
                  <c:v>105.7023025764487</c:v>
                </c:pt>
                <c:pt idx="34">
                  <c:v>105.66370858162799</c:v>
                </c:pt>
                <c:pt idx="35">
                  <c:v>105.5984501348691</c:v>
                </c:pt>
                <c:pt idx="36">
                  <c:v>105.50798808746671</c:v>
                </c:pt>
                <c:pt idx="37">
                  <c:v>105.39377691570336</c:v>
                </c:pt>
                <c:pt idx="38">
                  <c:v>105.25725808327842</c:v>
                </c:pt>
                <c:pt idx="39">
                  <c:v>105.09985245374666</c:v>
                </c:pt>
                <c:pt idx="40">
                  <c:v>104.9229522639460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5692411988210284</c:v>
                </c:pt>
                <c:pt idx="1">
                  <c:v>0.2650897888943875</c:v>
                </c:pt>
                <c:pt idx="2">
                  <c:v>0.27307794336292668</c:v>
                </c:pt>
                <c:pt idx="3">
                  <c:v>0.28089430956332528</c:v>
                </c:pt>
                <c:pt idx="4">
                  <c:v>0.28854437009988571</c:v>
                </c:pt>
                <c:pt idx="5">
                  <c:v>0.29603337673041313</c:v>
                </c:pt>
                <c:pt idx="6">
                  <c:v>0.30336636238947151</c:v>
                </c:pt>
                <c:pt idx="7">
                  <c:v>0.31054815246793049</c:v>
                </c:pt>
                <c:pt idx="8">
                  <c:v>0.31758337540193121</c:v>
                </c:pt>
                <c:pt idx="9">
                  <c:v>0.32447647262009344</c:v>
                </c:pt>
                <c:pt idx="10">
                  <c:v>0.33123170789389261</c:v>
                </c:pt>
                <c:pt idx="11">
                  <c:v>0.33785317613256693</c:v>
                </c:pt>
                <c:pt idx="12">
                  <c:v>0.34434481166067904</c:v>
                </c:pt>
                <c:pt idx="13">
                  <c:v>0.35071039601348797</c:v>
                </c:pt>
                <c:pt idx="14">
                  <c:v>0.35695356528258904</c:v>
                </c:pt>
                <c:pt idx="15">
                  <c:v>0.36307781704180253</c:v>
                </c:pt>
                <c:pt idx="16">
                  <c:v>0.36908651688103067</c:v>
                </c:pt>
                <c:pt idx="17">
                  <c:v>0.3749829045737314</c:v>
                </c:pt>
                <c:pt idx="18">
                  <c:v>0.38077009990175231</c:v>
                </c:pt>
                <c:pt idx="19">
                  <c:v>0.38645110815953454</c:v>
                </c:pt>
                <c:pt idx="20">
                  <c:v>0.3920288253580842</c:v>
                </c:pt>
                <c:pt idx="21">
                  <c:v>0.39750604314765098</c:v>
                </c:pt>
                <c:pt idx="22">
                  <c:v>0.40288545347668986</c:v>
                </c:pt>
                <c:pt idx="23">
                  <c:v>0.40816965300344477</c:v>
                </c:pt>
                <c:pt idx="24">
                  <c:v>0.4133611472753444</c:v>
                </c:pt>
                <c:pt idx="25">
                  <c:v>0.41846235469034138</c:v>
                </c:pt>
                <c:pt idx="26">
                  <c:v>0.42347561025335567</c:v>
                </c:pt>
                <c:pt idx="27">
                  <c:v>0.4284031691400792</c:v>
                </c:pt>
                <c:pt idx="28">
                  <c:v>0.43324721007956996</c:v>
                </c:pt>
                <c:pt idx="29">
                  <c:v>0.43800983856629633</c:v>
                </c:pt>
                <c:pt idx="30">
                  <c:v>0.44269308991157719</c:v>
                </c:pt>
                <c:pt idx="31">
                  <c:v>0.44729893214371297</c:v>
                </c:pt>
                <c:pt idx="32">
                  <c:v>0.45182926876548574</c:v>
                </c:pt>
                <c:pt idx="33">
                  <c:v>0.45628594137714845</c:v>
                </c:pt>
                <c:pt idx="34">
                  <c:v>0.46067073217249405</c:v>
                </c:pt>
                <c:pt idx="35">
                  <c:v>0.46498536631511417</c:v>
                </c:pt>
                <c:pt idx="36">
                  <c:v>0.46923151420150211</c:v>
                </c:pt>
                <c:pt idx="37">
                  <c:v>0.4734107936172382</c:v>
                </c:pt>
                <c:pt idx="38">
                  <c:v>0.47752477179210351</c:v>
                </c:pt>
                <c:pt idx="39">
                  <c:v>0.4815749673596067</c:v>
                </c:pt>
                <c:pt idx="40">
                  <c:v>0.485562852226071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Taittinger Prestige Brut 750ml (1.6%)</c:v>
                </c:pt>
                <c:pt idx="3">
                  <c:v>Champagne Ruinart Brut (étui) 750ml (1.2%)</c:v>
                </c:pt>
                <c:pt idx="4">
                  <c:v>Champagne Ayala Brut Majeur 750ml (1.7%)</c:v>
                </c:pt>
                <c:pt idx="5">
                  <c:v>Champagne Laurent-Perrier Blanc La Cuvée 750ml (2.7%)</c:v>
                </c:pt>
                <c:pt idx="6">
                  <c:v>Champagne Nicolas Feuillatte Réserve Exclusive Brut 750ml (3.0%)</c:v>
                </c:pt>
                <c:pt idx="7">
                  <c:v>Champagne Heidsieck Monopole Silver Top 750ml (4.2%)</c:v>
                </c:pt>
                <c:pt idx="8">
                  <c:v>Champagne E.Nicolas Brut 750ml (11.6%)</c:v>
                </c:pt>
                <c:pt idx="9">
                  <c:v>Champagne Bollinger Special Cuvée Brut 750ml (1.2%)</c:v>
                </c:pt>
              </c:strCache>
            </c:strRef>
          </c:cat>
          <c:val>
            <c:numRef>
              <c:f>Sheet1!$B$2:$B$11</c:f>
              <c:numCache>
                <c:formatCode>General</c:formatCode>
                <c:ptCount val="10"/>
                <c:pt idx="0">
                  <c:v>0.12341633082496387</c:v>
                </c:pt>
                <c:pt idx="1">
                  <c:v>6.1313142370459817E-2</c:v>
                </c:pt>
                <c:pt idx="2">
                  <c:v>5.4713323143673824E-2</c:v>
                </c:pt>
                <c:pt idx="3">
                  <c:v>5.3239972837415668E-2</c:v>
                </c:pt>
                <c:pt idx="4">
                  <c:v>4.9676112192591687E-2</c:v>
                </c:pt>
                <c:pt idx="5">
                  <c:v>4.523660811026934E-2</c:v>
                </c:pt>
                <c:pt idx="6">
                  <c:v>3.6500021837649707E-2</c:v>
                </c:pt>
                <c:pt idx="7">
                  <c:v>3.3021466334247039E-2</c:v>
                </c:pt>
                <c:pt idx="8">
                  <c:v>3.1691982327600877E-2</c:v>
                </c:pt>
                <c:pt idx="9">
                  <c:v>2.930862551346287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étui) 750ml (1.2%)</c:v>
                </c:pt>
                <c:pt idx="1">
                  <c:v>Champagne Deutz Brut Classique 750ml (3.4%)</c:v>
                </c:pt>
                <c:pt idx="2">
                  <c:v>Champagne Ruinart Blanc de Blancs 750ml (2.0%)</c:v>
                </c:pt>
                <c:pt idx="3">
                  <c:v>Champagne Veuve Clicquot Réserve Cuvée 750ml (1.7%)</c:v>
                </c:pt>
                <c:pt idx="4">
                  <c:v>Champagne Bollinger Special Cuvée Brut 750ml (1.2%)</c:v>
                </c:pt>
                <c:pt idx="5">
                  <c:v>Champagne Taittinger Prestige Brut 750ml (1.6%)</c:v>
                </c:pt>
                <c:pt idx="6">
                  <c:v>Champagne Vranken Demoiselle Rosé Prestige 750ml (2.0%)</c:v>
                </c:pt>
                <c:pt idx="7">
                  <c:v>Champagne Laurent-Perrier Blanc La Cuvée 750ml (2.7%)</c:v>
                </c:pt>
                <c:pt idx="8">
                  <c:v>Champagne Moët &amp; Chandon Réserve Impériale 750ml (1.1%)</c:v>
                </c:pt>
                <c:pt idx="9">
                  <c:v>Champagne Nicolas Feuillatte Réserve Exclusive Brut 750ml (3.0%)</c:v>
                </c:pt>
              </c:strCache>
            </c:strRef>
          </c:cat>
          <c:val>
            <c:numRef>
              <c:f>Sheet1!$B$2:$B$11</c:f>
              <c:numCache>
                <c:formatCode>General</c:formatCode>
                <c:ptCount val="10"/>
                <c:pt idx="0">
                  <c:v>0.11399303139466599</c:v>
                </c:pt>
                <c:pt idx="1">
                  <c:v>9.6193858509386457E-2</c:v>
                </c:pt>
                <c:pt idx="2">
                  <c:v>5.5959205099372709E-2</c:v>
                </c:pt>
                <c:pt idx="3">
                  <c:v>5.5310501956884507E-2</c:v>
                </c:pt>
                <c:pt idx="4">
                  <c:v>4.3182049938856749E-2</c:v>
                </c:pt>
                <c:pt idx="5">
                  <c:v>4.2819271086617143E-2</c:v>
                </c:pt>
                <c:pt idx="6">
                  <c:v>3.6192000554774631E-2</c:v>
                </c:pt>
                <c:pt idx="7">
                  <c:v>3.3491162764879387E-2</c:v>
                </c:pt>
                <c:pt idx="8">
                  <c:v>3.3340021997226521E-2</c:v>
                </c:pt>
                <c:pt idx="9">
                  <c:v>2.74252533690867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67.34951570501011</c:v>
                </c:pt>
                <c:pt idx="1">
                  <c:v>165.50232395758121</c:v>
                </c:pt>
                <c:pt idx="2">
                  <c:v>163.70843345110006</c:v>
                </c:pt>
                <c:pt idx="3">
                  <c:v>161.96538583923186</c:v>
                </c:pt>
                <c:pt idx="4">
                  <c:v>159.94800069964293</c:v>
                </c:pt>
                <c:pt idx="5">
                  <c:v>155.19407152757751</c:v>
                </c:pt>
                <c:pt idx="6">
                  <c:v>150.7048217227993</c:v>
                </c:pt>
                <c:pt idx="7">
                  <c:v>146.47113677215776</c:v>
                </c:pt>
                <c:pt idx="8">
                  <c:v>142.48103354592695</c:v>
                </c:pt>
                <c:pt idx="9">
                  <c:v>138.72021874560338</c:v>
                </c:pt>
                <c:pt idx="10">
                  <c:v>135.17297880989653</c:v>
                </c:pt>
                <c:pt idx="11">
                  <c:v>131.82310524623955</c:v>
                </c:pt>
                <c:pt idx="12">
                  <c:v>128.65466296762864</c:v>
                </c:pt>
                <c:pt idx="13">
                  <c:v>125.65252583804367</c:v>
                </c:pt>
                <c:pt idx="14">
                  <c:v>122.83387629088335</c:v>
                </c:pt>
                <c:pt idx="15">
                  <c:v>120.40789955753229</c:v>
                </c:pt>
                <c:pt idx="16">
                  <c:v>118.06506699700708</c:v>
                </c:pt>
                <c:pt idx="17">
                  <c:v>115.80166367366027</c:v>
                </c:pt>
                <c:pt idx="18">
                  <c:v>113.61403336910058</c:v>
                </c:pt>
                <c:pt idx="19">
                  <c:v>111.49861241340422</c:v>
                </c:pt>
                <c:pt idx="20">
                  <c:v>109.45195496510998</c:v>
                </c:pt>
                <c:pt idx="21">
                  <c:v>107.47075096964656</c:v>
                </c:pt>
                <c:pt idx="22">
                  <c:v>105.55183798043426</c:v>
                </c:pt>
                <c:pt idx="23">
                  <c:v>102.71778671510307</c:v>
                </c:pt>
                <c:pt idx="24">
                  <c:v>100</c:v>
                </c:pt>
                <c:pt idx="25">
                  <c:v>97.393486110751127</c:v>
                </c:pt>
                <c:pt idx="26">
                  <c:v>94.893355508391053</c:v>
                </c:pt>
                <c:pt idx="27">
                  <c:v>92.49483232203562</c:v>
                </c:pt>
                <c:pt idx="28">
                  <c:v>90.193264642345341</c:v>
                </c:pt>
                <c:pt idx="29">
                  <c:v>87.984133671904914</c:v>
                </c:pt>
                <c:pt idx="30">
                  <c:v>85.863061729576756</c:v>
                </c:pt>
                <c:pt idx="31">
                  <c:v>83.825819074487612</c:v>
                </c:pt>
                <c:pt idx="32">
                  <c:v>81.868329503021116</c:v>
                </c:pt>
                <c:pt idx="33">
                  <c:v>79.986674677135099</c:v>
                </c:pt>
                <c:pt idx="34">
                  <c:v>78.177097160601207</c:v>
                </c:pt>
                <c:pt idx="35">
                  <c:v>76.436002166518335</c:v>
                </c:pt>
                <c:pt idx="36">
                  <c:v>74.759958049854319</c:v>
                </c:pt>
                <c:pt idx="37">
                  <c:v>73.145695608667765</c:v>
                </c:pt>
                <c:pt idx="38">
                  <c:v>71.590106283967572</c:v>
                </c:pt>
                <c:pt idx="39">
                  <c:v>70.09023936888623</c:v>
                </c:pt>
                <c:pt idx="40">
                  <c:v>68.643298352089062</c:v>
                </c:pt>
                <c:pt idx="41">
                  <c:v>67.246636528006945</c:v>
                </c:pt>
                <c:pt idx="42">
                  <c:v>65.8977520081524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34.4551868066448</c:v>
                </c:pt>
                <c:pt idx="1">
                  <c:v>134.32294873188704</c:v>
                </c:pt>
                <c:pt idx="2">
                  <c:v>134.20411711368112</c:v>
                </c:pt>
                <c:pt idx="3">
                  <c:v>134.09796377108819</c:v>
                </c:pt>
                <c:pt idx="4">
                  <c:v>133.73383254873633</c:v>
                </c:pt>
                <c:pt idx="5">
                  <c:v>131.02670516671219</c:v>
                </c:pt>
                <c:pt idx="6">
                  <c:v>128.46843947597594</c:v>
                </c:pt>
                <c:pt idx="7">
                  <c:v>126.05751554158482</c:v>
                </c:pt>
                <c:pt idx="8">
                  <c:v>123.78964610483456</c:v>
                </c:pt>
                <c:pt idx="9">
                  <c:v>121.65814913806648</c:v>
                </c:pt>
                <c:pt idx="10">
                  <c:v>119.65463954131998</c:v>
                </c:pt>
                <c:pt idx="11">
                  <c:v>117.76979504240271</c:v>
                </c:pt>
                <c:pt idx="12">
                  <c:v>115.99402551513522</c:v>
                </c:pt>
                <c:pt idx="13">
                  <c:v>114.31796829464429</c:v>
                </c:pt>
                <c:pt idx="14">
                  <c:v>112.76112478211806</c:v>
                </c:pt>
                <c:pt idx="15">
                  <c:v>111.51935658880423</c:v>
                </c:pt>
                <c:pt idx="16">
                  <c:v>110.31595290350502</c:v>
                </c:pt>
                <c:pt idx="17">
                  <c:v>109.1494139248658</c:v>
                </c:pt>
                <c:pt idx="18">
                  <c:v>108.01817807937238</c:v>
                </c:pt>
                <c:pt idx="19">
                  <c:v>106.92065651906526</c:v>
                </c:pt>
                <c:pt idx="20">
                  <c:v>105.85526101296776</c:v>
                </c:pt>
                <c:pt idx="21">
                  <c:v>104.82042595089899</c:v>
                </c:pt>
                <c:pt idx="22">
                  <c:v>103.81462521133413</c:v>
                </c:pt>
                <c:pt idx="23">
                  <c:v>101.87227746060323</c:v>
                </c:pt>
                <c:pt idx="24">
                  <c:v>100</c:v>
                </c:pt>
                <c:pt idx="25">
                  <c:v>98.195569200176081</c:v>
                </c:pt>
                <c:pt idx="26">
                  <c:v>96.456707870033753</c:v>
                </c:pt>
                <c:pt idx="27">
                  <c:v>94.781100589549865</c:v>
                </c:pt>
                <c:pt idx="28">
                  <c:v>93.166408419333393</c:v>
                </c:pt>
                <c:pt idx="29">
                  <c:v>91.610282966982325</c:v>
                </c:pt>
                <c:pt idx="30">
                  <c:v>90.110379741419379</c:v>
                </c:pt>
                <c:pt idx="31">
                  <c:v>88.664370692639267</c:v>
                </c:pt>
                <c:pt idx="32">
                  <c:v>87.269955818625206</c:v>
                </c:pt>
                <c:pt idx="33">
                  <c:v>85.924873723147783</c:v>
                </c:pt>
                <c:pt idx="34">
                  <c:v>84.626911024912417</c:v>
                </c:pt>
                <c:pt idx="35">
                  <c:v>83.373910545896763</c:v>
                </c:pt>
                <c:pt idx="36">
                  <c:v>82.163778240105117</c:v>
                </c:pt>
                <c:pt idx="37">
                  <c:v>80.994488859084086</c:v>
                </c:pt>
                <c:pt idx="38">
                  <c:v>79.864090383908021</c:v>
                </c:pt>
                <c:pt idx="39">
                  <c:v>78.770707282438366</c:v>
                </c:pt>
                <c:pt idx="40">
                  <c:v>77.712542674001156</c:v>
                </c:pt>
                <c:pt idx="41">
                  <c:v>76.687879500586703</c:v>
                </c:pt>
                <c:pt idx="42">
                  <c:v>75.695080814348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83.294933251160629</c:v>
                </c:pt>
                <c:pt idx="1">
                  <c:v>85.839146274685746</c:v>
                </c:pt>
                <c:pt idx="2">
                  <c:v>88.334804214062729</c:v>
                </c:pt>
                <c:pt idx="3">
                  <c:v>90.783875581058055</c:v>
                </c:pt>
                <c:pt idx="4">
                  <c:v>93.000478939082427</c:v>
                </c:pt>
                <c:pt idx="5">
                  <c:v>93.484231370198202</c:v>
                </c:pt>
                <c:pt idx="6">
                  <c:v>93.9339783310825</c:v>
                </c:pt>
                <c:pt idx="7">
                  <c:v>94.360465570035871</c:v>
                </c:pt>
                <c:pt idx="8">
                  <c:v>94.771767774257199</c:v>
                </c:pt>
                <c:pt idx="9">
                  <c:v>95.173371539895868</c:v>
                </c:pt>
                <c:pt idx="10">
                  <c:v>95.568562808997555</c:v>
                </c:pt>
                <c:pt idx="11">
                  <c:v>95.958951837199564</c:v>
                </c:pt>
                <c:pt idx="12">
                  <c:v>96.344996785066201</c:v>
                </c:pt>
                <c:pt idx="13">
                  <c:v>96.726444586270716</c:v>
                </c:pt>
                <c:pt idx="14">
                  <c:v>97.127323004980838</c:v>
                </c:pt>
                <c:pt idx="15">
                  <c:v>97.728937030774276</c:v>
                </c:pt>
                <c:pt idx="16">
                  <c:v>98.298233757779713</c:v>
                </c:pt>
                <c:pt idx="17">
                  <c:v>98.837262570323531</c:v>
                </c:pt>
                <c:pt idx="18">
                  <c:v>99.347813213777542</c:v>
                </c:pt>
                <c:pt idx="19">
                  <c:v>99.831452229833161</c:v>
                </c:pt>
                <c:pt idx="20">
                  <c:v>100.28955580449457</c:v>
                </c:pt>
                <c:pt idx="21">
                  <c:v>100.72333892852158</c:v>
                </c:pt>
                <c:pt idx="22">
                  <c:v>101.13388093242341</c:v>
                </c:pt>
                <c:pt idx="23">
                  <c:v>100.56811893831747</c:v>
                </c:pt>
                <c:pt idx="24">
                  <c:v>100</c:v>
                </c:pt>
                <c:pt idx="25">
                  <c:v>99.431727446127425</c:v>
                </c:pt>
                <c:pt idx="26">
                  <c:v>98.865193202542869</c:v>
                </c:pt>
                <c:pt idx="27">
                  <c:v>98.30200068850408</c:v>
                </c:pt>
                <c:pt idx="28">
                  <c:v>97.743487866001857</c:v>
                </c:pt>
                <c:pt idx="29">
                  <c:v>97.190750318906609</c:v>
                </c:pt>
                <c:pt idx="30">
                  <c:v>96.644664191173575</c:v>
                </c:pt>
                <c:pt idx="31">
                  <c:v>96.105908776849958</c:v>
                </c:pt>
                <c:pt idx="32">
                  <c:v>95.574988534530974</c:v>
                </c:pt>
                <c:pt idx="33">
                  <c:v>95.052254296983662</c:v>
                </c:pt>
                <c:pt idx="34">
                  <c:v>94.537923461784516</c:v>
                </c:pt>
                <c:pt idx="35">
                  <c:v>94.032098977808886</c:v>
                </c:pt>
                <c:pt idx="36">
                  <c:v>93.53478698101344</c:v>
                </c:pt>
                <c:pt idx="37">
                  <c:v>93.045912976632124</c:v>
                </c:pt>
                <c:pt idx="38">
                  <c:v>92.565336509575701</c:v>
                </c:pt>
                <c:pt idx="39">
                  <c:v>92.092864307113516</c:v>
                </c:pt>
                <c:pt idx="40">
                  <c:v>91.628261915454928</c:v>
                </c:pt>
                <c:pt idx="41">
                  <c:v>91.171263883160293</c:v>
                </c:pt>
                <c:pt idx="42">
                  <c:v>90.72158256881097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4774060741094645</c:v>
                </c:pt>
                <c:pt idx="1">
                  <c:v>0.25549585888093651</c:v>
                </c:pt>
                <c:pt idx="2">
                  <c:v>0.26309283991276383</c:v>
                </c:pt>
                <c:pt idx="3">
                  <c:v>0.27053634658031173</c:v>
                </c:pt>
                <c:pt idx="4">
                  <c:v>0.27783098311450855</c:v>
                </c:pt>
                <c:pt idx="5">
                  <c:v>0.2849811714005035</c:v>
                </c:pt>
                <c:pt idx="6">
                  <c:v>0.29199115991618496</c:v>
                </c:pt>
                <c:pt idx="7">
                  <c:v>0.29886503215000837</c:v>
                </c:pt>
                <c:pt idx="8">
                  <c:v>0.30560671453318117</c:v>
                </c:pt>
                <c:pt idx="9">
                  <c:v>0.31221998391857958</c:v>
                </c:pt>
                <c:pt idx="10">
                  <c:v>0.31870847463632884</c:v>
                </c:pt>
                <c:pt idx="11">
                  <c:v>0.32507568515374641</c:v>
                </c:pt>
                <c:pt idx="12">
                  <c:v>0.33132498436528579</c:v>
                </c:pt>
                <c:pt idx="13">
                  <c:v>0.33745961753624637</c:v>
                </c:pt>
                <c:pt idx="14">
                  <c:v>0.34348271192228064</c:v>
                </c:pt>
                <c:pt idx="15">
                  <c:v>0.34939728208514292</c:v>
                </c:pt>
                <c:pt idx="16">
                  <c:v>0.35520623492366832</c:v>
                </c:pt>
                <c:pt idx="17">
                  <c:v>0.36091237443761803</c:v>
                </c:pt>
                <c:pt idx="18">
                  <c:v>0.36651840624079696</c:v>
                </c:pt>
                <c:pt idx="19">
                  <c:v>0.37202694183870305</c:v>
                </c:pt>
                <c:pt idx="20">
                  <c:v>0.37744050268492102</c:v>
                </c:pt>
                <c:pt idx="21">
                  <c:v>0.38276152402949443</c:v>
                </c:pt>
                <c:pt idx="22">
                  <c:v>0.38799235857161735</c:v>
                </c:pt>
                <c:pt idx="23">
                  <c:v>0.39313527992815844</c:v>
                </c:pt>
                <c:pt idx="24">
                  <c:v>0.39819248592875706</c:v>
                </c:pt>
                <c:pt idx="25">
                  <c:v>0.40316610174752765</c:v>
                </c:pt>
                <c:pt idx="26">
                  <c:v>0.40805818288074469</c:v>
                </c:pt>
                <c:pt idx="27">
                  <c:v>0.41287071797927527</c:v>
                </c:pt>
                <c:pt idx="28">
                  <c:v>0.41760563154395847</c:v>
                </c:pt>
                <c:pt idx="29">
                  <c:v>0.42226478649160676</c:v>
                </c:pt>
                <c:pt idx="30">
                  <c:v>0.4268499865988164</c:v>
                </c:pt>
                <c:pt idx="31">
                  <c:v>0.43136297883032171</c:v>
                </c:pt>
                <c:pt idx="32">
                  <c:v>0.43580545555820976</c:v>
                </c:pt>
                <c:pt idx="33">
                  <c:v>0.44017905667791363</c:v>
                </c:pt>
                <c:pt idx="34">
                  <c:v>0.44448537162654506</c:v>
                </c:pt>
                <c:pt idx="35">
                  <c:v>0.44872594130878513</c:v>
                </c:pt>
                <c:pt idx="36">
                  <c:v>0.4529022599352337</c:v>
                </c:pt>
                <c:pt idx="37">
                  <c:v>0.4570157767778259</c:v>
                </c:pt>
                <c:pt idx="38">
                  <c:v>0.46106789784664826</c:v>
                </c:pt>
                <c:pt idx="39">
                  <c:v>0.4650599874922286</c:v>
                </c:pt>
                <c:pt idx="40">
                  <c:v>0.46899336993713869</c:v>
                </c:pt>
                <c:pt idx="41">
                  <c:v>0.47286933074051724</c:v>
                </c:pt>
                <c:pt idx="42">
                  <c:v>0.476689118198919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Ayala Brut Majeur 750ml (1.7%)</c:v>
                </c:pt>
                <c:pt idx="3">
                  <c:v>Champagne Ruinart Blanc de Blancs 750ml (2.0%)</c:v>
                </c:pt>
                <c:pt idx="4">
                  <c:v>Champagne Bollinger Special Cuvée Brut 750ml (1.2%)</c:v>
                </c:pt>
                <c:pt idx="5">
                  <c:v>Champagne Veuve Clicquot Réserve Cuvée 750ml (1.7%)</c:v>
                </c:pt>
                <c:pt idx="6">
                  <c:v>Champagne Taittinger Prestige Brut 750ml (1.6%)</c:v>
                </c:pt>
                <c:pt idx="7">
                  <c:v>Champagne E.Nicolas Brut 750ml (11.6%)</c:v>
                </c:pt>
                <c:pt idx="8">
                  <c:v>Champagne Vranken Demoiselle Rosé Prestige 750ml (2.0%)</c:v>
                </c:pt>
                <c:pt idx="9">
                  <c:v>Champagne Perrier-Jouët Blanc Grand Brut 750ml (0.9%)</c:v>
                </c:pt>
              </c:strCache>
            </c:strRef>
          </c:cat>
          <c:val>
            <c:numRef>
              <c:f>Sheet1!$B$2:$B$11</c:f>
              <c:numCache>
                <c:formatCode>General</c:formatCode>
                <c:ptCount val="10"/>
                <c:pt idx="0">
                  <c:v>0.39346405251091932</c:v>
                </c:pt>
                <c:pt idx="1">
                  <c:v>7.903797062830821E-2</c:v>
                </c:pt>
                <c:pt idx="2">
                  <c:v>3.5349311827221383E-2</c:v>
                </c:pt>
                <c:pt idx="3">
                  <c:v>3.1268974402775714E-2</c:v>
                </c:pt>
                <c:pt idx="4">
                  <c:v>2.7040996886749248E-2</c:v>
                </c:pt>
                <c:pt idx="5">
                  <c:v>2.4621058886563539E-2</c:v>
                </c:pt>
                <c:pt idx="6">
                  <c:v>2.361472673769336E-2</c:v>
                </c:pt>
                <c:pt idx="7">
                  <c:v>2.3576611491625814E-2</c:v>
                </c:pt>
                <c:pt idx="8">
                  <c:v>1.8969941126533107E-2</c:v>
                </c:pt>
                <c:pt idx="9">
                  <c:v>1.82094961190602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Bollinger Special Cuvée Brut 750ml (1.2%)</c:v>
                </c:pt>
                <c:pt idx="4">
                  <c:v>Champagne Vranken Demoiselle Rosé Prestige 750ml (2.0%)</c:v>
                </c:pt>
                <c:pt idx="5">
                  <c:v>Champagne Ayala Brut Majeur 750ml (1.7%)</c:v>
                </c:pt>
                <c:pt idx="6">
                  <c:v>Champagne Perrier-Jouët Blanc Grand Brut 750ml (0.9%)</c:v>
                </c:pt>
                <c:pt idx="7">
                  <c:v>Champagne Taittinger Prestige Brut 750ml (1.6%)</c:v>
                </c:pt>
                <c:pt idx="8">
                  <c:v>Champagne Veuve Clicquot Réserve Cuvée 750ml (1.7%)</c:v>
                </c:pt>
                <c:pt idx="9">
                  <c:v>Champagne E.Nicolas Brut 750ml (11.6%)</c:v>
                </c:pt>
              </c:strCache>
            </c:strRef>
          </c:cat>
          <c:val>
            <c:numRef>
              <c:f>Sheet1!$B$2:$B$11</c:f>
              <c:numCache>
                <c:formatCode>General</c:formatCode>
                <c:ptCount val="10"/>
                <c:pt idx="0">
                  <c:v>0.38608085742178089</c:v>
                </c:pt>
                <c:pt idx="1">
                  <c:v>8.215782314731343E-2</c:v>
                </c:pt>
                <c:pt idx="2">
                  <c:v>4.301998502640926E-2</c:v>
                </c:pt>
                <c:pt idx="3">
                  <c:v>3.2758531274720538E-2</c:v>
                </c:pt>
                <c:pt idx="4">
                  <c:v>2.5210675354892149E-2</c:v>
                </c:pt>
                <c:pt idx="5">
                  <c:v>2.3866697355924137E-2</c:v>
                </c:pt>
                <c:pt idx="6">
                  <c:v>2.1973790246551363E-2</c:v>
                </c:pt>
                <c:pt idx="7">
                  <c:v>2.0888082061038211E-2</c:v>
                </c:pt>
                <c:pt idx="8">
                  <c:v>2.0105706709205189E-2</c:v>
                </c:pt>
                <c:pt idx="9">
                  <c:v>1.869859365800733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Bottega (3.7%)</c:v>
                </c:pt>
                <c:pt idx="4">
                  <c:v>Patriarche (2.6%)</c:v>
                </c:pt>
                <c:pt idx="5">
                  <c:v>Muré (1.3%)</c:v>
                </c:pt>
                <c:pt idx="6">
                  <c:v>Bouvet Ladubay (1.5%)</c:v>
                </c:pt>
                <c:pt idx="7">
                  <c:v>Dea Augusta (0.5%)</c:v>
                </c:pt>
                <c:pt idx="8">
                  <c:v>Malard (6.0%)</c:v>
                </c:pt>
                <c:pt idx="9">
                  <c:v>Veuve du Vernay (0.7%)</c:v>
                </c:pt>
              </c:strCache>
            </c:strRef>
          </c:cat>
          <c:val>
            <c:numRef>
              <c:f>Sheet1!$B$2:$B$11</c:f>
              <c:numCache>
                <c:formatCode>General</c:formatCode>
                <c:ptCount val="10"/>
                <c:pt idx="0">
                  <c:v>0.23299507592204705</c:v>
                </c:pt>
                <c:pt idx="1">
                  <c:v>0.10028981593769001</c:v>
                </c:pt>
                <c:pt idx="2">
                  <c:v>9.2104834319272078E-2</c:v>
                </c:pt>
                <c:pt idx="3">
                  <c:v>8.5590425832185471E-2</c:v>
                </c:pt>
                <c:pt idx="4">
                  <c:v>7.6256783607389023E-2</c:v>
                </c:pt>
                <c:pt idx="5">
                  <c:v>5.0617883727081821E-2</c:v>
                </c:pt>
                <c:pt idx="6">
                  <c:v>4.1044213562198277E-2</c:v>
                </c:pt>
                <c:pt idx="7">
                  <c:v>3.6694108684278214E-2</c:v>
                </c:pt>
                <c:pt idx="8">
                  <c:v>3.1879706570806909E-2</c:v>
                </c:pt>
                <c:pt idx="9">
                  <c:v>2.584086567617524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étui) 15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9</c:v>
                </c:pt>
                <c:pt idx="1">
                  <c:v>119</c:v>
                </c:pt>
                <c:pt idx="2">
                  <c:v>129</c:v>
                </c:pt>
                <c:pt idx="3">
                  <c:v>149</c:v>
                </c:pt>
                <c:pt idx="4">
                  <c:v>159</c:v>
                </c:pt>
              </c:numCache>
            </c:numRef>
          </c:xVal>
          <c:yVal>
            <c:numRef>
              <c:f>Sheet1!$B$2:$B$6</c:f>
              <c:numCache>
                <c:formatCode>General</c:formatCode>
                <c:ptCount val="5"/>
                <c:pt idx="0">
                  <c:v>0.51574090057049993</c:v>
                </c:pt>
                <c:pt idx="1">
                  <c:v>0.1055914037068197</c:v>
                </c:pt>
                <c:pt idx="2">
                  <c:v>0</c:v>
                </c:pt>
                <c:pt idx="3">
                  <c:v>-0.14335699500999713</c:v>
                </c:pt>
                <c:pt idx="4">
                  <c:v>-0.290088360897381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
          <c:min val="99"/>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B$2:$B$122</c:f>
              <c:numCache>
                <c:formatCode>General</c:formatCode>
                <c:ptCount val="121"/>
                <c:pt idx="0">
                  <c:v>159.13848462747501</c:v>
                </c:pt>
                <c:pt idx="1">
                  <c:v>158.29482904730401</c:v>
                </c:pt>
                <c:pt idx="2">
                  <c:v>157.46038511308004</c:v>
                </c:pt>
                <c:pt idx="3">
                  <c:v>156.63500076100468</c:v>
                </c:pt>
                <c:pt idx="4">
                  <c:v>155.81852707290983</c:v>
                </c:pt>
                <c:pt idx="5">
                  <c:v>155.01081820256027</c:v>
                </c:pt>
                <c:pt idx="6">
                  <c:v>154.21173130371253</c:v>
                </c:pt>
                <c:pt idx="7">
                  <c:v>153.42112645988934</c:v>
                </c:pt>
                <c:pt idx="8">
                  <c:v>152.63886661584451</c:v>
                </c:pt>
                <c:pt idx="9">
                  <c:v>151.86481751068487</c:v>
                </c:pt>
                <c:pt idx="10">
                  <c:v>151.098847612611</c:v>
                </c:pt>
                <c:pt idx="11">
                  <c:v>150.34082805524983</c:v>
                </c:pt>
                <c:pt idx="12">
                  <c:v>149.59063257554033</c:v>
                </c:pt>
                <c:pt idx="13">
                  <c:v>148.84813745314801</c:v>
                </c:pt>
                <c:pt idx="14">
                  <c:v>148.11322145136327</c:v>
                </c:pt>
                <c:pt idx="15">
                  <c:v>147.38576575946257</c:v>
                </c:pt>
                <c:pt idx="16">
                  <c:v>146.66565393649134</c:v>
                </c:pt>
                <c:pt idx="17">
                  <c:v>145.95277185644039</c:v>
                </c:pt>
                <c:pt idx="18">
                  <c:v>145.24700765478622</c:v>
                </c:pt>
                <c:pt idx="19">
                  <c:v>144.54825167635522</c:v>
                </c:pt>
                <c:pt idx="20">
                  <c:v>143.85639642449226</c:v>
                </c:pt>
                <c:pt idx="21">
                  <c:v>142.25366809881456</c:v>
                </c:pt>
                <c:pt idx="22">
                  <c:v>140.67569903336073</c:v>
                </c:pt>
                <c:pt idx="23">
                  <c:v>139.12203816482693</c:v>
                </c:pt>
                <c:pt idx="24">
                  <c:v>137.59224214665775</c:v>
                </c:pt>
                <c:pt idx="25">
                  <c:v>136.08587530483666</c:v>
                </c:pt>
                <c:pt idx="26">
                  <c:v>134.60250958850193</c:v>
                </c:pt>
                <c:pt idx="27">
                  <c:v>133.14172451560097</c:v>
                </c:pt>
                <c:pt idx="28">
                  <c:v>131.70310711380097</c:v>
                </c:pt>
                <c:pt idx="29">
                  <c:v>130.28625185688833</c:v>
                </c:pt>
                <c:pt idx="30">
                  <c:v>128.89076059689762</c:v>
                </c:pt>
                <c:pt idx="31">
                  <c:v>127.51624249221558</c:v>
                </c:pt>
                <c:pt idx="32">
                  <c:v>126.16231393191768</c:v>
                </c:pt>
                <c:pt idx="33">
                  <c:v>124.82859845659029</c:v>
                </c:pt>
                <c:pt idx="34">
                  <c:v>123.51472667590106</c:v>
                </c:pt>
                <c:pt idx="35">
                  <c:v>122.22033618317528</c:v>
                </c:pt>
                <c:pt idx="36">
                  <c:v>120.94507146723794</c:v>
                </c:pt>
                <c:pt idx="37">
                  <c:v>119.68858382178078</c:v>
                </c:pt>
                <c:pt idx="38">
                  <c:v>118.45053125250351</c:v>
                </c:pt>
                <c:pt idx="39">
                  <c:v>117.23057838228057</c:v>
                </c:pt>
                <c:pt idx="40">
                  <c:v>116.02839635459128</c:v>
                </c:pt>
                <c:pt idx="41">
                  <c:v>115.43119970473256</c:v>
                </c:pt>
                <c:pt idx="42">
                  <c:v>114.83876562633711</c:v>
                </c:pt>
                <c:pt idx="43">
                  <c:v>114.25104650336057</c:v>
                </c:pt>
                <c:pt idx="44">
                  <c:v>113.66799525604105</c:v>
                </c:pt>
                <c:pt idx="45">
                  <c:v>113.08956533286192</c:v>
                </c:pt>
                <c:pt idx="46">
                  <c:v>112.51571070261919</c:v>
                </c:pt>
                <c:pt idx="47">
                  <c:v>111.94638584659809</c:v>
                </c:pt>
                <c:pt idx="48">
                  <c:v>111.38154575086685</c:v>
                </c:pt>
                <c:pt idx="49">
                  <c:v>110.82114589868723</c:v>
                </c:pt>
                <c:pt idx="50">
                  <c:v>110.26514226305486</c:v>
                </c:pt>
                <c:pt idx="51">
                  <c:v>109.71349129936098</c:v>
                </c:pt>
                <c:pt idx="52">
                  <c:v>109.16614993819158</c:v>
                </c:pt>
                <c:pt idx="53">
                  <c:v>108.62307557825814</c:v>
                </c:pt>
                <c:pt idx="54">
                  <c:v>108.0842260794663</c:v>
                </c:pt>
                <c:pt idx="55">
                  <c:v>107.5495597561257</c:v>
                </c:pt>
                <c:pt idx="56">
                  <c:v>107.01903537029933</c:v>
                </c:pt>
                <c:pt idx="57">
                  <c:v>106.49261212529795</c:v>
                </c:pt>
                <c:pt idx="58">
                  <c:v>105.9702496593178</c:v>
                </c:pt>
                <c:pt idx="59">
                  <c:v>105.45190803922307</c:v>
                </c:pt>
                <c:pt idx="60">
                  <c:v>104.9375477544753</c:v>
                </c:pt>
                <c:pt idx="61">
                  <c:v>104.51099325007024</c:v>
                </c:pt>
                <c:pt idx="62">
                  <c:v>104.08725712094378</c:v>
                </c:pt>
                <c:pt idx="63">
                  <c:v>103.66631660730104</c:v>
                </c:pt>
                <c:pt idx="64">
                  <c:v>103.2481491575695</c:v>
                </c:pt>
                <c:pt idx="65">
                  <c:v>102.83273242528838</c:v>
                </c:pt>
                <c:pt idx="66">
                  <c:v>102.42004426608591</c:v>
                </c:pt>
                <c:pt idx="67">
                  <c:v>102.0100627347387</c:v>
                </c:pt>
                <c:pt idx="68">
                  <c:v>101.60276608231473</c:v>
                </c:pt>
                <c:pt idx="69">
                  <c:v>101.19813275339393</c:v>
                </c:pt>
                <c:pt idx="70">
                  <c:v>100.79614138337188</c:v>
                </c:pt>
                <c:pt idx="71">
                  <c:v>100.39677079583242</c:v>
                </c:pt>
                <c:pt idx="72">
                  <c:v>100</c:v>
                </c:pt>
                <c:pt idx="73">
                  <c:v>99.605808188261307</c:v>
                </c:pt>
                <c:pt idx="74">
                  <c:v>99.214174733756963</c:v>
                </c:pt>
                <c:pt idx="75">
                  <c:v>98.825079188041713</c:v>
                </c:pt>
                <c:pt idx="76">
                  <c:v>98.438501278810463</c:v>
                </c:pt>
                <c:pt idx="77">
                  <c:v>98.054420907689504</c:v>
                </c:pt>
                <c:pt idx="78">
                  <c:v>97.672818148086719</c:v>
                </c:pt>
                <c:pt idx="79">
                  <c:v>97.293673243106824</c:v>
                </c:pt>
                <c:pt idx="80">
                  <c:v>96.916966603519398</c:v>
                </c:pt>
                <c:pt idx="81">
                  <c:v>96.542678805789606</c:v>
                </c:pt>
                <c:pt idx="82">
                  <c:v>96.170790590158504</c:v>
                </c:pt>
                <c:pt idx="83">
                  <c:v>95.801282858777853</c:v>
                </c:pt>
                <c:pt idx="84">
                  <c:v>95.434136673898777</c:v>
                </c:pt>
                <c:pt idx="85">
                  <c:v>95.06933325610575</c:v>
                </c:pt>
                <c:pt idx="86">
                  <c:v>94.706853982599711</c:v>
                </c:pt>
                <c:pt idx="87">
                  <c:v>94.346680385529822</c:v>
                </c:pt>
                <c:pt idx="88">
                  <c:v>93.988794150364996</c:v>
                </c:pt>
                <c:pt idx="89">
                  <c:v>93.633177114312375</c:v>
                </c:pt>
                <c:pt idx="90">
                  <c:v>93.279811264773954</c:v>
                </c:pt>
                <c:pt idx="91">
                  <c:v>92.928678737843711</c:v>
                </c:pt>
                <c:pt idx="92">
                  <c:v>92.579761816845746</c:v>
                </c:pt>
                <c:pt idx="93">
                  <c:v>92.233042930903181</c:v>
                </c:pt>
                <c:pt idx="94">
                  <c:v>91.888504653547585</c:v>
                </c:pt>
                <c:pt idx="95">
                  <c:v>91.546129701359604</c:v>
                </c:pt>
                <c:pt idx="96">
                  <c:v>91.205900932641796</c:v>
                </c:pt>
                <c:pt idx="97">
                  <c:v>90.867801346126171</c:v>
                </c:pt>
                <c:pt idx="98">
                  <c:v>90.53181407970385</c:v>
                </c:pt>
                <c:pt idx="99">
                  <c:v>90.197922409192046</c:v>
                </c:pt>
                <c:pt idx="100">
                  <c:v>89.866109747123062</c:v>
                </c:pt>
                <c:pt idx="101">
                  <c:v>88.964009321844117</c:v>
                </c:pt>
                <c:pt idx="102">
                  <c:v>88.077695464775616</c:v>
                </c:pt>
                <c:pt idx="103">
                  <c:v>87.206788772119282</c:v>
                </c:pt>
                <c:pt idx="104">
                  <c:v>86.350919846205457</c:v>
                </c:pt>
                <c:pt idx="105">
                  <c:v>85.509729031932878</c:v>
                </c:pt>
                <c:pt idx="106">
                  <c:v>84.682866157071189</c:v>
                </c:pt>
                <c:pt idx="107">
                  <c:v>83.86999027735429</c:v>
                </c:pt>
                <c:pt idx="108">
                  <c:v>83.070769427094248</c:v>
                </c:pt>
                <c:pt idx="109">
                  <c:v>82.284880375865853</c:v>
                </c:pt>
                <c:pt idx="110">
                  <c:v>81.512008391657531</c:v>
                </c:pt>
                <c:pt idx="111">
                  <c:v>80.751847010738928</c:v>
                </c:pt>
                <c:pt idx="112">
                  <c:v>80.004097814384679</c:v>
                </c:pt>
                <c:pt idx="113">
                  <c:v>79.268470212487259</c:v>
                </c:pt>
                <c:pt idx="114">
                  <c:v>78.544681234006731</c:v>
                </c:pt>
                <c:pt idx="115">
                  <c:v>77.832455324139886</c:v>
                </c:pt>
                <c:pt idx="116">
                  <c:v>77.131524148036334</c:v>
                </c:pt>
                <c:pt idx="117">
                  <c:v>76.441626400844669</c:v>
                </c:pt>
                <c:pt idx="118">
                  <c:v>75.762507623840932</c:v>
                </c:pt>
                <c:pt idx="119">
                  <c:v>75.093920026377532</c:v>
                </c:pt>
                <c:pt idx="120">
                  <c:v>74.4356223133669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C$2:$C$122</c:f>
              <c:numCache>
                <c:formatCode>General</c:formatCode>
                <c:ptCount val="121"/>
                <c:pt idx="0">
                  <c:v>117.10171596898169</c:v>
                </c:pt>
                <c:pt idx="1">
                  <c:v>117.06056458304923</c:v>
                </c:pt>
                <c:pt idx="2">
                  <c:v>117.0200825788055</c:v>
                </c:pt>
                <c:pt idx="3">
                  <c:v>116.98025737186222</c:v>
                </c:pt>
                <c:pt idx="4">
                  <c:v>116.94107652125525</c:v>
                </c:pt>
                <c:pt idx="5">
                  <c:v>116.90252773109995</c:v>
                </c:pt>
                <c:pt idx="6">
                  <c:v>116.86459885196778</c:v>
                </c:pt>
                <c:pt idx="7">
                  <c:v>116.82727788200123</c:v>
                </c:pt>
                <c:pt idx="8">
                  <c:v>116.79055296778841</c:v>
                </c:pt>
                <c:pt idx="9">
                  <c:v>116.75441240501752</c:v>
                </c:pt>
                <c:pt idx="10">
                  <c:v>116.7188446389214</c:v>
                </c:pt>
                <c:pt idx="11">
                  <c:v>116.68383826453466</c:v>
                </c:pt>
                <c:pt idx="12">
                  <c:v>116.64938202677131</c:v>
                </c:pt>
                <c:pt idx="13">
                  <c:v>116.61546482034754</c:v>
                </c:pt>
                <c:pt idx="14">
                  <c:v>116.5820756895466</c:v>
                </c:pt>
                <c:pt idx="15">
                  <c:v>116.54920382785434</c:v>
                </c:pt>
                <c:pt idx="16">
                  <c:v>116.51683857746494</c:v>
                </c:pt>
                <c:pt idx="17">
                  <c:v>116.48496942867179</c:v>
                </c:pt>
                <c:pt idx="18">
                  <c:v>116.45358601915625</c:v>
                </c:pt>
                <c:pt idx="19">
                  <c:v>116.42267813317619</c:v>
                </c:pt>
                <c:pt idx="20">
                  <c:v>116.39223570067094</c:v>
                </c:pt>
                <c:pt idx="21">
                  <c:v>115.61757358690627</c:v>
                </c:pt>
                <c:pt idx="22">
                  <c:v>114.85143505783898</c:v>
                </c:pt>
                <c:pt idx="23">
                  <c:v>114.0937191552628</c:v>
                </c:pt>
                <c:pt idx="24">
                  <c:v>113.34432480442453</c:v>
                </c:pt>
                <c:pt idx="25">
                  <c:v>112.60315091357678</c:v>
                </c:pt>
                <c:pt idx="26">
                  <c:v>111.87009646842077</c:v>
                </c:pt>
                <c:pt idx="27">
                  <c:v>111.14506062148047</c:v>
                </c:pt>
                <c:pt idx="28">
                  <c:v>110.42794277646082</c:v>
                </c:pt>
                <c:pt idx="29">
                  <c:v>109.71864266766384</c:v>
                </c:pt>
                <c:pt idx="30">
                  <c:v>109.01706043454504</c:v>
                </c:pt>
                <c:pt idx="31">
                  <c:v>108.32309669150952</c:v>
                </c:pt>
                <c:pt idx="32">
                  <c:v>107.63665259305955</c:v>
                </c:pt>
                <c:pt idx="33">
                  <c:v>106.95762989441124</c:v>
                </c:pt>
                <c:pt idx="34">
                  <c:v>106.28593100771297</c:v>
                </c:pt>
                <c:pt idx="35">
                  <c:v>105.62145905400273</c:v>
                </c:pt>
                <c:pt idx="36">
                  <c:v>104.96411791104825</c:v>
                </c:pt>
                <c:pt idx="37">
                  <c:v>104.31381225722338</c:v>
                </c:pt>
                <c:pt idx="38">
                  <c:v>103.67044761157223</c:v>
                </c:pt>
                <c:pt idx="39">
                  <c:v>103.03393037022018</c:v>
                </c:pt>
                <c:pt idx="40">
                  <c:v>102.40416783928971</c:v>
                </c:pt>
                <c:pt idx="41">
                  <c:v>102.3005818882171</c:v>
                </c:pt>
                <c:pt idx="42">
                  <c:v>102.19686097373778</c:v>
                </c:pt>
                <c:pt idx="43">
                  <c:v>102.09301485575288</c:v>
                </c:pt>
                <c:pt idx="44">
                  <c:v>101.98905307647061</c:v>
                </c:pt>
                <c:pt idx="45">
                  <c:v>101.88498496306926</c:v>
                </c:pt>
                <c:pt idx="46">
                  <c:v>101.78081963027506</c:v>
                </c:pt>
                <c:pt idx="47">
                  <c:v>101.67656598286214</c:v>
                </c:pt>
                <c:pt idx="48">
                  <c:v>101.57223271808493</c:v>
                </c:pt>
                <c:pt idx="49">
                  <c:v>101.46782832804458</c:v>
                </c:pt>
                <c:pt idx="50">
                  <c:v>101.36336110200676</c:v>
                </c:pt>
                <c:pt idx="51">
                  <c:v>101.25883912866369</c:v>
                </c:pt>
                <c:pt idx="52">
                  <c:v>101.15427029836117</c:v>
                </c:pt>
                <c:pt idx="53">
                  <c:v>101.04966230528562</c:v>
                </c:pt>
                <c:pt idx="54">
                  <c:v>100.94502264962462</c:v>
                </c:pt>
                <c:pt idx="55">
                  <c:v>100.84035863970296</c:v>
                </c:pt>
                <c:pt idx="56">
                  <c:v>100.73567739410059</c:v>
                </c:pt>
                <c:pt idx="57">
                  <c:v>100.63098584375771</c:v>
                </c:pt>
                <c:pt idx="58">
                  <c:v>100.5262907340724</c:v>
                </c:pt>
                <c:pt idx="59">
                  <c:v>100.42159862699252</c:v>
                </c:pt>
                <c:pt idx="60">
                  <c:v>100.31691590311087</c:v>
                </c:pt>
                <c:pt idx="61">
                  <c:v>100.29262016830441</c:v>
                </c:pt>
                <c:pt idx="62">
                  <c:v>100.26791095505203</c:v>
                </c:pt>
                <c:pt idx="63">
                  <c:v>100.24279729970775</c:v>
                </c:pt>
                <c:pt idx="64">
                  <c:v>100.21728810489773</c:v>
                </c:pt>
                <c:pt idx="65">
                  <c:v>100.19139214037371</c:v>
                </c:pt>
                <c:pt idx="66">
                  <c:v>100.16511804388142</c:v>
                </c:pt>
                <c:pt idx="67">
                  <c:v>100.1384743220426</c:v>
                </c:pt>
                <c:pt idx="68">
                  <c:v>100.1114693512523</c:v>
                </c:pt>
                <c:pt idx="69">
                  <c:v>100.08411137858957</c:v>
                </c:pt>
                <c:pt idx="70">
                  <c:v>100.05640852274628</c:v>
                </c:pt>
                <c:pt idx="71">
                  <c:v>100.02836877496557</c:v>
                </c:pt>
                <c:pt idx="72">
                  <c:v>100</c:v>
                </c:pt>
                <c:pt idx="73">
                  <c:v>99.971309937081315</c:v>
                </c:pt>
                <c:pt idx="74">
                  <c:v>99.94230620090552</c:v>
                </c:pt>
                <c:pt idx="75">
                  <c:v>99.912996282632818</c:v>
                </c:pt>
                <c:pt idx="76">
                  <c:v>99.88338755090119</c:v>
                </c:pt>
                <c:pt idx="77">
                  <c:v>99.85348725285489</c:v>
                </c:pt>
                <c:pt idx="78">
                  <c:v>99.823302515184437</c:v>
                </c:pt>
                <c:pt idx="79">
                  <c:v>99.792840345182213</c:v>
                </c:pt>
                <c:pt idx="80">
                  <c:v>99.762107631808902</c:v>
                </c:pt>
                <c:pt idx="81">
                  <c:v>99.73111114677512</c:v>
                </c:pt>
                <c:pt idx="82">
                  <c:v>99.699857545632568</c:v>
                </c:pt>
                <c:pt idx="83">
                  <c:v>99.668353368876936</c:v>
                </c:pt>
                <c:pt idx="84">
                  <c:v>99.636605043065657</c:v>
                </c:pt>
                <c:pt idx="85">
                  <c:v>99.60461888194142</c:v>
                </c:pt>
                <c:pt idx="86">
                  <c:v>99.572401087568551</c:v>
                </c:pt>
                <c:pt idx="87">
                  <c:v>99.539957751479989</c:v>
                </c:pt>
                <c:pt idx="88">
                  <c:v>99.507294855830466</c:v>
                </c:pt>
                <c:pt idx="89">
                  <c:v>99.474418274561842</c:v>
                </c:pt>
                <c:pt idx="90">
                  <c:v>99.441333774572868</c:v>
                </c:pt>
                <c:pt idx="91">
                  <c:v>99.408047016898223</c:v>
                </c:pt>
                <c:pt idx="92">
                  <c:v>99.374563557896664</c:v>
                </c:pt>
                <c:pt idx="93">
                  <c:v>99.340888850439939</c:v>
                </c:pt>
                <c:pt idx="94">
                  <c:v>99.307028245112761</c:v>
                </c:pt>
                <c:pt idx="95">
                  <c:v>99.272986991414157</c:v>
                </c:pt>
                <c:pt idx="96">
                  <c:v>99.23877023896523</c:v>
                </c:pt>
                <c:pt idx="97">
                  <c:v>99.204383038722625</c:v>
                </c:pt>
                <c:pt idx="98">
                  <c:v>99.169830344187517</c:v>
                </c:pt>
                <c:pt idx="99">
                  <c:v>99.135117012627717</c:v>
                </c:pt>
                <c:pt idx="100">
                  <c:v>99.100247806295272</c:v>
                </c:pt>
                <c:pt idx="101">
                  <c:v>98.434332139629035</c:v>
                </c:pt>
                <c:pt idx="102">
                  <c:v>97.779277785956992</c:v>
                </c:pt>
                <c:pt idx="103">
                  <c:v>97.13483692717007</c:v>
                </c:pt>
                <c:pt idx="104">
                  <c:v>96.50076733953594</c:v>
                </c:pt>
                <c:pt idx="105">
                  <c:v>95.876832281516954</c:v>
                </c:pt>
                <c:pt idx="106">
                  <c:v>95.262800380217797</c:v>
                </c:pt>
                <c:pt idx="107">
                  <c:v>94.658445517597997</c:v>
                </c:pt>
                <c:pt idx="108">
                  <c:v>94.063546717386771</c:v>
                </c:pt>
                <c:pt idx="109">
                  <c:v>93.477888033456836</c:v>
                </c:pt>
                <c:pt idx="110">
                  <c:v>92.901258440256527</c:v>
                </c:pt>
                <c:pt idx="111">
                  <c:v>92.333451725743572</c:v>
                </c:pt>
                <c:pt idx="112">
                  <c:v>91.774266387150021</c:v>
                </c:pt>
                <c:pt idx="113">
                  <c:v>91.22350552978321</c:v>
                </c:pt>
                <c:pt idx="114">
                  <c:v>90.680976768977942</c:v>
                </c:pt>
                <c:pt idx="115">
                  <c:v>90.146492135234709</c:v>
                </c:pt>
                <c:pt idx="116">
                  <c:v>89.619867982513441</c:v>
                </c:pt>
                <c:pt idx="117">
                  <c:v>89.100924899594688</c:v>
                </c:pt>
                <c:pt idx="118">
                  <c:v>88.589487624381547</c:v>
                </c:pt>
                <c:pt idx="119">
                  <c:v>88.085384960985678</c:v>
                </c:pt>
                <c:pt idx="120">
                  <c:v>87.5884496994148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D$2:$D$122</c:f>
              <c:numCache>
                <c:formatCode>General</c:formatCode>
                <c:ptCount val="121"/>
                <c:pt idx="0">
                  <c:v>57.114289975023723</c:v>
                </c:pt>
                <c:pt idx="1">
                  <c:v>58.220995318350568</c:v>
                </c:pt>
                <c:pt idx="2">
                  <c:v>59.316146561435815</c:v>
                </c:pt>
                <c:pt idx="3">
                  <c:v>60.399931134374718</c:v>
                </c:pt>
                <c:pt idx="4">
                  <c:v>61.472532292223562</c:v>
                </c:pt>
                <c:pt idx="5">
                  <c:v>62.534129225315652</c:v>
                </c:pt>
                <c:pt idx="6">
                  <c:v>63.584897166364904</c:v>
                </c:pt>
                <c:pt idx="7">
                  <c:v>64.62500749444618</c:v>
                </c:pt>
                <c:pt idx="8">
                  <c:v>65.654627835954187</c:v>
                </c:pt>
                <c:pt idx="9">
                  <c:v>66.673922162625644</c:v>
                </c:pt>
                <c:pt idx="10">
                  <c:v>67.683050886714923</c:v>
                </c:pt>
                <c:pt idx="11">
                  <c:v>68.682170953410917</c:v>
                </c:pt>
                <c:pt idx="12">
                  <c:v>69.67143593057348</c:v>
                </c:pt>
                <c:pt idx="13">
                  <c:v>70.650996095880487</c:v>
                </c:pt>
                <c:pt idx="14">
                  <c:v>71.620998521452179</c:v>
                </c:pt>
                <c:pt idx="15">
                  <c:v>72.581587156040996</c:v>
                </c:pt>
                <c:pt idx="16">
                  <c:v>73.532902904853302</c:v>
                </c:pt>
                <c:pt idx="17">
                  <c:v>74.475083707079477</c:v>
                </c:pt>
                <c:pt idx="18">
                  <c:v>75.408264611202682</c:v>
                </c:pt>
                <c:pt idx="19">
                  <c:v>76.33257784815126</c:v>
                </c:pt>
                <c:pt idx="20">
                  <c:v>77.248152902365391</c:v>
                </c:pt>
                <c:pt idx="21">
                  <c:v>77.654174957166248</c:v>
                </c:pt>
                <c:pt idx="22">
                  <c:v>78.045391124330081</c:v>
                </c:pt>
                <c:pt idx="23">
                  <c:v>78.422208527398581</c:v>
                </c:pt>
                <c:pt idx="24">
                  <c:v>78.785022643055584</c:v>
                </c:pt>
                <c:pt idx="25">
                  <c:v>79.134217618975654</c:v>
                </c:pt>
                <c:pt idx="26">
                  <c:v>79.470166586258301</c:v>
                </c:pt>
                <c:pt idx="27">
                  <c:v>79.793231966247831</c:v>
                </c:pt>
                <c:pt idx="28">
                  <c:v>80.103765771566657</c:v>
                </c:pt>
                <c:pt idx="29">
                  <c:v>80.402109901206231</c:v>
                </c:pt>
                <c:pt idx="30">
                  <c:v>80.688596429547403</c:v>
                </c:pt>
                <c:pt idx="31">
                  <c:v>80.963547889199361</c:v>
                </c:pt>
                <c:pt idx="32">
                  <c:v>81.227277547571219</c:v>
                </c:pt>
                <c:pt idx="33">
                  <c:v>81.480089677108253</c:v>
                </c:pt>
                <c:pt idx="34">
                  <c:v>81.722279819145328</c:v>
                </c:pt>
                <c:pt idx="35">
                  <c:v>81.954135041350085</c:v>
                </c:pt>
                <c:pt idx="36">
                  <c:v>82.175934188744151</c:v>
                </c:pt>
                <c:pt idx="37">
                  <c:v>82.387948128309702</c:v>
                </c:pt>
                <c:pt idx="38">
                  <c:v>82.590439987203879</c:v>
                </c:pt>
                <c:pt idx="39">
                  <c:v>82.783665384616427</c:v>
                </c:pt>
                <c:pt idx="40">
                  <c:v>82.967872657319973</c:v>
                </c:pt>
                <c:pt idx="41">
                  <c:v>83.568661894111216</c:v>
                </c:pt>
                <c:pt idx="42">
                  <c:v>84.162306363682845</c:v>
                </c:pt>
                <c:pt idx="43">
                  <c:v>84.748897966335875</c:v>
                </c:pt>
                <c:pt idx="44">
                  <c:v>85.328527309015584</c:v>
                </c:pt>
                <c:pt idx="45">
                  <c:v>85.901283723082315</c:v>
                </c:pt>
                <c:pt idx="46">
                  <c:v>86.467255281733657</c:v>
                </c:pt>
                <c:pt idx="47">
                  <c:v>87.026528817087538</c:v>
                </c:pt>
                <c:pt idx="48">
                  <c:v>87.579189936938988</c:v>
                </c:pt>
                <c:pt idx="49">
                  <c:v>88.125323041198556</c:v>
                </c:pt>
                <c:pt idx="50">
                  <c:v>88.665011338029842</c:v>
                </c:pt>
                <c:pt idx="51">
                  <c:v>89.198336859686449</c:v>
                </c:pt>
                <c:pt idx="52">
                  <c:v>89.725380478070534</c:v>
                </c:pt>
                <c:pt idx="53">
                  <c:v>90.246221920015614</c:v>
                </c:pt>
                <c:pt idx="54">
                  <c:v>90.760939782307474</c:v>
                </c:pt>
                <c:pt idx="55">
                  <c:v>91.269611546455053</c:v>
                </c:pt>
                <c:pt idx="56">
                  <c:v>91.772313593217334</c:v>
                </c:pt>
                <c:pt idx="57">
                  <c:v>92.269121216901468</c:v>
                </c:pt>
                <c:pt idx="58">
                  <c:v>92.760108639438556</c:v>
                </c:pt>
                <c:pt idx="59">
                  <c:v>93.245349024246835</c:v>
                </c:pt>
                <c:pt idx="60">
                  <c:v>93.724914489894999</c:v>
                </c:pt>
                <c:pt idx="61">
                  <c:v>94.274525536999093</c:v>
                </c:pt>
                <c:pt idx="62">
                  <c:v>94.819107742357531</c:v>
                </c:pt>
                <c:pt idx="63">
                  <c:v>95.358715456325356</c:v>
                </c:pt>
                <c:pt idx="64">
                  <c:v>95.89340241201522</c:v>
                </c:pt>
                <c:pt idx="65">
                  <c:v>96.423221731651324</c:v>
                </c:pt>
                <c:pt idx="66">
                  <c:v>96.948225932839591</c:v>
                </c:pt>
                <c:pt idx="67">
                  <c:v>97.468466934755355</c:v>
                </c:pt>
                <c:pt idx="68">
                  <c:v>97.983996064254583</c:v>
                </c:pt>
                <c:pt idx="69">
                  <c:v>98.494864061907677</c:v>
                </c:pt>
                <c:pt idx="70">
                  <c:v>99.001121087965927</c:v>
                </c:pt>
                <c:pt idx="71">
                  <c:v>99.50281672825399</c:v>
                </c:pt>
                <c:pt idx="72">
                  <c:v>100</c:v>
                </c:pt>
                <c:pt idx="73">
                  <c:v>100.49271935759974</c:v>
                </c:pt>
                <c:pt idx="74">
                  <c:v>100.98102269832032</c:v>
                </c:pt>
                <c:pt idx="75">
                  <c:v>101.46495736794554</c:v>
                </c:pt>
                <c:pt idx="76">
                  <c:v>101.94457016636338</c:v>
                </c:pt>
                <c:pt idx="77">
                  <c:v>102.41990735310165</c:v>
                </c:pt>
                <c:pt idx="78">
                  <c:v>102.89101465280646</c:v>
                </c:pt>
                <c:pt idx="79">
                  <c:v>103.35793726067521</c:v>
                </c:pt>
                <c:pt idx="80">
                  <c:v>103.82071984783569</c:v>
                </c:pt>
                <c:pt idx="81">
                  <c:v>104.27940656668284</c:v>
                </c:pt>
                <c:pt idx="82">
                  <c:v>104.73404105616564</c:v>
                </c:pt>
                <c:pt idx="83">
                  <c:v>105.18466644703042</c:v>
                </c:pt>
                <c:pt idx="84">
                  <c:v>105.63132536702429</c:v>
                </c:pt>
                <c:pt idx="85">
                  <c:v>106.0740599460529</c:v>
                </c:pt>
                <c:pt idx="86">
                  <c:v>106.5129118212984</c:v>
                </c:pt>
                <c:pt idx="87">
                  <c:v>106.94792214230119</c:v>
                </c:pt>
                <c:pt idx="88">
                  <c:v>107.3791315759979</c:v>
                </c:pt>
                <c:pt idx="89">
                  <c:v>107.80658031172618</c:v>
                </c:pt>
                <c:pt idx="90">
                  <c:v>108.23030806619025</c:v>
                </c:pt>
                <c:pt idx="91">
                  <c:v>108.65035408838968</c:v>
                </c:pt>
                <c:pt idx="92">
                  <c:v>109.06675716451757</c:v>
                </c:pt>
                <c:pt idx="93">
                  <c:v>109.47955562281702</c:v>
                </c:pt>
                <c:pt idx="94">
                  <c:v>109.88878733840859</c:v>
                </c:pt>
                <c:pt idx="95">
                  <c:v>110.29448973808202</c:v>
                </c:pt>
                <c:pt idx="96">
                  <c:v>110.69669980505465</c:v>
                </c:pt>
                <c:pt idx="97">
                  <c:v>111.09545408369996</c:v>
                </c:pt>
                <c:pt idx="98">
                  <c:v>111.49078868423581</c:v>
                </c:pt>
                <c:pt idx="99">
                  <c:v>111.88273928739044</c:v>
                </c:pt>
                <c:pt idx="100">
                  <c:v>112.27134114903011</c:v>
                </c:pt>
                <c:pt idx="101">
                  <c:v>111.93648526660583</c:v>
                </c:pt>
                <c:pt idx="102">
                  <c:v>111.60556797487506</c:v>
                </c:pt>
                <c:pt idx="103">
                  <c:v>111.27852684382027</c:v>
                </c:pt>
                <c:pt idx="104">
                  <c:v>110.95529878747901</c:v>
                </c:pt>
                <c:pt idx="105">
                  <c:v>110.63582016842463</c:v>
                </c:pt>
                <c:pt idx="106">
                  <c:v>110.32002689319526</c:v>
                </c:pt>
                <c:pt idx="107">
                  <c:v>110.00785450013453</c:v>
                </c:pt>
                <c:pt idx="108">
                  <c:v>109.69923824090226</c:v>
                </c:pt>
                <c:pt idx="109">
                  <c:v>109.39411315673375</c:v>
                </c:pt>
                <c:pt idx="110">
                  <c:v>109.09241415035353</c:v>
                </c:pt>
                <c:pt idx="111">
                  <c:v>108.79407605428391</c:v>
                </c:pt>
                <c:pt idx="112">
                  <c:v>108.49903369615832</c:v>
                </c:pt>
                <c:pt idx="113">
                  <c:v>108.20722196150842</c:v>
                </c:pt>
                <c:pt idx="114">
                  <c:v>107.91857585438582</c:v>
                </c:pt>
                <c:pt idx="115">
                  <c:v>107.6330305560798</c:v>
                </c:pt>
                <c:pt idx="116">
                  <c:v>107.35052148211113</c:v>
                </c:pt>
                <c:pt idx="117">
                  <c:v>107.0709843376051</c:v>
                </c:pt>
                <c:pt idx="118">
                  <c:v>106.79435517109137</c:v>
                </c:pt>
                <c:pt idx="119">
                  <c:v>106.52057042673444</c:v>
                </c:pt>
                <c:pt idx="120">
                  <c:v>106.249566994954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E$2:$E$122</c:f>
              <c:numCache>
                <c:formatCode>General</c:formatCode>
                <c:ptCount val="121"/>
                <c:pt idx="0">
                  <c:v>0.20356772027400122</c:v>
                </c:pt>
                <c:pt idx="1">
                  <c:v>0.20756989253393082</c:v>
                </c:pt>
                <c:pt idx="2">
                  <c:v>0.21153204307126117</c:v>
                </c:pt>
                <c:pt idx="3">
                  <c:v>0.21545476922513557</c:v>
                </c:pt>
                <c:pt idx="4">
                  <c:v>0.21933865650619938</c:v>
                </c:pt>
                <c:pt idx="5">
                  <c:v>0.22318427888794187</c:v>
                </c:pt>
                <c:pt idx="6">
                  <c:v>0.22699219908947182</c:v>
                </c:pt>
                <c:pt idx="7">
                  <c:v>0.23076296885001082</c:v>
                </c:pt>
                <c:pt idx="8">
                  <c:v>0.23449712919539925</c:v>
                </c:pt>
                <c:pt idx="9">
                  <c:v>0.23819521069687086</c:v>
                </c:pt>
                <c:pt idx="10">
                  <c:v>0.24185773372236632</c:v>
                </c:pt>
                <c:pt idx="11">
                  <c:v>0.24548520868063275</c:v>
                </c:pt>
                <c:pt idx="12">
                  <c:v>0.24907813625834399</c:v>
                </c:pt>
                <c:pt idx="13">
                  <c:v>0.25263700765048464</c:v>
                </c:pt>
                <c:pt idx="14">
                  <c:v>0.25616230478420871</c:v>
                </c:pt>
                <c:pt idx="15">
                  <c:v>0.25965450053639555</c:v>
                </c:pt>
                <c:pt idx="16">
                  <c:v>0.26311405894510392</c:v>
                </c:pt>
                <c:pt idx="17">
                  <c:v>0.2665414354151267</c:v>
                </c:pt>
                <c:pt idx="18">
                  <c:v>0.26993707691783442</c:v>
                </c:pt>
                <c:pt idx="19">
                  <c:v>0.27330142218549419</c:v>
                </c:pt>
                <c:pt idx="20">
                  <c:v>0.27663490190023959</c:v>
                </c:pt>
                <c:pt idx="21">
                  <c:v>0.27993793887786417</c:v>
                </c:pt>
                <c:pt idx="22">
                  <c:v>0.2832109482466012</c:v>
                </c:pt>
                <c:pt idx="23">
                  <c:v>0.28645433762105077</c:v>
                </c:pt>
                <c:pt idx="24">
                  <c:v>0.28966850727140647</c:v>
                </c:pt>
                <c:pt idx="25">
                  <c:v>0.29285385028812666</c:v>
                </c:pt>
                <c:pt idx="26">
                  <c:v>0.29601075274219751</c:v>
                </c:pt>
                <c:pt idx="27">
                  <c:v>0.29913959384112104</c:v>
                </c:pt>
                <c:pt idx="28">
                  <c:v>0.30224074608076207</c:v>
                </c:pt>
                <c:pt idx="29">
                  <c:v>0.30531457539318174</c:v>
                </c:pt>
                <c:pt idx="30">
                  <c:v>0.30836144129057991</c:v>
                </c:pt>
                <c:pt idx="31">
                  <c:v>0.31138169700546836</c:v>
                </c:pt>
                <c:pt idx="32">
                  <c:v>0.31437568962718371</c:v>
                </c:pt>
                <c:pt idx="33">
                  <c:v>0.31734376023485827</c:v>
                </c:pt>
                <c:pt idx="34">
                  <c:v>0.32028624402694944</c:v>
                </c:pt>
                <c:pt idx="35">
                  <c:v>0.32320347044743442</c:v>
                </c:pt>
                <c:pt idx="36">
                  <c:v>0.32609576330877033</c:v>
                </c:pt>
                <c:pt idx="37">
                  <c:v>0.32896344091171165</c:v>
                </c:pt>
                <c:pt idx="38">
                  <c:v>0.33180681616208574</c:v>
                </c:pt>
                <c:pt idx="39">
                  <c:v>0.33462619668460847</c:v>
                </c:pt>
                <c:pt idx="40">
                  <c:v>0.33742188493383291</c:v>
                </c:pt>
                <c:pt idx="41">
                  <c:v>0.34019417830231069</c:v>
                </c:pt>
                <c:pt idx="42">
                  <c:v>0.34294336922605095</c:v>
                </c:pt>
                <c:pt idx="43">
                  <c:v>0.34566974528735367</c:v>
                </c:pt>
                <c:pt idx="44">
                  <c:v>0.34837358931509188</c:v>
                </c:pt>
                <c:pt idx="45">
                  <c:v>0.35105517948251946</c:v>
                </c:pt>
                <c:pt idx="46">
                  <c:v>0.35371478940267315</c:v>
                </c:pt>
                <c:pt idx="47">
                  <c:v>0.35635268822143767</c:v>
                </c:pt>
                <c:pt idx="48">
                  <c:v>0.3589691407083424</c:v>
                </c:pt>
                <c:pt idx="49">
                  <c:v>0.36156440734515072</c:v>
                </c:pt>
                <c:pt idx="50">
                  <c:v>0.36413874441230731</c:v>
                </c:pt>
                <c:pt idx="51">
                  <c:v>0.36669240407330228</c:v>
                </c:pt>
                <c:pt idx="52">
                  <c:v>0.36922563445700884</c:v>
                </c:pt>
                <c:pt idx="53">
                  <c:v>0.3717386797380568</c:v>
                </c:pt>
                <c:pt idx="54">
                  <c:v>0.37423178021528669</c:v>
                </c:pt>
                <c:pt idx="55">
                  <c:v>0.37670517238834872</c:v>
                </c:pt>
                <c:pt idx="56">
                  <c:v>0.37915908903248924</c:v>
                </c:pt>
                <c:pt idx="57">
                  <c:v>0.3815937592715774</c:v>
                </c:pt>
                <c:pt idx="58">
                  <c:v>0.38400940864942285</c:v>
                </c:pt>
                <c:pt idx="59">
                  <c:v>0.38640625919942495</c:v>
                </c:pt>
                <c:pt idx="60">
                  <c:v>0.38878452951260556</c:v>
                </c:pt>
                <c:pt idx="61">
                  <c:v>0.39114443480406269</c:v>
                </c:pt>
                <c:pt idx="62">
                  <c:v>0.39348618697789328</c:v>
                </c:pt>
                <c:pt idx="63">
                  <c:v>0.39580999469062167</c:v>
                </c:pt>
                <c:pt idx="64">
                  <c:v>0.3981160634131764</c:v>
                </c:pt>
                <c:pt idx="65">
                  <c:v>0.40040459549145341</c:v>
                </c:pt>
                <c:pt idx="66">
                  <c:v>0.40267579020550082</c:v>
                </c:pt>
                <c:pt idx="67">
                  <c:v>0.4049298438273668</c:v>
                </c:pt>
                <c:pt idx="68">
                  <c:v>0.40716694967763994</c:v>
                </c:pt>
                <c:pt idx="69">
                  <c:v>0.40938729818072006</c:v>
                </c:pt>
                <c:pt idx="70">
                  <c:v>0.41159107691885172</c:v>
                </c:pt>
                <c:pt idx="71">
                  <c:v>0.41377847068495249</c:v>
                </c:pt>
                <c:pt idx="72">
                  <c:v>0.41594966153426755</c:v>
                </c:pt>
                <c:pt idx="73">
                  <c:v>0.41810482883487909</c:v>
                </c:pt>
                <c:pt idx="74">
                  <c:v>0.4202441493171038</c:v>
                </c:pt>
                <c:pt idx="75">
                  <c:v>0.42236779712180306</c:v>
                </c:pt>
                <c:pt idx="76">
                  <c:v>0.42447594384763576</c:v>
                </c:pt>
                <c:pt idx="77">
                  <c:v>0.42656875859728083</c:v>
                </c:pt>
                <c:pt idx="78">
                  <c:v>0.42864640802265302</c:v>
                </c:pt>
                <c:pt idx="79">
                  <c:v>0.43070905636914159</c:v>
                </c:pt>
                <c:pt idx="80">
                  <c:v>0.43275686551889303</c:v>
                </c:pt>
                <c:pt idx="81">
                  <c:v>0.43478999503316218</c:v>
                </c:pt>
                <c:pt idx="82">
                  <c:v>0.436808602193758</c:v>
                </c:pt>
                <c:pt idx="83">
                  <c:v>0.43881284204360232</c:v>
                </c:pt>
                <c:pt idx="84">
                  <c:v>0.44080286742642638</c:v>
                </c:pt>
                <c:pt idx="85">
                  <c:v>0.44277882902562632</c:v>
                </c:pt>
                <c:pt idx="86">
                  <c:v>0.44474087540229656</c:v>
                </c:pt>
                <c:pt idx="87">
                  <c:v>0.44668915303246387</c:v>
                </c:pt>
                <c:pt idx="88">
                  <c:v>0.44862380634353938</c:v>
                </c:pt>
                <c:pt idx="89">
                  <c:v>0.45054497775000779</c:v>
                </c:pt>
                <c:pt idx="90">
                  <c:v>0.45245280768837587</c:v>
                </c:pt>
                <c:pt idx="91">
                  <c:v>0.45434743465139188</c:v>
                </c:pt>
                <c:pt idx="92">
                  <c:v>0.45622899522155924</c:v>
                </c:pt>
                <c:pt idx="93">
                  <c:v>0.4580976241039596</c:v>
                </c:pt>
                <c:pt idx="94">
                  <c:v>0.45995345415839806</c:v>
                </c:pt>
                <c:pt idx="95">
                  <c:v>0.46179661643089492</c:v>
                </c:pt>
                <c:pt idx="96">
                  <c:v>0.46362724018453144</c:v>
                </c:pt>
                <c:pt idx="97">
                  <c:v>0.46544545292966866</c:v>
                </c:pt>
                <c:pt idx="98">
                  <c:v>0.46725138045355491</c:v>
                </c:pt>
                <c:pt idx="99">
                  <c:v>0.46904514684933424</c:v>
                </c:pt>
                <c:pt idx="100">
                  <c:v>0.47082687454447059</c:v>
                </c:pt>
                <c:pt idx="101">
                  <c:v>0.47259668432860286</c:v>
                </c:pt>
                <c:pt idx="102">
                  <c:v>0.4743546953808408</c:v>
                </c:pt>
                <c:pt idx="103">
                  <c:v>0.47610102529651904</c:v>
                </c:pt>
                <c:pt idx="104">
                  <c:v>0.47783579011341798</c:v>
                </c:pt>
                <c:pt idx="105">
                  <c:v>0.47955910433746612</c:v>
                </c:pt>
                <c:pt idx="106">
                  <c:v>0.48127108096793497</c:v>
                </c:pt>
                <c:pt idx="107">
                  <c:v>0.48297183152213852</c:v>
                </c:pt>
                <c:pt idx="108">
                  <c:v>0.48466146605964783</c:v>
                </c:pt>
                <c:pt idx="109">
                  <c:v>0.48634009320603333</c:v>
                </c:pt>
                <c:pt idx="110">
                  <c:v>0.48800782017614353</c:v>
                </c:pt>
                <c:pt idx="111">
                  <c:v>0.48966475279693272</c:v>
                </c:pt>
                <c:pt idx="112">
                  <c:v>0.49131099552984592</c:v>
                </c:pt>
                <c:pt idx="113">
                  <c:v>0.4929466514927725</c:v>
                </c:pt>
                <c:pt idx="114">
                  <c:v>0.49457182248157755</c:v>
                </c:pt>
                <c:pt idx="115">
                  <c:v>0.49618660899122119</c:v>
                </c:pt>
                <c:pt idx="116">
                  <c:v>0.4977911102364721</c:v>
                </c:pt>
                <c:pt idx="117">
                  <c:v>0.49938542417222942</c:v>
                </c:pt>
                <c:pt idx="118">
                  <c:v>0.50096964751345641</c:v>
                </c:pt>
                <c:pt idx="119">
                  <c:v>0.50254387575473891</c:v>
                </c:pt>
                <c:pt idx="120">
                  <c:v>0.5041082031894723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Ruinart Brut (étui) 750ml (1.2%)</c:v>
                </c:pt>
                <c:pt idx="4">
                  <c:v>Champagne Bollinger Special Cuvée Brut 750ml (1.2%)</c:v>
                </c:pt>
                <c:pt idx="5">
                  <c:v>Champagne Ayala Brut Majeur 750ml (1.7%)</c:v>
                </c:pt>
                <c:pt idx="6">
                  <c:v>Champagne Ruinart Blanc de Blancs (étui) 750ml (0.8%)</c:v>
                </c:pt>
                <c:pt idx="7">
                  <c:v>Champagne Perrier-Jouët Blanc Grand Brut 750ml (0.9%)</c:v>
                </c:pt>
                <c:pt idx="8">
                  <c:v>Champagne Deutz Brut Classique 1500ml (0.6%)</c:v>
                </c:pt>
                <c:pt idx="9">
                  <c:v>Champagne E.Nicolas Brut 750ml (11.6%)</c:v>
                </c:pt>
              </c:strCache>
            </c:strRef>
          </c:cat>
          <c:val>
            <c:numRef>
              <c:f>Sheet1!$B$2:$B$11</c:f>
              <c:numCache>
                <c:formatCode>General</c:formatCode>
                <c:ptCount val="10"/>
                <c:pt idx="0">
                  <c:v>0.11528572274869822</c:v>
                </c:pt>
                <c:pt idx="1">
                  <c:v>6.4241330306527913E-2</c:v>
                </c:pt>
                <c:pt idx="2">
                  <c:v>5.0624355067709563E-2</c:v>
                </c:pt>
                <c:pt idx="3">
                  <c:v>4.7598386278016554E-2</c:v>
                </c:pt>
                <c:pt idx="4">
                  <c:v>4.3331998702782155E-2</c:v>
                </c:pt>
                <c:pt idx="5">
                  <c:v>4.085702748912521E-2</c:v>
                </c:pt>
                <c:pt idx="6">
                  <c:v>3.607540302158662E-2</c:v>
                </c:pt>
                <c:pt idx="7">
                  <c:v>3.482804945252331E-2</c:v>
                </c:pt>
                <c:pt idx="8">
                  <c:v>3.406161955569522E-2</c:v>
                </c:pt>
                <c:pt idx="9">
                  <c:v>3.03256233583112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Bollinger Special Cuvée Brut 750ml (1.2%)</c:v>
                </c:pt>
                <c:pt idx="5">
                  <c:v>Champagne Ayala Brut Majeur 750ml (1.7%)</c:v>
                </c:pt>
                <c:pt idx="6">
                  <c:v>Champagne Taittinger Prestige Brut 1500ml (0.5%)</c:v>
                </c:pt>
                <c:pt idx="7">
                  <c:v>Champagne Ruinart Blanc de Blancs (étui) 750ml (0.8%)</c:v>
                </c:pt>
                <c:pt idx="8">
                  <c:v>Champagne Deutz Brut Classique 1500ml (0.6%)</c:v>
                </c:pt>
                <c:pt idx="9">
                  <c:v>Champagne Laurent-Perrier Blanc La Cuvée 1500ml (0.8%)</c:v>
                </c:pt>
              </c:strCache>
            </c:strRef>
          </c:cat>
          <c:val>
            <c:numRef>
              <c:f>Sheet1!$B$2:$B$11</c:f>
              <c:numCache>
                <c:formatCode>General</c:formatCode>
                <c:ptCount val="10"/>
                <c:pt idx="0">
                  <c:v>0.13393464639438724</c:v>
                </c:pt>
                <c:pt idx="1">
                  <c:v>5.8928925408825474E-2</c:v>
                </c:pt>
                <c:pt idx="2">
                  <c:v>5.3346702969790785E-2</c:v>
                </c:pt>
                <c:pt idx="3">
                  <c:v>5.2676401145375758E-2</c:v>
                </c:pt>
                <c:pt idx="4">
                  <c:v>3.9044929057378275E-2</c:v>
                </c:pt>
                <c:pt idx="5">
                  <c:v>3.8024402285689721E-2</c:v>
                </c:pt>
                <c:pt idx="6">
                  <c:v>3.6556266386361953E-2</c:v>
                </c:pt>
                <c:pt idx="7">
                  <c:v>3.6251477962510055E-2</c:v>
                </c:pt>
                <c:pt idx="8">
                  <c:v>3.4999430366019213E-2</c:v>
                </c:pt>
                <c:pt idx="9">
                  <c:v>3.45199224076280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lanc de Blancs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4.95</c:v>
                </c:pt>
                <c:pt idx="1">
                  <c:v>49.95</c:v>
                </c:pt>
                <c:pt idx="2">
                  <c:v>54.95</c:v>
                </c:pt>
                <c:pt idx="3">
                  <c:v>59</c:v>
                </c:pt>
                <c:pt idx="4">
                  <c:v>65</c:v>
                </c:pt>
              </c:numCache>
            </c:numRef>
          </c:xVal>
          <c:yVal>
            <c:numRef>
              <c:f>Sheet1!$B$2:$B$6</c:f>
              <c:numCache>
                <c:formatCode>General</c:formatCode>
                <c:ptCount val="5"/>
                <c:pt idx="0">
                  <c:v>0.67059357024778465</c:v>
                </c:pt>
                <c:pt idx="1">
                  <c:v>0.3059613581997257</c:v>
                </c:pt>
                <c:pt idx="2">
                  <c:v>0</c:v>
                </c:pt>
                <c:pt idx="3">
                  <c:v>-0.11715968840596978</c:v>
                </c:pt>
                <c:pt idx="4">
                  <c:v>-0.322943176764443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c:v>
                </c:pt>
                <c:pt idx="1">
                  <c:v>85</c:v>
                </c:pt>
                <c:pt idx="2">
                  <c:v>95</c:v>
                </c:pt>
                <c:pt idx="3">
                  <c:v>99</c:v>
                </c:pt>
                <c:pt idx="4">
                  <c:v>109</c:v>
                </c:pt>
              </c:numCache>
            </c:numRef>
          </c:xVal>
          <c:yVal>
            <c:numRef>
              <c:f>Sheet1!$B$9:$B$13</c:f>
              <c:numCache>
                <c:formatCode>General</c:formatCode>
                <c:ptCount val="5"/>
                <c:pt idx="0">
                  <c:v>0.54161403083769577</c:v>
                </c:pt>
                <c:pt idx="1">
                  <c:v>0.26388823499392011</c:v>
                </c:pt>
                <c:pt idx="2">
                  <c:v>0</c:v>
                </c:pt>
                <c:pt idx="3">
                  <c:v>-9.7389249660484803E-2</c:v>
                </c:pt>
                <c:pt idx="4">
                  <c:v>-0.227889280884314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lanc de Blancs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c:v>
                </c:pt>
                <c:pt idx="1">
                  <c:v>89</c:v>
                </c:pt>
                <c:pt idx="2">
                  <c:v>99</c:v>
                </c:pt>
                <c:pt idx="3">
                  <c:v>109</c:v>
                </c:pt>
                <c:pt idx="4">
                  <c:v>119</c:v>
                </c:pt>
              </c:numCache>
            </c:numRef>
          </c:xVal>
          <c:yVal>
            <c:numRef>
              <c:f>Sheet1!$B$16:$B$20</c:f>
              <c:numCache>
                <c:formatCode>General</c:formatCode>
                <c:ptCount val="5"/>
                <c:pt idx="0">
                  <c:v>0.51131509921304963</c:v>
                </c:pt>
                <c:pt idx="1">
                  <c:v>0.26243794520772679</c:v>
                </c:pt>
                <c:pt idx="2">
                  <c:v>0</c:v>
                </c:pt>
                <c:pt idx="3">
                  <c:v>-0.1185159213497797</c:v>
                </c:pt>
                <c:pt idx="4">
                  <c:v>-0.2553456737630774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
          <c:min val="44.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69.73675603656179</c:v>
                </c:pt>
                <c:pt idx="1">
                  <c:v>165.22885230058975</c:v>
                </c:pt>
                <c:pt idx="2">
                  <c:v>160.9332225967083</c:v>
                </c:pt>
                <c:pt idx="3">
                  <c:v>156.83574682806986</c:v>
                </c:pt>
                <c:pt idx="4">
                  <c:v>152.92355469861798</c:v>
                </c:pt>
                <c:pt idx="5">
                  <c:v>149.18488984006979</c:v>
                </c:pt>
                <c:pt idx="6">
                  <c:v>145.60899066518314</c:v>
                </c:pt>
                <c:pt idx="7">
                  <c:v>142.18598575237561</c:v>
                </c:pt>
                <c:pt idx="8">
                  <c:v>138.90680185852506</c:v>
                </c:pt>
                <c:pt idx="9">
                  <c:v>135.76308291198228</c:v>
                </c:pt>
                <c:pt idx="10">
                  <c:v>132.64904318341607</c:v>
                </c:pt>
                <c:pt idx="11">
                  <c:v>128.82025563660673</c:v>
                </c:pt>
                <c:pt idx="12">
                  <c:v>125.18447410896698</c:v>
                </c:pt>
                <c:pt idx="13">
                  <c:v>121.72664275904729</c:v>
                </c:pt>
                <c:pt idx="14">
                  <c:v>118.43338439942931</c:v>
                </c:pt>
                <c:pt idx="15">
                  <c:v>115.29276997121747</c:v>
                </c:pt>
                <c:pt idx="16">
                  <c:v>112.29412264924194</c:v>
                </c:pt>
                <c:pt idx="17">
                  <c:v>109.42785119682476</c:v>
                </c:pt>
                <c:pt idx="18">
                  <c:v>106.6853080632909</c:v>
                </c:pt>
                <c:pt idx="19">
                  <c:v>104.05866842482121</c:v>
                </c:pt>
                <c:pt idx="20">
                  <c:v>101.62306653176667</c:v>
                </c:pt>
                <c:pt idx="21">
                  <c:v>100</c:v>
                </c:pt>
                <c:pt idx="22">
                  <c:v>98.421528140057802</c:v>
                </c:pt>
                <c:pt idx="23">
                  <c:v>96.885710171107334</c:v>
                </c:pt>
                <c:pt idx="24">
                  <c:v>95.390721468942914</c:v>
                </c:pt>
                <c:pt idx="25">
                  <c:v>93.934845690000657</c:v>
                </c:pt>
                <c:pt idx="26">
                  <c:v>92.516467354844607</c:v>
                </c:pt>
                <c:pt idx="27">
                  <c:v>91.134064892366865</c:v>
                </c:pt>
                <c:pt idx="28">
                  <c:v>89.786204137916869</c:v>
                </c:pt>
                <c:pt idx="29">
                  <c:v>87.712801740050139</c:v>
                </c:pt>
                <c:pt idx="30">
                  <c:v>85.70707109680572</c:v>
                </c:pt>
                <c:pt idx="31">
                  <c:v>83.76620834699942</c:v>
                </c:pt>
                <c:pt idx="32">
                  <c:v>81.8875529151385</c:v>
                </c:pt>
                <c:pt idx="33">
                  <c:v>80.068578596427997</c:v>
                </c:pt>
                <c:pt idx="34">
                  <c:v>78.30688529373559</c:v>
                </c:pt>
                <c:pt idx="35">
                  <c:v>76.600191353952312</c:v>
                </c:pt>
                <c:pt idx="36">
                  <c:v>74.946326455446567</c:v>
                </c:pt>
                <c:pt idx="37">
                  <c:v>73.343225002292272</c:v>
                </c:pt>
                <c:pt idx="38">
                  <c:v>71.78891998463655</c:v>
                </c:pt>
                <c:pt idx="39">
                  <c:v>70.281537267973832</c:v>
                </c:pt>
                <c:pt idx="40">
                  <c:v>68.8192902772392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37.54259411733989</c:v>
                </c:pt>
                <c:pt idx="1">
                  <c:v>135.3817971266046</c:v>
                </c:pt>
                <c:pt idx="2">
                  <c:v>133.3153218764183</c:v>
                </c:pt>
                <c:pt idx="3">
                  <c:v>131.33711044903663</c:v>
                </c:pt>
                <c:pt idx="4">
                  <c:v>129.44165048724565</c:v>
                </c:pt>
                <c:pt idx="5">
                  <c:v>127.62391573195411</c:v>
                </c:pt>
                <c:pt idx="6">
                  <c:v>125.87931360450155</c:v>
                </c:pt>
                <c:pt idx="7">
                  <c:v>124.20363898228865</c:v>
                </c:pt>
                <c:pt idx="8">
                  <c:v>122.59303341381008</c:v>
                </c:pt>
                <c:pt idx="9">
                  <c:v>121.04394910801999</c:v>
                </c:pt>
                <c:pt idx="10">
                  <c:v>119.46500104465483</c:v>
                </c:pt>
                <c:pt idx="11">
                  <c:v>117.18142635424374</c:v>
                </c:pt>
                <c:pt idx="12">
                  <c:v>115.00582131422871</c:v>
                </c:pt>
                <c:pt idx="13">
                  <c:v>112.92947279566259</c:v>
                </c:pt>
                <c:pt idx="14">
                  <c:v>110.94469234329432</c:v>
                </c:pt>
                <c:pt idx="15">
                  <c:v>109.04467461486847</c:v>
                </c:pt>
                <c:pt idx="16">
                  <c:v>107.2233762748433</c:v>
                </c:pt>
                <c:pt idx="17">
                  <c:v>105.47541236807803</c:v>
                </c:pt>
                <c:pt idx="18">
                  <c:v>103.79596765621369</c:v>
                </c:pt>
                <c:pt idx="19">
                  <c:v>102.18072076485424</c:v>
                </c:pt>
                <c:pt idx="20">
                  <c:v>100.70705954973494</c:v>
                </c:pt>
                <c:pt idx="21">
                  <c:v>100</c:v>
                </c:pt>
                <c:pt idx="22">
                  <c:v>99.308685781996786</c:v>
                </c:pt>
                <c:pt idx="23">
                  <c:v>98.632346938164588</c:v>
                </c:pt>
                <c:pt idx="24">
                  <c:v>97.970262817176348</c:v>
                </c:pt>
                <c:pt idx="25">
                  <c:v>97.321759148867443</c:v>
                </c:pt>
                <c:pt idx="26">
                  <c:v>96.686205173981648</c:v>
                </c:pt>
                <c:pt idx="27">
                  <c:v>96.063010858868026</c:v>
                </c:pt>
                <c:pt idx="28">
                  <c:v>95.451624216848387</c:v>
                </c:pt>
                <c:pt idx="29">
                  <c:v>94.039995363119218</c:v>
                </c:pt>
                <c:pt idx="30">
                  <c:v>92.664058433540291</c:v>
                </c:pt>
                <c:pt idx="31">
                  <c:v>91.322590902506533</c:v>
                </c:pt>
                <c:pt idx="32">
                  <c:v>90.01442644335232</c:v>
                </c:pt>
                <c:pt idx="33">
                  <c:v>88.738451517704249</c:v>
                </c:pt>
                <c:pt idx="34">
                  <c:v>87.493602210359313</c:v>
                </c:pt>
                <c:pt idx="35">
                  <c:v>86.278861291670111</c:v>
                </c:pt>
                <c:pt idx="36">
                  <c:v>85.093255490468238</c:v>
                </c:pt>
                <c:pt idx="37">
                  <c:v>83.935852961627376</c:v>
                </c:pt>
                <c:pt idx="38">
                  <c:v>82.805760933416494</c:v>
                </c:pt>
                <c:pt idx="39">
                  <c:v>81.702123520820507</c:v>
                </c:pt>
                <c:pt idx="40">
                  <c:v>80.6241196919967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87.075803671532341</c:v>
                </c:pt>
                <c:pt idx="1">
                  <c:v>88.594923003145837</c:v>
                </c:pt>
                <c:pt idx="2">
                  <c:v>90.023706620243161</c:v>
                </c:pt>
                <c:pt idx="3">
                  <c:v>91.36869655356945</c:v>
                </c:pt>
                <c:pt idx="4">
                  <c:v>92.635882126985678</c:v>
                </c:pt>
                <c:pt idx="5">
                  <c:v>93.830759415186122</c:v>
                </c:pt>
                <c:pt idx="6">
                  <c:v>94.958382703833792</c:v>
                </c:pt>
                <c:pt idx="7">
                  <c:v>96.023409185006798</c:v>
                </c:pt>
                <c:pt idx="8">
                  <c:v>97.030137917432739</c:v>
                </c:pt>
                <c:pt idx="9">
                  <c:v>97.982543912101775</c:v>
                </c:pt>
                <c:pt idx="10">
                  <c:v>98.811250991958929</c:v>
                </c:pt>
                <c:pt idx="11">
                  <c:v>98.946531329138608</c:v>
                </c:pt>
                <c:pt idx="12">
                  <c:v>99.056953993725472</c:v>
                </c:pt>
                <c:pt idx="13">
                  <c:v>99.143683899437121</c:v>
                </c:pt>
                <c:pt idx="14">
                  <c:v>99.207895521106707</c:v>
                </c:pt>
                <c:pt idx="15">
                  <c:v>99.250769086758339</c:v>
                </c:pt>
                <c:pt idx="16">
                  <c:v>99.273485309273866</c:v>
                </c:pt>
                <c:pt idx="17">
                  <c:v>99.277219397321844</c:v>
                </c:pt>
                <c:pt idx="18">
                  <c:v>99.263134900405802</c:v>
                </c:pt>
                <c:pt idx="19">
                  <c:v>99.232377781376826</c:v>
                </c:pt>
                <c:pt idx="20">
                  <c:v>99.266403398436537</c:v>
                </c:pt>
                <c:pt idx="21">
                  <c:v>100</c:v>
                </c:pt>
                <c:pt idx="22">
                  <c:v>100.70394683504146</c:v>
                </c:pt>
                <c:pt idx="23">
                  <c:v>101.37931559159283</c:v>
                </c:pt>
                <c:pt idx="24">
                  <c:v>102.0271221667316</c:v>
                </c:pt>
                <c:pt idx="25">
                  <c:v>102.64833152851259</c:v>
                </c:pt>
                <c:pt idx="26">
                  <c:v>103.24386199476845</c:v>
                </c:pt>
                <c:pt idx="27">
                  <c:v>103.81458900478665</c:v>
                </c:pt>
                <c:pt idx="28">
                  <c:v>104.36134845076191</c:v>
                </c:pt>
                <c:pt idx="29">
                  <c:v>103.98544795997127</c:v>
                </c:pt>
                <c:pt idx="30">
                  <c:v>103.59517774932084</c:v>
                </c:pt>
                <c:pt idx="31">
                  <c:v>103.19179170789037</c:v>
                </c:pt>
                <c:pt idx="32">
                  <c:v>102.77646347273705</c:v>
                </c:pt>
                <c:pt idx="33">
                  <c:v>102.35029164715861</c:v>
                </c:pt>
                <c:pt idx="34">
                  <c:v>101.91430462701827</c:v>
                </c:pt>
                <c:pt idx="35">
                  <c:v>101.46946507133651</c:v>
                </c:pt>
                <c:pt idx="36">
                  <c:v>101.01667404934555</c:v>
                </c:pt>
                <c:pt idx="37">
                  <c:v>100.55677489270506</c:v>
                </c:pt>
                <c:pt idx="38">
                  <c:v>100.09055677848741</c:v>
                </c:pt>
                <c:pt idx="39">
                  <c:v>99.618758065829155</c:v>
                </c:pt>
                <c:pt idx="40">
                  <c:v>99.1420694067655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4579546862265714</c:v>
                </c:pt>
                <c:pt idx="1">
                  <c:v>0.25408343050592463</c:v>
                </c:pt>
                <c:pt idx="2">
                  <c:v>0.26219121930477324</c:v>
                </c:pt>
                <c:pt idx="3">
                  <c:v>0.27012464705418432</c:v>
                </c:pt>
                <c:pt idx="4">
                  <c:v>0.27788927846850148</c:v>
                </c:pt>
                <c:pt idx="5">
                  <c:v>0.28549044395830681</c:v>
                </c:pt>
                <c:pt idx="6">
                  <c:v>0.29293325183374097</c:v>
                </c:pt>
                <c:pt idx="7">
                  <c:v>0.30022259975298088</c:v>
                </c:pt>
                <c:pt idx="8">
                  <c:v>0.30736318546978719</c:v>
                </c:pt>
                <c:pt idx="9">
                  <c:v>0.31435951692968828</c:v>
                </c:pt>
                <c:pt idx="10">
                  <c:v>0.32121592176039143</c:v>
                </c:pt>
                <c:pt idx="11">
                  <c:v>0.32793655619840734</c:v>
                </c:pt>
                <c:pt idx="12">
                  <c:v>0.33452541349057985</c:v>
                </c:pt>
                <c:pt idx="13">
                  <c:v>0.3409863318062053</c:v>
                </c:pt>
                <c:pt idx="14">
                  <c:v>0.34732300169268404</c:v>
                </c:pt>
                <c:pt idx="15">
                  <c:v>0.35353897310513471</c:v>
                </c:pt>
                <c:pt idx="16">
                  <c:v>0.3596376620381051</c:v>
                </c:pt>
                <c:pt idx="17">
                  <c:v>0.36562235678541255</c:v>
                </c:pt>
                <c:pt idx="18">
                  <c:v>0.37149622385221426</c:v>
                </c:pt>
                <c:pt idx="19">
                  <c:v>0.37726231354164347</c:v>
                </c:pt>
                <c:pt idx="20">
                  <c:v>0.3829235652367195</c:v>
                </c:pt>
                <c:pt idx="21">
                  <c:v>0.38848281239674903</c:v>
                </c:pt>
                <c:pt idx="22">
                  <c:v>0.39394278728606369</c:v>
                </c:pt>
                <c:pt idx="23">
                  <c:v>0.39930612545167382</c:v>
                </c:pt>
                <c:pt idx="24">
                  <c:v>0.40457536996525556</c:v>
                </c:pt>
                <c:pt idx="25">
                  <c:v>0.40975297544381861</c:v>
                </c:pt>
                <c:pt idx="26">
                  <c:v>0.41484131186240636</c:v>
                </c:pt>
                <c:pt idx="27">
                  <c:v>0.41984266817127469</c:v>
                </c:pt>
                <c:pt idx="28">
                  <c:v>0.42475925572914525</c:v>
                </c:pt>
                <c:pt idx="29">
                  <c:v>0.42959321156335417</c:v>
                </c:pt>
                <c:pt idx="30">
                  <c:v>0.43434660146699283</c:v>
                </c:pt>
                <c:pt idx="31">
                  <c:v>0.43902142294247221</c:v>
                </c:pt>
                <c:pt idx="32">
                  <c:v>0.4436196080003208</c:v>
                </c:pt>
                <c:pt idx="33">
                  <c:v>0.44814302582145643</c:v>
                </c:pt>
                <c:pt idx="34">
                  <c:v>0.45259348529063814</c:v>
                </c:pt>
                <c:pt idx="35">
                  <c:v>0.45697273740831307</c:v>
                </c:pt>
                <c:pt idx="36">
                  <c:v>0.46128247758761215</c:v>
                </c:pt>
                <c:pt idx="37">
                  <c:v>0.46552434784282798</c:v>
                </c:pt>
                <c:pt idx="38">
                  <c:v>0.4696999388753057</c:v>
                </c:pt>
                <c:pt idx="39">
                  <c:v>0.47381079206231896</c:v>
                </c:pt>
                <c:pt idx="40">
                  <c:v>0.477858401354147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Prosecco Carlo V Cuvée Del Imperator 750ml (5.4%)</c:v>
                </c:pt>
                <c:pt idx="4">
                  <c:v>Champagne Laurent-Perrier Blanc La Cuvée 750ml (2.7%)</c:v>
                </c:pt>
                <c:pt idx="5">
                  <c:v>Champagne Vranken Demoiselle Rosé Prestige 750ml (2.0%)</c:v>
                </c:pt>
                <c:pt idx="6">
                  <c:v>Champagne Veuve Clicquot Réserve Cuvée 750ml (1.7%)</c:v>
                </c:pt>
                <c:pt idx="7">
                  <c:v>Champagne Ayala Brut Majeur 750ml (1.7%)</c:v>
                </c:pt>
                <c:pt idx="8">
                  <c:v>Champagne Bollinger Special Cuvée Brut 750ml (1.2%)</c:v>
                </c:pt>
                <c:pt idx="9">
                  <c:v>Champagne Malard Brut 1er Cru 750ml (4.1%)</c:v>
                </c:pt>
              </c:strCache>
            </c:strRef>
          </c:cat>
          <c:val>
            <c:numRef>
              <c:f>Sheet1!$B$2:$B$11</c:f>
              <c:numCache>
                <c:formatCode>General</c:formatCode>
                <c:ptCount val="10"/>
                <c:pt idx="0">
                  <c:v>8.7457703535329445E-2</c:v>
                </c:pt>
                <c:pt idx="1">
                  <c:v>5.7030350551866976E-2</c:v>
                </c:pt>
                <c:pt idx="2">
                  <c:v>4.284197892731708E-2</c:v>
                </c:pt>
                <c:pt idx="3">
                  <c:v>3.9128695744963762E-2</c:v>
                </c:pt>
                <c:pt idx="4">
                  <c:v>3.5251698314332475E-2</c:v>
                </c:pt>
                <c:pt idx="5">
                  <c:v>3.3229994946551808E-2</c:v>
                </c:pt>
                <c:pt idx="6">
                  <c:v>3.1058017307385371E-2</c:v>
                </c:pt>
                <c:pt idx="7">
                  <c:v>2.795620755217686E-2</c:v>
                </c:pt>
                <c:pt idx="8">
                  <c:v>2.6987625725356564E-2</c:v>
                </c:pt>
                <c:pt idx="9">
                  <c:v>2.687965909490152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Ruinart Blanc de Blancs 750ml (2.0%)</c:v>
                </c:pt>
                <c:pt idx="3">
                  <c:v>Champagne Vranken Demoiselle Rosé Prestige 750ml (2.0%)</c:v>
                </c:pt>
                <c:pt idx="4">
                  <c:v>Champagne Deutz Brut Classique 750ml (3.4%)</c:v>
                </c:pt>
                <c:pt idx="5">
                  <c:v>Champagne Bollinger Special Cuvée Brut 750ml (1.2%)</c:v>
                </c:pt>
                <c:pt idx="6">
                  <c:v>Prosecco Carlo V Cuvée Del Imperator 750ml (5.4%)</c:v>
                </c:pt>
                <c:pt idx="7">
                  <c:v>Champagne Laurent-Perrier Blanc La Cuvée 750ml (2.7%)</c:v>
                </c:pt>
                <c:pt idx="8">
                  <c:v>Champagne Veuve Clicquot Réserve Cuvée 750ml (1.7%)</c:v>
                </c:pt>
                <c:pt idx="9">
                  <c:v>Champagne Malard Brut 1er Cru 750ml (4.1%)</c:v>
                </c:pt>
              </c:strCache>
            </c:strRef>
          </c:cat>
          <c:val>
            <c:numRef>
              <c:f>Sheet1!$B$2:$B$11</c:f>
              <c:numCache>
                <c:formatCode>General</c:formatCode>
                <c:ptCount val="10"/>
                <c:pt idx="0">
                  <c:v>0.10655480177736701</c:v>
                </c:pt>
                <c:pt idx="1">
                  <c:v>4.859308854458088E-2</c:v>
                </c:pt>
                <c:pt idx="2">
                  <c:v>4.5359389017027366E-2</c:v>
                </c:pt>
                <c:pt idx="3">
                  <c:v>4.0962423495481563E-2</c:v>
                </c:pt>
                <c:pt idx="4">
                  <c:v>3.3966237263532768E-2</c:v>
                </c:pt>
                <c:pt idx="5">
                  <c:v>3.3517455558834341E-2</c:v>
                </c:pt>
                <c:pt idx="6">
                  <c:v>3.3229465116547334E-2</c:v>
                </c:pt>
                <c:pt idx="7">
                  <c:v>2.7573136380168974E-2</c:v>
                </c:pt>
                <c:pt idx="8">
                  <c:v>2.6313503419851326E-2</c:v>
                </c:pt>
                <c:pt idx="9">
                  <c:v>2.194019115488895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B$2:$B$70</c:f>
              <c:numCache>
                <c:formatCode>General</c:formatCode>
                <c:ptCount val="69"/>
                <c:pt idx="0">
                  <c:v>144.35502604664291</c:v>
                </c:pt>
                <c:pt idx="1">
                  <c:v>142.66692914227764</c:v>
                </c:pt>
                <c:pt idx="2">
                  <c:v>141.00978764510845</c:v>
                </c:pt>
                <c:pt idx="3">
                  <c:v>139.38333668799839</c:v>
                </c:pt>
                <c:pt idx="4">
                  <c:v>137.78724893641819</c:v>
                </c:pt>
                <c:pt idx="5">
                  <c:v>136.22113760269977</c:v>
                </c:pt>
                <c:pt idx="6">
                  <c:v>134.68456079724984</c:v>
                </c:pt>
                <c:pt idx="7">
                  <c:v>133.17702691885168</c:v>
                </c:pt>
                <c:pt idx="8">
                  <c:v>131.69800078120193</c:v>
                </c:pt>
                <c:pt idx="9">
                  <c:v>130.47820392239814</c:v>
                </c:pt>
                <c:pt idx="10">
                  <c:v>129.27672256179216</c:v>
                </c:pt>
                <c:pt idx="11">
                  <c:v>128.09324743563892</c:v>
                </c:pt>
                <c:pt idx="12">
                  <c:v>126.92746799148379</c:v>
                </c:pt>
                <c:pt idx="13">
                  <c:v>125.77907308821207</c:v>
                </c:pt>
                <c:pt idx="14">
                  <c:v>124.64775166519769</c:v>
                </c:pt>
                <c:pt idx="15">
                  <c:v>123.53319337542099</c:v>
                </c:pt>
                <c:pt idx="16">
                  <c:v>122.43508917885234</c:v>
                </c:pt>
                <c:pt idx="17">
                  <c:v>121.35313189367074</c:v>
                </c:pt>
                <c:pt idx="18">
                  <c:v>120.2870167039824</c:v>
                </c:pt>
                <c:pt idx="19">
                  <c:v>119.23644162363718</c:v>
                </c:pt>
                <c:pt idx="20">
                  <c:v>118.20110791652245</c:v>
                </c:pt>
                <c:pt idx="21">
                  <c:v>117.18072047432828</c:v>
                </c:pt>
                <c:pt idx="22">
                  <c:v>116.17498815326792</c:v>
                </c:pt>
                <c:pt idx="23">
                  <c:v>115.18362407158914</c:v>
                </c:pt>
                <c:pt idx="24">
                  <c:v>114.20634586996312</c:v>
                </c:pt>
                <c:pt idx="25">
                  <c:v>113.24287593700211</c:v>
                </c:pt>
                <c:pt idx="26">
                  <c:v>112.29294160221703</c:v>
                </c:pt>
                <c:pt idx="27">
                  <c:v>111.35627529874981</c:v>
                </c:pt>
                <c:pt idx="28">
                  <c:v>110.43261469817523</c:v>
                </c:pt>
                <c:pt idx="29">
                  <c:v>108.85739035155619</c:v>
                </c:pt>
                <c:pt idx="30">
                  <c:v>107.31064777368414</c:v>
                </c:pt>
                <c:pt idx="31">
                  <c:v>105.79222524492491</c:v>
                </c:pt>
                <c:pt idx="32">
                  <c:v>104.30200960784821</c:v>
                </c:pt>
                <c:pt idx="33">
                  <c:v>102.83992688765373</c:v>
                </c:pt>
                <c:pt idx="34">
                  <c:v>101.40593231378563</c:v>
                </c:pt>
                <c:pt idx="35">
                  <c:v>100</c:v>
                </c:pt>
                <c:pt idx="36">
                  <c:v>98.622112562772259</c:v>
                </c:pt>
                <c:pt idx="37">
                  <c:v>97.272250966350882</c:v>
                </c:pt>
                <c:pt idx="38">
                  <c:v>95.950384876232249</c:v>
                </c:pt>
                <c:pt idx="39">
                  <c:v>94.656463781750176</c:v>
                </c:pt>
                <c:pt idx="40">
                  <c:v>93.390409114433353</c:v>
                </c:pt>
                <c:pt idx="41">
                  <c:v>92.152107544294225</c:v>
                </c:pt>
                <c:pt idx="42">
                  <c:v>90.941405584491548</c:v>
                </c:pt>
                <c:pt idx="43">
                  <c:v>89.758105579420317</c:v>
                </c:pt>
                <c:pt idx="44">
                  <c:v>88.601963095810305</c:v>
                </c:pt>
                <c:pt idx="45">
                  <c:v>87.472685684163181</c:v>
                </c:pt>
                <c:pt idx="46">
                  <c:v>86.369932931563838</c:v>
                </c:pt>
                <c:pt idx="47">
                  <c:v>85.293317688608923</c:v>
                </c:pt>
                <c:pt idx="48">
                  <c:v>84.242408324158632</c:v>
                </c:pt>
                <c:pt idx="49">
                  <c:v>83.578454524804144</c:v>
                </c:pt>
                <c:pt idx="50">
                  <c:v>82.92026162876077</c:v>
                </c:pt>
                <c:pt idx="51">
                  <c:v>82.26779135031353</c:v>
                </c:pt>
                <c:pt idx="52">
                  <c:v>81.621005922176707</c:v>
                </c:pt>
                <c:pt idx="53">
                  <c:v>80.979868410968365</c:v>
                </c:pt>
                <c:pt idx="54">
                  <c:v>80.344343029475908</c:v>
                </c:pt>
                <c:pt idx="55">
                  <c:v>79.714395440625978</c:v>
                </c:pt>
                <c:pt idx="56">
                  <c:v>79.089993047917162</c:v>
                </c:pt>
                <c:pt idx="57">
                  <c:v>78.471105267009278</c:v>
                </c:pt>
                <c:pt idx="58">
                  <c:v>77.857703773191602</c:v>
                </c:pt>
                <c:pt idx="59">
                  <c:v>77.24976271959288</c:v>
                </c:pt>
                <c:pt idx="60">
                  <c:v>76.647258921257446</c:v>
                </c:pt>
                <c:pt idx="61">
                  <c:v>76.050172000597541</c:v>
                </c:pt>
                <c:pt idx="62">
                  <c:v>75.458484490247201</c:v>
                </c:pt>
                <c:pt idx="63">
                  <c:v>74.872181889975266</c:v>
                </c:pt>
                <c:pt idx="64">
                  <c:v>74.291252675084806</c:v>
                </c:pt>
                <c:pt idx="65">
                  <c:v>73.715688254576747</c:v>
                </c:pt>
                <c:pt idx="66">
                  <c:v>73.14548287831569</c:v>
                </c:pt>
                <c:pt idx="67">
                  <c:v>72.580633493453959</c:v>
                </c:pt>
                <c:pt idx="68">
                  <c:v>72.021139551422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C$2:$C$70</c:f>
              <c:numCache>
                <c:formatCode>General</c:formatCode>
                <c:ptCount val="69"/>
                <c:pt idx="0">
                  <c:v>117.51269534224321</c:v>
                </c:pt>
                <c:pt idx="1">
                  <c:v>116.89240748193474</c:v>
                </c:pt>
                <c:pt idx="2">
                  <c:v>116.28009781563129</c:v>
                </c:pt>
                <c:pt idx="3">
                  <c:v>115.67601400036173</c:v>
                </c:pt>
                <c:pt idx="4">
                  <c:v>115.08034751109464</c:v>
                </c:pt>
                <c:pt idx="5">
                  <c:v>114.49323455100075</c:v>
                </c:pt>
                <c:pt idx="6">
                  <c:v>113.91475815815875</c:v>
                </c:pt>
                <c:pt idx="7">
                  <c:v>113.34495130766457</c:v>
                </c:pt>
                <c:pt idx="8">
                  <c:v>112.78380079199766</c:v>
                </c:pt>
                <c:pt idx="9">
                  <c:v>112.42625633396595</c:v>
                </c:pt>
                <c:pt idx="10">
                  <c:v>112.07190577863402</c:v>
                </c:pt>
                <c:pt idx="11">
                  <c:v>111.72076108993414</c:v>
                </c:pt>
                <c:pt idx="12">
                  <c:v>111.37282695999615</c:v>
                </c:pt>
                <c:pt idx="13">
                  <c:v>111.02810138093182</c:v>
                </c:pt>
                <c:pt idx="14">
                  <c:v>110.6865762105222</c:v>
                </c:pt>
                <c:pt idx="15">
                  <c:v>110.34823772628893</c:v>
                </c:pt>
                <c:pt idx="16">
                  <c:v>110.01306716347679</c:v>
                </c:pt>
                <c:pt idx="17">
                  <c:v>109.68104123344841</c:v>
                </c:pt>
                <c:pt idx="18">
                  <c:v>109.35213261985962</c:v>
                </c:pt>
                <c:pt idx="19">
                  <c:v>109.026310450769</c:v>
                </c:pt>
                <c:pt idx="20">
                  <c:v>108.70354074550849</c:v>
                </c:pt>
                <c:pt idx="21">
                  <c:v>108.38378683571679</c:v>
                </c:pt>
                <c:pt idx="22">
                  <c:v>108.06700976041294</c:v>
                </c:pt>
                <c:pt idx="23">
                  <c:v>107.75316863537128</c:v>
                </c:pt>
                <c:pt idx="24">
                  <c:v>107.44222099735457</c:v>
                </c:pt>
                <c:pt idx="25">
                  <c:v>107.13412312399855</c:v>
                </c:pt>
                <c:pt idx="26">
                  <c:v>106.82883033028415</c:v>
                </c:pt>
                <c:pt idx="27">
                  <c:v>106.52629724264646</c:v>
                </c:pt>
                <c:pt idx="28">
                  <c:v>106.22647805182137</c:v>
                </c:pt>
                <c:pt idx="29">
                  <c:v>105.30282367802117</c:v>
                </c:pt>
                <c:pt idx="30">
                  <c:v>104.39002209957123</c:v>
                </c:pt>
                <c:pt idx="31">
                  <c:v>103.48835388453877</c:v>
                </c:pt>
                <c:pt idx="32">
                  <c:v>102.59814370988782</c:v>
                </c:pt>
                <c:pt idx="33">
                  <c:v>101.7197525567144</c:v>
                </c:pt>
                <c:pt idx="34">
                  <c:v>100.85356902556369</c:v>
                </c:pt>
                <c:pt idx="35">
                  <c:v>100</c:v>
                </c:pt>
                <c:pt idx="36">
                  <c:v>99.15946091989845</c:v>
                </c:pt>
                <c:pt idx="37">
                  <c:v>98.332365946328977</c:v>
                </c:pt>
                <c:pt idx="38">
                  <c:v>97.519118305895816</c:v>
                </c:pt>
                <c:pt idx="39">
                  <c:v>96.720101093567862</c:v>
                </c:pt>
                <c:pt idx="40">
                  <c:v>95.935668790188572</c:v>
                </c:pt>
                <c:pt idx="41">
                  <c:v>95.166139715814282</c:v>
                </c:pt>
                <c:pt idx="42">
                  <c:v>94.411789595494966</c:v>
                </c:pt>
                <c:pt idx="43">
                  <c:v>93.672846363298547</c:v>
                </c:pt>
                <c:pt idx="44">
                  <c:v>92.949486276794744</c:v>
                </c:pt>
                <c:pt idx="45">
                  <c:v>92.241831361219553</c:v>
                </c:pt>
                <c:pt idx="46">
                  <c:v>91.549948153172537</c:v>
                </c:pt>
                <c:pt idx="47">
                  <c:v>90.873847670398504</c:v>
                </c:pt>
                <c:pt idx="48">
                  <c:v>90.213486498723796</c:v>
                </c:pt>
                <c:pt idx="49">
                  <c:v>89.94861831570303</c:v>
                </c:pt>
                <c:pt idx="50">
                  <c:v>89.683026496084068</c:v>
                </c:pt>
                <c:pt idx="51">
                  <c:v>89.41675814501987</c:v>
                </c:pt>
                <c:pt idx="52">
                  <c:v>89.149860143231962</c:v>
                </c:pt>
                <c:pt idx="53">
                  <c:v>88.882379498706342</c:v>
                </c:pt>
                <c:pt idx="54">
                  <c:v>88.614363704643495</c:v>
                </c:pt>
                <c:pt idx="55">
                  <c:v>88.345861098076057</c:v>
                </c:pt>
                <c:pt idx="56">
                  <c:v>88.076921213195575</c:v>
                </c:pt>
                <c:pt idx="57">
                  <c:v>87.807595123139151</c:v>
                </c:pt>
                <c:pt idx="58">
                  <c:v>87.537935763797066</c:v>
                </c:pt>
                <c:pt idx="59">
                  <c:v>87.267998233139963</c:v>
                </c:pt>
                <c:pt idx="60">
                  <c:v>86.997840059634399</c:v>
                </c:pt>
                <c:pt idx="61">
                  <c:v>86.727521433541938</c:v>
                </c:pt>
                <c:pt idx="62">
                  <c:v>86.457105395281587</c:v>
                </c:pt>
                <c:pt idx="63">
                  <c:v>86.186657975572942</c:v>
                </c:pt>
                <c:pt idx="64">
                  <c:v>85.916248282802954</c:v>
                </c:pt>
                <c:pt idx="65">
                  <c:v>85.645948533909262</c:v>
                </c:pt>
                <c:pt idx="66">
                  <c:v>85.375834026086466</c:v>
                </c:pt>
                <c:pt idx="67">
                  <c:v>85.10598304774669</c:v>
                </c:pt>
                <c:pt idx="68">
                  <c:v>84.8364767283804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D$2:$D$70</c:f>
              <c:numCache>
                <c:formatCode>General</c:formatCode>
                <c:ptCount val="69"/>
                <c:pt idx="0">
                  <c:v>72.517752879978275</c:v>
                </c:pt>
                <c:pt idx="1">
                  <c:v>73.698217169761023</c:v>
                </c:pt>
                <c:pt idx="2">
                  <c:v>74.847108414104028</c:v>
                </c:pt>
                <c:pt idx="3">
                  <c:v>75.965602663739816</c:v>
                </c:pt>
                <c:pt idx="4">
                  <c:v>77.054825971814211</c:v>
                </c:pt>
                <c:pt idx="5">
                  <c:v>78.115851681483377</c:v>
                </c:pt>
                <c:pt idx="6">
                  <c:v>79.14969875634489</c:v>
                </c:pt>
                <c:pt idx="7">
                  <c:v>80.157331107484154</c:v>
                </c:pt>
                <c:pt idx="8">
                  <c:v>81.139657833966169</c:v>
                </c:pt>
                <c:pt idx="9">
                  <c:v>82.243323871390544</c:v>
                </c:pt>
                <c:pt idx="10">
                  <c:v>83.324107940661193</c:v>
                </c:pt>
                <c:pt idx="11">
                  <c:v>84.382587561206009</c:v>
                </c:pt>
                <c:pt idx="12">
                  <c:v>85.41932179627203</c:v>
                </c:pt>
                <c:pt idx="13">
                  <c:v>86.434851642379613</c:v>
                </c:pt>
                <c:pt idx="14">
                  <c:v>87.42970045682425</c:v>
                </c:pt>
                <c:pt idx="15">
                  <c:v>88.404374416477978</c:v>
                </c:pt>
                <c:pt idx="16">
                  <c:v>89.359363001602759</c:v>
                </c:pt>
                <c:pt idx="17">
                  <c:v>90.29513949891161</c:v>
                </c:pt>
                <c:pt idx="18">
                  <c:v>91.212161518668722</c:v>
                </c:pt>
                <c:pt idx="19">
                  <c:v>92.110871521189068</c:v>
                </c:pt>
                <c:pt idx="20">
                  <c:v>92.991697348665127</c:v>
                </c:pt>
                <c:pt idx="21">
                  <c:v>93.855052758786627</c:v>
                </c:pt>
                <c:pt idx="22">
                  <c:v>94.701337957129098</c:v>
                </c:pt>
                <c:pt idx="23">
                  <c:v>95.530940125749126</c:v>
                </c:pt>
                <c:pt idx="24">
                  <c:v>96.344233945844209</c:v>
                </c:pt>
                <c:pt idx="25">
                  <c:v>97.141582112712115</c:v>
                </c:pt>
                <c:pt idx="26">
                  <c:v>97.923335841557218</c:v>
                </c:pt>
                <c:pt idx="27">
                  <c:v>98.689835362970342</c:v>
                </c:pt>
                <c:pt idx="28">
                  <c:v>99.441410407139983</c:v>
                </c:pt>
                <c:pt idx="29">
                  <c:v>99.570740860399269</c:v>
                </c:pt>
                <c:pt idx="30">
                  <c:v>99.681734007664019</c:v>
                </c:pt>
                <c:pt idx="31">
                  <c:v>99.775452220044684</c:v>
                </c:pt>
                <c:pt idx="32">
                  <c:v>99.852995161868876</c:v>
                </c:pt>
                <c:pt idx="33">
                  <c:v>99.915494130209865</c:v>
                </c:pt>
                <c:pt idx="34">
                  <c:v>99.96410500394353</c:v>
                </c:pt>
                <c:pt idx="35">
                  <c:v>100</c:v>
                </c:pt>
                <c:pt idx="36">
                  <c:v>100.02435848668252</c:v>
                </c:pt>
                <c:pt idx="37">
                  <c:v>100.03835714442179</c:v>
                </c:pt>
                <c:pt idx="38">
                  <c:v>100.04315979031708</c:v>
                </c:pt>
                <c:pt idx="39">
                  <c:v>100.03990719258726</c:v>
                </c:pt>
                <c:pt idx="40">
                  <c:v>100.02970719424668</c:v>
                </c:pt>
                <c:pt idx="41">
                  <c:v>100.01362544281717</c:v>
                </c:pt>
                <c:pt idx="42">
                  <c:v>99.992676986739326</c:v>
                </c:pt>
                <c:pt idx="43">
                  <c:v>99.96781895229428</c:v>
                </c:pt>
                <c:pt idx="44">
                  <c:v>99.939944460813422</c:v>
                </c:pt>
                <c:pt idx="45">
                  <c:v>99.909877888500972</c:v>
                </c:pt>
                <c:pt idx="46">
                  <c:v>99.878371513942014</c:v>
                </c:pt>
                <c:pt idx="47">
                  <c:v>99.846103544561288</c:v>
                </c:pt>
                <c:pt idx="48">
                  <c:v>99.813677465556836</c:v>
                </c:pt>
                <c:pt idx="49">
                  <c:v>100.2153488068392</c:v>
                </c:pt>
                <c:pt idx="50">
                  <c:v>100.60512902670318</c:v>
                </c:pt>
                <c:pt idx="51">
                  <c:v>100.98321686167095</c:v>
                </c:pt>
                <c:pt idx="52">
                  <c:v>101.34980951456272</c:v>
                </c:pt>
                <c:pt idx="53">
                  <c:v>101.70510308756617</c:v>
                </c:pt>
                <c:pt idx="54">
                  <c:v>102.04929303814525</c:v>
                </c:pt>
                <c:pt idx="55">
                  <c:v>102.38257465093126</c:v>
                </c:pt>
                <c:pt idx="56">
                  <c:v>102.70514351796879</c:v>
                </c:pt>
                <c:pt idx="57">
                  <c:v>103.01719601899934</c:v>
                </c:pt>
                <c:pt idx="58">
                  <c:v>103.31892979290514</c:v>
                </c:pt>
                <c:pt idx="59">
                  <c:v>103.61054419102356</c:v>
                </c:pt>
                <c:pt idx="60">
                  <c:v>103.89224070280794</c:v>
                </c:pt>
                <c:pt idx="61">
                  <c:v>104.1642233442919</c:v>
                </c:pt>
                <c:pt idx="62">
                  <c:v>104.42669900000861</c:v>
                </c:pt>
                <c:pt idx="63">
                  <c:v>104.67987770945555</c:v>
                </c:pt>
                <c:pt idx="64">
                  <c:v>104.92397288989575</c:v>
                </c:pt>
                <c:pt idx="65">
                  <c:v>105.15920148821267</c:v>
                </c:pt>
                <c:pt idx="66">
                  <c:v>105.38578405571974</c:v>
                </c:pt>
                <c:pt idx="67">
                  <c:v>105.60394474122089</c:v>
                </c:pt>
                <c:pt idx="68">
                  <c:v>105.813911199196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E$2:$E$70</c:f>
              <c:numCache>
                <c:formatCode>General</c:formatCode>
                <c:ptCount val="69"/>
                <c:pt idx="0">
                  <c:v>0.23554358704667777</c:v>
                </c:pt>
                <c:pt idx="1">
                  <c:v>0.24060621229802429</c:v>
                </c:pt>
                <c:pt idx="2">
                  <c:v>0.24560222405922141</c:v>
                </c:pt>
                <c:pt idx="3">
                  <c:v>0.25053292847713499</c:v>
                </c:pt>
                <c:pt idx="4">
                  <c:v>0.25539959777273813</c:v>
                </c:pt>
                <c:pt idx="5">
                  <c:v>0.2602034713354946</c:v>
                </c:pt>
                <c:pt idx="6">
                  <c:v>0.2649457567756518</c:v>
                </c:pt>
                <c:pt idx="7">
                  <c:v>0.26962763093631648</c:v>
                </c:pt>
                <c:pt idx="8">
                  <c:v>0.27425024086709915</c:v>
                </c:pt>
                <c:pt idx="9">
                  <c:v>0.27881470476101672</c:v>
                </c:pt>
                <c:pt idx="10">
                  <c:v>0.28332211285626036</c:v>
                </c:pt>
                <c:pt idx="11">
                  <c:v>0.28777352830435821</c:v>
                </c:pt>
                <c:pt idx="12">
                  <c:v>0.29216998800618316</c:v>
                </c:pt>
                <c:pt idx="13">
                  <c:v>0.2965125034171881</c:v>
                </c:pt>
                <c:pt idx="14">
                  <c:v>0.30080206132318094</c:v>
                </c:pt>
                <c:pt idx="15">
                  <c:v>0.30503962458788886</c:v>
                </c:pt>
                <c:pt idx="16">
                  <c:v>0.30922613287350403</c:v>
                </c:pt>
                <c:pt idx="17">
                  <c:v>0.31336250333533938</c:v>
                </c:pt>
                <c:pt idx="18">
                  <c:v>0.31744963129167653</c:v>
                </c:pt>
                <c:pt idx="19">
                  <c:v>0.32148839086983239</c:v>
                </c:pt>
                <c:pt idx="20">
                  <c:v>0.32547963562942162</c:v>
                </c:pt>
                <c:pt idx="21">
                  <c:v>0.32942419916375248</c:v>
                </c:pt>
                <c:pt idx="22">
                  <c:v>0.33332289568024237</c:v>
                </c:pt>
                <c:pt idx="23">
                  <c:v>0.33717652056070324</c:v>
                </c:pt>
                <c:pt idx="24">
                  <c:v>0.34098585090230843</c:v>
                </c:pt>
                <c:pt idx="25">
                  <c:v>0.34475164604000957</c:v>
                </c:pt>
                <c:pt idx="26">
                  <c:v>0.34847464805114586</c:v>
                </c:pt>
                <c:pt idx="27">
                  <c:v>0.3521555822429473</c:v>
                </c:pt>
                <c:pt idx="28">
                  <c:v>0.35579515762360486</c:v>
                </c:pt>
                <c:pt idx="29">
                  <c:v>0.35939406735755119</c:v>
                </c:pt>
                <c:pt idx="30">
                  <c:v>0.36295298920556474</c:v>
                </c:pt>
                <c:pt idx="31">
                  <c:v>0.36647258595028537</c:v>
                </c:pt>
                <c:pt idx="32">
                  <c:v>0.36995350580770148</c:v>
                </c:pt>
                <c:pt idx="33">
                  <c:v>0.37339638282514576</c:v>
                </c:pt>
                <c:pt idx="34">
                  <c:v>0.37680183726631344</c:v>
                </c:pt>
                <c:pt idx="35">
                  <c:v>0.38017047598379278</c:v>
                </c:pt>
                <c:pt idx="36">
                  <c:v>0.38350289277957894</c:v>
                </c:pt>
                <c:pt idx="37">
                  <c:v>0.38679966875401967</c:v>
                </c:pt>
                <c:pt idx="38">
                  <c:v>0.39006137264362589</c:v>
                </c:pt>
                <c:pt idx="39">
                  <c:v>0.39328856114815691</c:v>
                </c:pt>
                <c:pt idx="40">
                  <c:v>0.39648177924737721</c:v>
                </c:pt>
                <c:pt idx="41">
                  <c:v>0.39964156050786226</c:v>
                </c:pt>
                <c:pt idx="42">
                  <c:v>0.40276842738021701</c:v>
                </c:pt>
                <c:pt idx="43">
                  <c:v>0.40586289148705529</c:v>
                </c:pt>
                <c:pt idx="44">
                  <c:v>0.40892545390207047</c:v>
                </c:pt>
                <c:pt idx="45">
                  <c:v>0.41195660542052137</c:v>
                </c:pt>
                <c:pt idx="46">
                  <c:v>0.41495682682143709</c:v>
                </c:pt>
                <c:pt idx="47">
                  <c:v>0.41792658912183595</c:v>
                </c:pt>
                <c:pt idx="48">
                  <c:v>0.42086635382324084</c:v>
                </c:pt>
                <c:pt idx="49">
                  <c:v>0.42377657315076217</c:v>
                </c:pt>
                <c:pt idx="50">
                  <c:v>0.42665769028500844</c:v>
                </c:pt>
                <c:pt idx="51">
                  <c:v>0.42951013958707301</c:v>
                </c:pt>
                <c:pt idx="52">
                  <c:v>0.43233434681684002</c:v>
                </c:pt>
                <c:pt idx="53">
                  <c:v>0.43513072934483576</c:v>
                </c:pt>
                <c:pt idx="54">
                  <c:v>0.43789969635785142</c:v>
                </c:pt>
                <c:pt idx="55">
                  <c:v>0.44064164905854469</c:v>
                </c:pt>
                <c:pt idx="56">
                  <c:v>0.44335698085923148</c:v>
                </c:pt>
                <c:pt idx="57">
                  <c:v>0.44604607757005643</c:v>
                </c:pt>
                <c:pt idx="58">
                  <c:v>0.44870931758173882</c:v>
                </c:pt>
                <c:pt idx="59">
                  <c:v>0.45134707204307029</c:v>
                </c:pt>
                <c:pt idx="60">
                  <c:v>0.45395970503334121</c:v>
                </c:pt>
                <c:pt idx="61">
                  <c:v>0.45654757372986576</c:v>
                </c:pt>
                <c:pt idx="62">
                  <c:v>0.45911102857076258</c:v>
                </c:pt>
                <c:pt idx="63">
                  <c:v>0.46165041341315338</c:v>
                </c:pt>
                <c:pt idx="64">
                  <c:v>0.46416606568692365</c:v>
                </c:pt>
                <c:pt idx="65">
                  <c:v>0.46665831654419376</c:v>
                </c:pt>
                <c:pt idx="66">
                  <c:v>0.46912749100463735</c:v>
                </c:pt>
                <c:pt idx="67">
                  <c:v>0.4715739080967819</c:v>
                </c:pt>
                <c:pt idx="68">
                  <c:v>0.473997880995420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rut (étui) 750ml (1.2%)</c:v>
                </c:pt>
                <c:pt idx="2">
                  <c:v>Champagne Ruinart Blanc de Blancs (étui) 750ml (0.8%)</c:v>
                </c:pt>
                <c:pt idx="3">
                  <c:v>Champagne Vranken Demoiselle Rosé Prestige 750ml (2.0%)</c:v>
                </c:pt>
                <c:pt idx="4">
                  <c:v>Champagne Ruinart Rosé 750ml (0.5%)</c:v>
                </c:pt>
                <c:pt idx="5">
                  <c:v>Champagne Bollinger Special Cuvée Brut 750ml (1.2%)</c:v>
                </c:pt>
                <c:pt idx="6">
                  <c:v>Champagne Deutz Brut Classique 750ml (3.4%)</c:v>
                </c:pt>
                <c:pt idx="7">
                  <c:v>Mousseux French Bloom Blanc Bio Sans Alcool 750ml (0.7%)</c:v>
                </c:pt>
                <c:pt idx="8">
                  <c:v>Champagne Laurent-Perrier Blanc La Cuvée 750ml (2.7%)</c:v>
                </c:pt>
                <c:pt idx="9">
                  <c:v>Champagne E.Nicolas Brut 750ml (11.6%)</c:v>
                </c:pt>
              </c:strCache>
            </c:strRef>
          </c:cat>
          <c:val>
            <c:numRef>
              <c:f>Sheet1!$B$2:$B$11</c:f>
              <c:numCache>
                <c:formatCode>General</c:formatCode>
                <c:ptCount val="10"/>
                <c:pt idx="0">
                  <c:v>0.3638516358569171</c:v>
                </c:pt>
                <c:pt idx="1">
                  <c:v>5.7691968828543341E-2</c:v>
                </c:pt>
                <c:pt idx="2">
                  <c:v>4.259665158920635E-2</c:v>
                </c:pt>
                <c:pt idx="3">
                  <c:v>3.4365940085654356E-2</c:v>
                </c:pt>
                <c:pt idx="4">
                  <c:v>3.3496463920284686E-2</c:v>
                </c:pt>
                <c:pt idx="5">
                  <c:v>3.189422040855322E-2</c:v>
                </c:pt>
                <c:pt idx="6">
                  <c:v>2.8597450310831867E-2</c:v>
                </c:pt>
                <c:pt idx="7">
                  <c:v>2.4086644233654642E-2</c:v>
                </c:pt>
                <c:pt idx="8">
                  <c:v>2.3338024660770958E-2</c:v>
                </c:pt>
                <c:pt idx="9">
                  <c:v>2.132903609878289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Muré (1.3%)</c:v>
                </c:pt>
                <c:pt idx="6">
                  <c:v>Bouvet Ladubay (1.5%)</c:v>
                </c:pt>
                <c:pt idx="7">
                  <c:v>Dea Augusta (0.5%)</c:v>
                </c:pt>
                <c:pt idx="8">
                  <c:v>Malard (6.0%)</c:v>
                </c:pt>
                <c:pt idx="9">
                  <c:v>Château Moncontour  (1.5%)</c:v>
                </c:pt>
              </c:strCache>
            </c:strRef>
          </c:cat>
          <c:val>
            <c:numRef>
              <c:f>Sheet1!$B$2:$B$11</c:f>
              <c:numCache>
                <c:formatCode>General</c:formatCode>
                <c:ptCount val="10"/>
                <c:pt idx="0">
                  <c:v>0.1858212047852085</c:v>
                </c:pt>
                <c:pt idx="1">
                  <c:v>0.10252329552290761</c:v>
                </c:pt>
                <c:pt idx="2">
                  <c:v>9.465470448423087E-2</c:v>
                </c:pt>
                <c:pt idx="3">
                  <c:v>8.8903040882694004E-2</c:v>
                </c:pt>
                <c:pt idx="4">
                  <c:v>8.0317881860156981E-2</c:v>
                </c:pt>
                <c:pt idx="5">
                  <c:v>4.9888354902022911E-2</c:v>
                </c:pt>
                <c:pt idx="6">
                  <c:v>4.2815350705144556E-2</c:v>
                </c:pt>
                <c:pt idx="7">
                  <c:v>3.5749353223466208E-2</c:v>
                </c:pt>
                <c:pt idx="8">
                  <c:v>3.3310856112800796E-2</c:v>
                </c:pt>
                <c:pt idx="9">
                  <c:v>3.25715422087514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étui) 750ml (0.8%)</c:v>
                </c:pt>
                <c:pt idx="2">
                  <c:v>Champagne Ruinart Brut (étui) 750ml (1.2%)</c:v>
                </c:pt>
                <c:pt idx="3">
                  <c:v>Champagne Ruinart Rosé 750ml (0.5%)</c:v>
                </c:pt>
                <c:pt idx="4">
                  <c:v>Mousseux French Bloom Blanc Bio Sans Alcool 750ml (0.7%)</c:v>
                </c:pt>
                <c:pt idx="5">
                  <c:v>Champagne Bollinger Special Cuvée Brut 750ml (1.2%)</c:v>
                </c:pt>
                <c:pt idx="6">
                  <c:v>Champagne Vranken Demoiselle Rosé Prestige 750ml (2.0%)</c:v>
                </c:pt>
                <c:pt idx="7">
                  <c:v>Champagne E.Nicolas Brut 750ml (11.6%)</c:v>
                </c:pt>
                <c:pt idx="8">
                  <c:v>Champagne Deutz Brut Classique 750ml (3.4%)</c:v>
                </c:pt>
                <c:pt idx="9">
                  <c:v>Champagne Laurent-Perrier Blanc La Cuvée 750ml (2.7%)</c:v>
                </c:pt>
              </c:strCache>
            </c:strRef>
          </c:cat>
          <c:val>
            <c:numRef>
              <c:f>Sheet1!$B$2:$B$11</c:f>
              <c:numCache>
                <c:formatCode>General</c:formatCode>
                <c:ptCount val="10"/>
                <c:pt idx="0">
                  <c:v>0.34108137538671435</c:v>
                </c:pt>
                <c:pt idx="1">
                  <c:v>6.4742440302839127E-2</c:v>
                </c:pt>
                <c:pt idx="2">
                  <c:v>5.423761286005456E-2</c:v>
                </c:pt>
                <c:pt idx="3">
                  <c:v>4.6390477777297344E-2</c:v>
                </c:pt>
                <c:pt idx="4">
                  <c:v>4.1840353020408373E-2</c:v>
                </c:pt>
                <c:pt idx="5">
                  <c:v>3.3456923420458376E-2</c:v>
                </c:pt>
                <c:pt idx="6">
                  <c:v>3.1489464003262309E-2</c:v>
                </c:pt>
                <c:pt idx="7">
                  <c:v>2.3813940075453233E-2</c:v>
                </c:pt>
                <c:pt idx="8">
                  <c:v>2.0368251772682734E-2</c:v>
                </c:pt>
                <c:pt idx="9">
                  <c:v>1.761902550644696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43.27950192323885</c:v>
                </c:pt>
                <c:pt idx="1">
                  <c:v>141.88445492720311</c:v>
                </c:pt>
                <c:pt idx="2">
                  <c:v>140.51554500628012</c:v>
                </c:pt>
                <c:pt idx="3">
                  <c:v>139.17212272301404</c:v>
                </c:pt>
                <c:pt idx="4">
                  <c:v>137.85355402361432</c:v>
                </c:pt>
                <c:pt idx="5">
                  <c:v>136.55922015138688</c:v>
                </c:pt>
                <c:pt idx="6">
                  <c:v>135.28851753534835</c:v>
                </c:pt>
                <c:pt idx="7">
                  <c:v>134.0408576562354</c:v>
                </c:pt>
                <c:pt idx="8">
                  <c:v>132.81566689188807</c:v>
                </c:pt>
                <c:pt idx="9">
                  <c:v>131.61238634384014</c:v>
                </c:pt>
                <c:pt idx="10">
                  <c:v>130.43047164676838</c:v>
                </c:pt>
                <c:pt idx="11">
                  <c:v>129.26939276237849</c:v>
                </c:pt>
                <c:pt idx="12">
                  <c:v>128.12863375918664</c:v>
                </c:pt>
                <c:pt idx="13">
                  <c:v>127.00769257960387</c:v>
                </c:pt>
                <c:pt idx="14">
                  <c:v>125.90608079566223</c:v>
                </c:pt>
                <c:pt idx="15">
                  <c:v>124.82332335468978</c:v>
                </c:pt>
                <c:pt idx="16">
                  <c:v>123.75895831618575</c:v>
                </c:pt>
                <c:pt idx="17">
                  <c:v>122.71253658113406</c:v>
                </c:pt>
                <c:pt idx="18">
                  <c:v>121.68362161492799</c:v>
                </c:pt>
                <c:pt idx="19">
                  <c:v>120.67178916506664</c:v>
                </c:pt>
                <c:pt idx="20">
                  <c:v>119.67662697473767</c:v>
                </c:pt>
                <c:pt idx="21">
                  <c:v>118.10332080284698</c:v>
                </c:pt>
                <c:pt idx="22">
                  <c:v>116.57388595191813</c:v>
                </c:pt>
                <c:pt idx="23">
                  <c:v>115.08665379439724</c:v>
                </c:pt>
                <c:pt idx="24">
                  <c:v>113.64001124914398</c:v>
                </c:pt>
                <c:pt idx="25">
                  <c:v>112.23240125060805</c:v>
                </c:pt>
                <c:pt idx="26">
                  <c:v>110.86232286956196</c:v>
                </c:pt>
                <c:pt idx="27">
                  <c:v>109.52833111908686</c:v>
                </c:pt>
                <c:pt idx="28">
                  <c:v>108.22903648001643</c:v>
                </c:pt>
                <c:pt idx="29">
                  <c:v>106.9631041797533</c:v>
                </c:pt>
                <c:pt idx="30">
                  <c:v>105.72925325747985</c:v>
                </c:pt>
                <c:pt idx="31">
                  <c:v>104.52625544738596</c:v>
                </c:pt>
                <c:pt idx="32">
                  <c:v>103.35293390975171</c:v>
                </c:pt>
                <c:pt idx="33">
                  <c:v>102.20816183770923</c:v>
                </c:pt>
                <c:pt idx="34">
                  <c:v>101.09086096527943</c:v>
                </c:pt>
                <c:pt idx="35">
                  <c:v>100</c:v>
                </c:pt>
                <c:pt idx="36">
                  <c:v>98.934593001142204</c:v>
                </c:pt>
                <c:pt idx="37">
                  <c:v>97.893697722213602</c:v>
                </c:pt>
                <c:pt idx="38">
                  <c:v>96.876413934254771</c:v>
                </c:pt>
                <c:pt idx="39">
                  <c:v>95.88188174430195</c:v>
                </c:pt>
                <c:pt idx="40">
                  <c:v>94.909279921426133</c:v>
                </c:pt>
                <c:pt idx="41">
                  <c:v>94.282848128086499</c:v>
                </c:pt>
                <c:pt idx="42">
                  <c:v>93.664350211743169</c:v>
                </c:pt>
                <c:pt idx="43">
                  <c:v>93.053643948210166</c:v>
                </c:pt>
                <c:pt idx="44">
                  <c:v>92.450589592168171</c:v>
                </c:pt>
                <c:pt idx="45">
                  <c:v>91.855049882683389</c:v>
                </c:pt>
                <c:pt idx="46">
                  <c:v>91.266890043987075</c:v>
                </c:pt>
                <c:pt idx="47">
                  <c:v>90.685977781678389</c:v>
                </c:pt>
                <c:pt idx="48">
                  <c:v>90.112183274557154</c:v>
                </c:pt>
                <c:pt idx="49">
                  <c:v>89.545379162326341</c:v>
                </c:pt>
                <c:pt idx="50">
                  <c:v>88.98544052944051</c:v>
                </c:pt>
                <c:pt idx="51">
                  <c:v>88.43224488538614</c:v>
                </c:pt>
                <c:pt idx="52">
                  <c:v>87.885672141698194</c:v>
                </c:pt>
                <c:pt idx="53">
                  <c:v>87.345604586029154</c:v>
                </c:pt>
                <c:pt idx="54">
                  <c:v>86.811926853572686</c:v>
                </c:pt>
                <c:pt idx="55">
                  <c:v>86.284525896163714</c:v>
                </c:pt>
                <c:pt idx="56">
                  <c:v>85.763290949343656</c:v>
                </c:pt>
                <c:pt idx="57">
                  <c:v>85.248113497693865</c:v>
                </c:pt>
                <c:pt idx="58">
                  <c:v>84.738887238705473</c:v>
                </c:pt>
                <c:pt idx="59">
                  <c:v>84.235508045454083</c:v>
                </c:pt>
                <c:pt idx="60">
                  <c:v>83.7378739283225</c:v>
                </c:pt>
                <c:pt idx="61">
                  <c:v>83.013384366147832</c:v>
                </c:pt>
                <c:pt idx="62">
                  <c:v>82.29736714630728</c:v>
                </c:pt>
                <c:pt idx="63">
                  <c:v>81.589692884330418</c:v>
                </c:pt>
                <c:pt idx="64">
                  <c:v>80.890234624949045</c:v>
                </c:pt>
                <c:pt idx="65">
                  <c:v>80.198867788932077</c:v>
                </c:pt>
                <c:pt idx="66">
                  <c:v>79.515470121226485</c:v>
                </c:pt>
                <c:pt idx="67">
                  <c:v>78.839921640364679</c:v>
                </c:pt>
                <c:pt idx="68">
                  <c:v>78.17210458911164</c:v>
                </c:pt>
                <c:pt idx="69">
                  <c:v>77.511903386313293</c:v>
                </c:pt>
                <c:pt idx="70">
                  <c:v>76.859204579917147</c:v>
                </c:pt>
                <c:pt idx="71">
                  <c:v>76.213896801134354</c:v>
                </c:pt>
                <c:pt idx="72">
                  <c:v>75.575870719709798</c:v>
                </c:pt>
                <c:pt idx="73">
                  <c:v>74.945019000275309</c:v>
                </c:pt>
                <c:pt idx="74">
                  <c:v>74.321236259753263</c:v>
                </c:pt>
                <c:pt idx="75">
                  <c:v>73.704419025785555</c:v>
                </c:pt>
                <c:pt idx="76">
                  <c:v>73.094465696159489</c:v>
                </c:pt>
                <c:pt idx="77">
                  <c:v>72.49127649920429</c:v>
                </c:pt>
                <c:pt idx="78">
                  <c:v>71.894753455132616</c:v>
                </c:pt>
                <c:pt idx="79">
                  <c:v>71.304800338303664</c:v>
                </c:pt>
                <c:pt idx="80">
                  <c:v>70.72132264038199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17.47102105991438</c:v>
                </c:pt>
                <c:pt idx="1">
                  <c:v>117.05407443873088</c:v>
                </c:pt>
                <c:pt idx="2">
                  <c:v>116.64459117260535</c:v>
                </c:pt>
                <c:pt idx="3">
                  <c:v>116.24242676385657</c:v>
                </c:pt>
                <c:pt idx="4">
                  <c:v>115.84743655476888</c:v>
                </c:pt>
                <c:pt idx="5">
                  <c:v>115.45947603654663</c:v>
                </c:pt>
                <c:pt idx="6">
                  <c:v>115.07840113500529</c:v>
                </c:pt>
                <c:pt idx="7">
                  <c:v>114.70406847399207</c:v>
                </c:pt>
                <c:pt idx="8">
                  <c:v>114.33633561742198</c:v>
                </c:pt>
                <c:pt idx="9">
                  <c:v>113.97506129076164</c:v>
                </c:pt>
                <c:pt idx="10">
                  <c:v>113.62010558271956</c:v>
                </c:pt>
                <c:pt idx="11">
                  <c:v>113.27133012789619</c:v>
                </c:pt>
                <c:pt idx="12">
                  <c:v>112.92859827111093</c:v>
                </c:pt>
                <c:pt idx="13">
                  <c:v>112.5917752141343</c:v>
                </c:pt>
                <c:pt idx="14">
                  <c:v>112.26072814555262</c:v>
                </c:pt>
                <c:pt idx="15">
                  <c:v>111.93532635451487</c:v>
                </c:pt>
                <c:pt idx="16">
                  <c:v>111.61544132911941</c:v>
                </c:pt>
                <c:pt idx="17">
                  <c:v>111.30094684022976</c:v>
                </c:pt>
                <c:pt idx="18">
                  <c:v>110.99171901150974</c:v>
                </c:pt>
                <c:pt idx="19">
                  <c:v>110.68763637649401</c:v>
                </c:pt>
                <c:pt idx="20">
                  <c:v>110.38857992352477</c:v>
                </c:pt>
                <c:pt idx="21">
                  <c:v>109.54850216767638</c:v>
                </c:pt>
                <c:pt idx="22">
                  <c:v>108.73306049001665</c:v>
                </c:pt>
                <c:pt idx="23">
                  <c:v>107.94136876490936</c:v>
                </c:pt>
                <c:pt idx="24">
                  <c:v>107.17255911708294</c:v>
                </c:pt>
                <c:pt idx="25">
                  <c:v>106.42578375612575</c:v>
                </c:pt>
                <c:pt idx="26">
                  <c:v>105.70021649736938</c:v>
                </c:pt>
                <c:pt idx="27">
                  <c:v>104.99505398868727</c:v>
                </c:pt>
                <c:pt idx="28">
                  <c:v>104.30951666459123</c:v>
                </c:pt>
                <c:pt idx="29">
                  <c:v>103.64284945012503</c:v>
                </c:pt>
                <c:pt idx="30">
                  <c:v>102.99432223757535</c:v>
                </c:pt>
                <c:pt idx="31">
                  <c:v>102.36323015900987</c:v>
                </c:pt>
                <c:pt idx="32">
                  <c:v>101.74889367720101</c:v>
                </c:pt>
                <c:pt idx="33">
                  <c:v>101.15065851673739</c:v>
                </c:pt>
                <c:pt idx="34">
                  <c:v>100.56789545606732</c:v>
                </c:pt>
                <c:pt idx="35">
                  <c:v>100</c:v>
                </c:pt>
                <c:pt idx="36">
                  <c:v>99.446391950840649</c:v>
                </c:pt>
                <c:pt idx="37">
                  <c:v>98.906514894884992</c:v>
                </c:pt>
                <c:pt idx="38">
                  <c:v>98.37983561956662</c:v>
                </c:pt>
                <c:pt idx="39">
                  <c:v>97.865843475060601</c:v>
                </c:pt>
                <c:pt idx="40">
                  <c:v>97.364049692745397</c:v>
                </c:pt>
                <c:pt idx="41">
                  <c:v>97.205301713518537</c:v>
                </c:pt>
                <c:pt idx="42">
                  <c:v>97.048363583763674</c:v>
                </c:pt>
                <c:pt idx="43">
                  <c:v>96.893208552917386</c:v>
                </c:pt>
                <c:pt idx="44">
                  <c:v>96.739809583025078</c:v>
                </c:pt>
                <c:pt idx="45">
                  <c:v>96.588139416324182</c:v>
                </c:pt>
                <c:pt idx="46">
                  <c:v>96.438170638060939</c:v>
                </c:pt>
                <c:pt idx="47">
                  <c:v>96.289875734543713</c:v>
                </c:pt>
                <c:pt idx="48">
                  <c:v>96.143227146490744</c:v>
                </c:pt>
                <c:pt idx="49">
                  <c:v>95.998197317773176</c:v>
                </c:pt>
                <c:pt idx="50">
                  <c:v>95.854758739700998</c:v>
                </c:pt>
                <c:pt idx="51">
                  <c:v>95.712883991024199</c:v>
                </c:pt>
                <c:pt idx="52">
                  <c:v>95.572545773847978</c:v>
                </c:pt>
                <c:pt idx="53">
                  <c:v>95.433716945689156</c:v>
                </c:pt>
                <c:pt idx="54">
                  <c:v>95.296370547898036</c:v>
                </c:pt>
                <c:pt idx="55">
                  <c:v>95.160479830701107</c:v>
                </c:pt>
                <c:pt idx="56">
                  <c:v>95.026018275099645</c:v>
                </c:pt>
                <c:pt idx="57">
                  <c:v>94.892959611884436</c:v>
                </c:pt>
                <c:pt idx="58">
                  <c:v>94.761277838001917</c:v>
                </c:pt>
                <c:pt idx="59">
                  <c:v>94.630947230516881</c:v>
                </c:pt>
                <c:pt idx="60">
                  <c:v>94.501942358399987</c:v>
                </c:pt>
                <c:pt idx="61">
                  <c:v>94.113954902049386</c:v>
                </c:pt>
                <c:pt idx="62">
                  <c:v>93.728161739653871</c:v>
                </c:pt>
                <c:pt idx="63">
                  <c:v>93.344544911814751</c:v>
                </c:pt>
                <c:pt idx="64">
                  <c:v>92.963086614300863</c:v>
                </c:pt>
                <c:pt idx="65">
                  <c:v>92.583769198304651</c:v>
                </c:pt>
                <c:pt idx="66">
                  <c:v>92.2065751706009</c:v>
                </c:pt>
                <c:pt idx="67">
                  <c:v>91.831487193606705</c:v>
                </c:pt>
                <c:pt idx="68">
                  <c:v>91.458488085357999</c:v>
                </c:pt>
                <c:pt idx="69">
                  <c:v>91.0875608193994</c:v>
                </c:pt>
                <c:pt idx="70">
                  <c:v>90.718688524595322</c:v>
                </c:pt>
                <c:pt idx="71">
                  <c:v>90.351854484869961</c:v>
                </c:pt>
                <c:pt idx="72">
                  <c:v>89.987042138872766</c:v>
                </c:pt>
                <c:pt idx="73">
                  <c:v>89.624235079581638</c:v>
                </c:pt>
                <c:pt idx="74">
                  <c:v>89.263417053841522</c:v>
                </c:pt>
                <c:pt idx="75">
                  <c:v>88.904571961845349</c:v>
                </c:pt>
                <c:pt idx="76">
                  <c:v>88.547683856559885</c:v>
                </c:pt>
                <c:pt idx="77">
                  <c:v>88.192736943097998</c:v>
                </c:pt>
                <c:pt idx="78">
                  <c:v>87.839715578043013</c:v>
                </c:pt>
                <c:pt idx="79">
                  <c:v>87.488604268726633</c:v>
                </c:pt>
                <c:pt idx="80">
                  <c:v>87.1393876724634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75.089776035035243</c:v>
                </c:pt>
                <c:pt idx="1">
                  <c:v>76.287969612015942</c:v>
                </c:pt>
                <c:pt idx="2">
                  <c:v>77.462632909490381</c:v>
                </c:pt>
                <c:pt idx="3">
                  <c:v>78.614465293995565</c:v>
                </c:pt>
                <c:pt idx="4">
                  <c:v>79.744139707521271</c:v>
                </c:pt>
                <c:pt idx="5">
                  <c:v>80.852303662171678</c:v>
                </c:pt>
                <c:pt idx="6">
                  <c:v>81.939580212732295</c:v>
                </c:pt>
                <c:pt idx="7">
                  <c:v>83.006568906151784</c:v>
                </c:pt>
                <c:pt idx="8">
                  <c:v>84.053846707038261</c:v>
                </c:pt>
                <c:pt idx="9">
                  <c:v>85.081968898391594</c:v>
                </c:pt>
                <c:pt idx="10">
                  <c:v>86.091469956874761</c:v>
                </c:pt>
                <c:pt idx="11">
                  <c:v>87.082864402053801</c:v>
                </c:pt>
                <c:pt idx="12">
                  <c:v>88.05664761912854</c:v>
                </c:pt>
                <c:pt idx="13">
                  <c:v>89.013296654797443</c:v>
                </c:pt>
                <c:pt idx="14">
                  <c:v>89.953270986005634</c:v>
                </c:pt>
                <c:pt idx="15">
                  <c:v>90.877013261444844</c:v>
                </c:pt>
                <c:pt idx="16">
                  <c:v>91.784950015778293</c:v>
                </c:pt>
                <c:pt idx="17">
                  <c:v>92.677492356686258</c:v>
                </c:pt>
                <c:pt idx="18">
                  <c:v>93.555036624917037</c:v>
                </c:pt>
                <c:pt idx="19">
                  <c:v>94.417965027639568</c:v>
                </c:pt>
                <c:pt idx="20">
                  <c:v>95.266646245490847</c:v>
                </c:pt>
                <c:pt idx="21">
                  <c:v>95.620179909888577</c:v>
                </c:pt>
                <c:pt idx="22">
                  <c:v>95.967042905968256</c:v>
                </c:pt>
                <c:pt idx="23">
                  <c:v>96.307628533882522</c:v>
                </c:pt>
                <c:pt idx="24">
                  <c:v>96.642286573556802</c:v>
                </c:pt>
                <c:pt idx="25">
                  <c:v>96.971327466597586</c:v>
                </c:pt>
                <c:pt idx="26">
                  <c:v>97.295026230677905</c:v>
                </c:pt>
                <c:pt idx="27">
                  <c:v>97.613626103265176</c:v>
                </c:pt>
                <c:pt idx="28">
                  <c:v>97.92734191568087</c:v>
                </c:pt>
                <c:pt idx="29">
                  <c:v>98.236363201936939</c:v>
                </c:pt>
                <c:pt idx="30">
                  <c:v>98.540857049651208</c:v>
                </c:pt>
                <c:pt idx="31">
                  <c:v>98.840970702610903</c:v>
                </c:pt>
                <c:pt idx="32">
                  <c:v>99.136833926284268</c:v>
                </c:pt>
                <c:pt idx="33">
                  <c:v>99.42856114886645</c:v>
                </c:pt>
                <c:pt idx="34">
                  <c:v>99.716253391272929</c:v>
                </c:pt>
                <c:pt idx="35">
                  <c:v>100</c:v>
                </c:pt>
                <c:pt idx="36">
                  <c:v>100.27988019695835</c:v>
                </c:pt>
                <c:pt idx="37">
                  <c:v>100.55596446030532</c:v>
                </c:pt>
                <c:pt idx="38">
                  <c:v>100.82831575005855</c:v>
                </c:pt>
                <c:pt idx="39">
                  <c:v>101.09699059181625</c:v>
                </c:pt>
                <c:pt idx="40">
                  <c:v>101.36204003137843</c:v>
                </c:pt>
                <c:pt idx="41">
                  <c:v>101.97505190783009</c:v>
                </c:pt>
                <c:pt idx="42">
                  <c:v>102.5797167236358</c:v>
                </c:pt>
                <c:pt idx="43">
                  <c:v>103.1762004316533</c:v>
                </c:pt>
                <c:pt idx="44">
                  <c:v>103.76466403125831</c:v>
                </c:pt>
                <c:pt idx="45">
                  <c:v>104.34526374314817</c:v>
                </c:pt>
                <c:pt idx="46">
                  <c:v>104.91815117914878</c:v>
                </c:pt>
                <c:pt idx="47">
                  <c:v>105.48347350676065</c:v>
                </c:pt>
                <c:pt idx="48">
                  <c:v>106.04137360825305</c:v>
                </c:pt>
                <c:pt idx="49">
                  <c:v>106.59199023417546</c:v>
                </c:pt>
                <c:pt idx="50">
                  <c:v>107.1354581512247</c:v>
                </c:pt>
                <c:pt idx="51">
                  <c:v>107.67190828445095</c:v>
                </c:pt>
                <c:pt idx="52">
                  <c:v>108.20146785383631</c:v>
                </c:pt>
                <c:pt idx="53">
                  <c:v>108.7242605053286</c:v>
                </c:pt>
                <c:pt idx="54">
                  <c:v>109.24040643643194</c:v>
                </c:pt>
                <c:pt idx="55">
                  <c:v>109.75002251650936</c:v>
                </c:pt>
                <c:pt idx="56">
                  <c:v>110.2532224019493</c:v>
                </c:pt>
                <c:pt idx="57">
                  <c:v>110.75011664639409</c:v>
                </c:pt>
                <c:pt idx="58">
                  <c:v>111.24081280622042</c:v>
                </c:pt>
                <c:pt idx="59">
                  <c:v>111.72541554148523</c:v>
                </c:pt>
                <c:pt idx="60">
                  <c:v>112.20402671255174</c:v>
                </c:pt>
                <c:pt idx="61">
                  <c:v>112.36204626203563</c:v>
                </c:pt>
                <c:pt idx="62">
                  <c:v>112.51194583559212</c:v>
                </c:pt>
                <c:pt idx="63">
                  <c:v>112.65389240152777</c:v>
                </c:pt>
                <c:pt idx="64">
                  <c:v>112.78804927792257</c:v>
                </c:pt>
                <c:pt idx="65">
                  <c:v>112.91457622293531</c:v>
                </c:pt>
                <c:pt idx="66">
                  <c:v>113.03362952262832</c:v>
                </c:pt>
                <c:pt idx="67">
                  <c:v>113.14536207637775</c:v>
                </c:pt>
                <c:pt idx="68">
                  <c:v>113.24992347995386</c:v>
                </c:pt>
                <c:pt idx="69">
                  <c:v>113.34746010633037</c:v>
                </c:pt>
                <c:pt idx="70">
                  <c:v>113.43811518429479</c:v>
                </c:pt>
                <c:pt idx="71">
                  <c:v>113.5220288749275</c:v>
                </c:pt>
                <c:pt idx="72">
                  <c:v>113.59933834600614</c:v>
                </c:pt>
                <c:pt idx="73">
                  <c:v>113.67017784440239</c:v>
                </c:pt>
                <c:pt idx="74">
                  <c:v>113.73467876652677</c:v>
                </c:pt>
                <c:pt idx="75">
                  <c:v>113.79296972687965</c:v>
                </c:pt>
                <c:pt idx="76">
                  <c:v>113.84517662476526</c:v>
                </c:pt>
                <c:pt idx="77">
                  <c:v>113.89142270921815</c:v>
                </c:pt>
                <c:pt idx="78">
                  <c:v>113.9318286421977</c:v>
                </c:pt>
                <c:pt idx="79">
                  <c:v>113.96651256010104</c:v>
                </c:pt>
                <c:pt idx="80">
                  <c:v>113.995590133640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24393427206720944</c:v>
                </c:pt>
                <c:pt idx="1">
                  <c:v>0.24868940243156665</c:v>
                </c:pt>
                <c:pt idx="2">
                  <c:v>0.2533850936663693</c:v>
                </c:pt>
                <c:pt idx="3">
                  <c:v>0.25802245333303786</c:v>
                </c:pt>
                <c:pt idx="4">
                  <c:v>0.26260256164579687</c:v>
                </c:pt>
                <c:pt idx="5">
                  <c:v>0.26712647231054659</c:v>
                </c:pt>
                <c:pt idx="6">
                  <c:v>0.27159521333304315</c:v>
                </c:pt>
                <c:pt idx="7">
                  <c:v>0.27600978779769153</c:v>
                </c:pt>
                <c:pt idx="8">
                  <c:v>0.28037117461818734</c:v>
                </c:pt>
                <c:pt idx="9">
                  <c:v>0.2846803292611923</c:v>
                </c:pt>
                <c:pt idx="10">
                  <c:v>0.28893818444416125</c:v>
                </c:pt>
                <c:pt idx="11">
                  <c:v>0.293145650808397</c:v>
                </c:pt>
                <c:pt idx="12">
                  <c:v>0.29730361756834772</c:v>
                </c:pt>
                <c:pt idx="13">
                  <c:v>0.30141295313812344</c:v>
                </c:pt>
                <c:pt idx="14">
                  <c:v>0.30547450573615748</c:v>
                </c:pt>
                <c:pt idx="15">
                  <c:v>0.30948910396889656</c:v>
                </c:pt>
                <c:pt idx="16">
                  <c:v>0.31345755739436265</c:v>
                </c:pt>
                <c:pt idx="17">
                  <c:v>0.31738065706639468</c:v>
                </c:pt>
                <c:pt idx="18">
                  <c:v>0.32125917606033577</c:v>
                </c:pt>
                <c:pt idx="19">
                  <c:v>0.3250938699808989</c:v>
                </c:pt>
                <c:pt idx="20">
                  <c:v>0.32888547745291641</c:v>
                </c:pt>
                <c:pt idx="21">
                  <c:v>0.33263472059563748</c:v>
                </c:pt>
                <c:pt idx="22">
                  <c:v>0.3363423054812173</c:v>
                </c:pt>
                <c:pt idx="23">
                  <c:v>0.34000892257800608</c:v>
                </c:pt>
                <c:pt idx="24">
                  <c:v>0.34363524717922572</c:v>
                </c:pt>
                <c:pt idx="25">
                  <c:v>0.3472219398175907</c:v>
                </c:pt>
                <c:pt idx="26">
                  <c:v>0.35076964666640814</c:v>
                </c:pt>
                <c:pt idx="27">
                  <c:v>0.35427899992767081</c:v>
                </c:pt>
                <c:pt idx="28">
                  <c:v>0.3577506182076296</c:v>
                </c:pt>
                <c:pt idx="29">
                  <c:v>0.36118510688031596</c:v>
                </c:pt>
                <c:pt idx="30">
                  <c:v>0.3645830584394632</c:v>
                </c:pt>
                <c:pt idx="31">
                  <c:v>0.36794505283925438</c:v>
                </c:pt>
                <c:pt idx="32">
                  <c:v>0.37127165782431104</c:v>
                </c:pt>
                <c:pt idx="33">
                  <c:v>0.37456342924931468</c:v>
                </c:pt>
                <c:pt idx="34">
                  <c:v>0.37782091138864121</c:v>
                </c:pt>
                <c:pt idx="35">
                  <c:v>0.38104463723636839</c:v>
                </c:pt>
                <c:pt idx="36">
                  <c:v>0.38423512879700572</c:v>
                </c:pt>
                <c:pt idx="37">
                  <c:v>0.38739289736727744</c:v>
                </c:pt>
                <c:pt idx="38">
                  <c:v>0.39051844380928125</c:v>
                </c:pt>
                <c:pt idx="39">
                  <c:v>0.39361225881532541</c:v>
                </c:pt>
                <c:pt idx="40">
                  <c:v>0.3966748231647429</c:v>
                </c:pt>
                <c:pt idx="41">
                  <c:v>0.39970660797296031</c:v>
                </c:pt>
                <c:pt idx="42">
                  <c:v>0.40270807493309546</c:v>
                </c:pt>
                <c:pt idx="43">
                  <c:v>0.4056796765503437</c:v>
                </c:pt>
                <c:pt idx="44">
                  <c:v>0.40862185636940151</c:v>
                </c:pt>
                <c:pt idx="45">
                  <c:v>0.41153504919516792</c:v>
                </c:pt>
                <c:pt idx="46">
                  <c:v>0.41441968130695639</c:v>
                </c:pt>
                <c:pt idx="47">
                  <c:v>0.41727617066643458</c:v>
                </c:pt>
                <c:pt idx="48">
                  <c:v>0.42010492711951014</c:v>
                </c:pt>
                <c:pt idx="49">
                  <c:v>0.42290635259236276</c:v>
                </c:pt>
                <c:pt idx="50">
                  <c:v>0.42568084128182249</c:v>
                </c:pt>
                <c:pt idx="51">
                  <c:v>0.42842877984028277</c:v>
                </c:pt>
                <c:pt idx="52">
                  <c:v>0.431150547555329</c:v>
                </c:pt>
                <c:pt idx="53">
                  <c:v>0.43384651652426109</c:v>
                </c:pt>
                <c:pt idx="54">
                  <c:v>0.43651705182367495</c:v>
                </c:pt>
                <c:pt idx="55">
                  <c:v>0.43916251167426801</c:v>
                </c:pt>
                <c:pt idx="56">
                  <c:v>0.44178324760102383</c:v>
                </c:pt>
                <c:pt idx="57">
                  <c:v>0.444379604588926</c:v>
                </c:pt>
                <c:pt idx="58">
                  <c:v>0.44695192123434774</c:v>
                </c:pt>
                <c:pt idx="59">
                  <c:v>0.44950052989225392</c:v>
                </c:pt>
                <c:pt idx="60">
                  <c:v>0.45202575681935364</c:v>
                </c:pt>
                <c:pt idx="61">
                  <c:v>0.45452792231332911</c:v>
                </c:pt>
                <c:pt idx="62">
                  <c:v>0.45700734084826861</c:v>
                </c:pt>
                <c:pt idx="63">
                  <c:v>0.45946432120642122</c:v>
                </c:pt>
                <c:pt idx="64">
                  <c:v>0.46189916660639219</c:v>
                </c:pt>
                <c:pt idx="65">
                  <c:v>0.46431217482788828</c:v>
                </c:pt>
                <c:pt idx="66">
                  <c:v>0.4667036383331209</c:v>
                </c:pt>
                <c:pt idx="67">
                  <c:v>0.46907384438497379</c:v>
                </c:pt>
                <c:pt idx="68">
                  <c:v>0.47142307516203136</c:v>
                </c:pt>
                <c:pt idx="69">
                  <c:v>0.47375160787056869</c:v>
                </c:pt>
                <c:pt idx="70">
                  <c:v>0.4760597148535925</c:v>
                </c:pt>
                <c:pt idx="71">
                  <c:v>0.47834766369702658</c:v>
                </c:pt>
                <c:pt idx="72">
                  <c:v>0.48061571733312652</c:v>
                </c:pt>
                <c:pt idx="73">
                  <c:v>0.48286413414120827</c:v>
                </c:pt>
                <c:pt idx="74">
                  <c:v>0.48509316804577202</c:v>
                </c:pt>
                <c:pt idx="75">
                  <c:v>0.48730306861209904</c:v>
                </c:pt>
                <c:pt idx="76">
                  <c:v>0.48949408113939785</c:v>
                </c:pt>
                <c:pt idx="77">
                  <c:v>0.49166644675157067</c:v>
                </c:pt>
                <c:pt idx="78">
                  <c:v>0.49382040248567416</c:v>
                </c:pt>
                <c:pt idx="79">
                  <c:v>0.49595618137813968</c:v>
                </c:pt>
                <c:pt idx="80">
                  <c:v>0.498074012548819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Ruinart Brut (étui) 750ml (1.2%)</c:v>
                </c:pt>
                <c:pt idx="3">
                  <c:v>Champagne Deutz Brut Classique 750ml (3.4%)</c:v>
                </c:pt>
                <c:pt idx="4">
                  <c:v>Champagne Vranken Demoiselle Rosé Prestige 750ml (2.0%)</c:v>
                </c:pt>
                <c:pt idx="5">
                  <c:v>Champagne Ruinart Rosé 750ml (0.5%)</c:v>
                </c:pt>
                <c:pt idx="6">
                  <c:v>Champagne Bollinger Special Cuvée Brut 750ml (1.2%)</c:v>
                </c:pt>
                <c:pt idx="7">
                  <c:v>Champagne E.Nicolas Brut 750ml (11.6%)</c:v>
                </c:pt>
                <c:pt idx="8">
                  <c:v>Mousseux French Bloom Blanc Bio Sans Alcool 750ml (0.7%)</c:v>
                </c:pt>
                <c:pt idx="9">
                  <c:v>Champagne Laurent-Perrier Blanc La Cuvée 750ml (2.7%)</c:v>
                </c:pt>
              </c:strCache>
            </c:strRef>
          </c:cat>
          <c:val>
            <c:numRef>
              <c:f>Sheet1!$B$2:$B$11</c:f>
              <c:numCache>
                <c:formatCode>General</c:formatCode>
                <c:ptCount val="10"/>
                <c:pt idx="0">
                  <c:v>0.20981247968013872</c:v>
                </c:pt>
                <c:pt idx="1">
                  <c:v>0.14468171652981476</c:v>
                </c:pt>
                <c:pt idx="2">
                  <c:v>4.3786394720308937E-2</c:v>
                </c:pt>
                <c:pt idx="3">
                  <c:v>3.6122651406958708E-2</c:v>
                </c:pt>
                <c:pt idx="4">
                  <c:v>3.5690402397743425E-2</c:v>
                </c:pt>
                <c:pt idx="5">
                  <c:v>3.0702458419383946E-2</c:v>
                </c:pt>
                <c:pt idx="6">
                  <c:v>2.9493832240643458E-2</c:v>
                </c:pt>
                <c:pt idx="7">
                  <c:v>2.5796324335954225E-2</c:v>
                </c:pt>
                <c:pt idx="8">
                  <c:v>2.3671525854338408E-2</c:v>
                </c:pt>
                <c:pt idx="9">
                  <c:v>2.212866702301291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Ruinart Rosé 750ml (0.5%)</c:v>
                </c:pt>
                <c:pt idx="3">
                  <c:v>Champagne Vranken Demoiselle Rosé Prestige 750ml (2.0%)</c:v>
                </c:pt>
                <c:pt idx="4">
                  <c:v>Mousseux French Bloom Blanc Bio Sans Alcool 750ml (0.7%)</c:v>
                </c:pt>
                <c:pt idx="5">
                  <c:v>Champagne Ruinart Brut (étui) 750ml (1.2%)</c:v>
                </c:pt>
                <c:pt idx="6">
                  <c:v>Champagne Deutz Brut Classique 750ml (3.4%)</c:v>
                </c:pt>
                <c:pt idx="7">
                  <c:v>Champagne Bollinger Special Cuvée Brut 750ml (1.2%)</c:v>
                </c:pt>
                <c:pt idx="8">
                  <c:v>Champagne E.Nicolas Brut 750ml (11.6%)</c:v>
                </c:pt>
                <c:pt idx="9">
                  <c:v>Champagne Laurent-Perrier Blanc La Cuvée 1500ml (0.8%)</c:v>
                </c:pt>
              </c:strCache>
            </c:strRef>
          </c:cat>
          <c:val>
            <c:numRef>
              <c:f>Sheet1!$B$2:$B$11</c:f>
              <c:numCache>
                <c:formatCode>General</c:formatCode>
                <c:ptCount val="10"/>
                <c:pt idx="0">
                  <c:v>0.17533347625249868</c:v>
                </c:pt>
                <c:pt idx="1">
                  <c:v>0.1449254117742079</c:v>
                </c:pt>
                <c:pt idx="2">
                  <c:v>3.5372139406656712E-2</c:v>
                </c:pt>
                <c:pt idx="3">
                  <c:v>3.516594113780646E-2</c:v>
                </c:pt>
                <c:pt idx="4">
                  <c:v>3.4974048014025677E-2</c:v>
                </c:pt>
                <c:pt idx="5">
                  <c:v>3.425416931417255E-2</c:v>
                </c:pt>
                <c:pt idx="6">
                  <c:v>3.4219757472323815E-2</c:v>
                </c:pt>
                <c:pt idx="7">
                  <c:v>3.0729152522006656E-2</c:v>
                </c:pt>
                <c:pt idx="8">
                  <c:v>2.3835204482159773E-2</c:v>
                </c:pt>
                <c:pt idx="9">
                  <c:v>2.351667280723231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Ro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9</c:v>
                </c:pt>
                <c:pt idx="1">
                  <c:v>79</c:v>
                </c:pt>
                <c:pt idx="2">
                  <c:v>89</c:v>
                </c:pt>
                <c:pt idx="3">
                  <c:v>99</c:v>
                </c:pt>
                <c:pt idx="4">
                  <c:v>109</c:v>
                </c:pt>
              </c:numCache>
            </c:numRef>
          </c:xVal>
          <c:yVal>
            <c:numRef>
              <c:f>Sheet1!$B$2:$B$6</c:f>
              <c:numCache>
                <c:formatCode>General</c:formatCode>
                <c:ptCount val="5"/>
                <c:pt idx="0">
                  <c:v>0.72245078780450556</c:v>
                </c:pt>
                <c:pt idx="1">
                  <c:v>0.25130065008171615</c:v>
                </c:pt>
                <c:pt idx="2">
                  <c:v>0</c:v>
                </c:pt>
                <c:pt idx="3">
                  <c:v>-0.2979049166557704</c:v>
                </c:pt>
                <c:pt idx="4">
                  <c:v>-0.403247204325088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
          <c:min val="69"/>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B$2:$B$82</c:f>
              <c:numCache>
                <c:formatCode>General</c:formatCode>
                <c:ptCount val="81"/>
                <c:pt idx="0">
                  <c:v>172.7881630571413</c:v>
                </c:pt>
                <c:pt idx="1">
                  <c:v>169.55189641051035</c:v>
                </c:pt>
                <c:pt idx="2">
                  <c:v>166.44244554403556</c:v>
                </c:pt>
                <c:pt idx="3">
                  <c:v>163.45308938236002</c:v>
                </c:pt>
                <c:pt idx="4">
                  <c:v>160.57752590321999</c:v>
                </c:pt>
                <c:pt idx="5">
                  <c:v>157.80984071303348</c:v>
                </c:pt>
                <c:pt idx="6">
                  <c:v>155.14447861646491</c:v>
                </c:pt>
                <c:pt idx="7">
                  <c:v>152.57621783364434</c:v>
                </c:pt>
                <c:pt idx="8">
                  <c:v>150.10014656061426</c:v>
                </c:pt>
                <c:pt idx="9">
                  <c:v>147.71164160595174</c:v>
                </c:pt>
                <c:pt idx="10">
                  <c:v>145.40634886977665</c:v>
                </c:pt>
                <c:pt idx="11">
                  <c:v>143.18016546079735</c:v>
                </c:pt>
                <c:pt idx="12">
                  <c:v>141.02922327303156</c:v>
                </c:pt>
                <c:pt idx="13">
                  <c:v>138.89125021726855</c:v>
                </c:pt>
                <c:pt idx="14">
                  <c:v>136.8062412363557</c:v>
                </c:pt>
                <c:pt idx="15">
                  <c:v>134.77241991278689</c:v>
                </c:pt>
                <c:pt idx="16">
                  <c:v>132.7880730631413</c:v>
                </c:pt>
                <c:pt idx="17">
                  <c:v>130.85155035833697</c:v>
                </c:pt>
                <c:pt idx="18">
                  <c:v>128.96126346669033</c:v>
                </c:pt>
                <c:pt idx="19">
                  <c:v>127.11568482832342</c:v>
                </c:pt>
                <c:pt idx="20">
                  <c:v>125.31334615222296</c:v>
                </c:pt>
                <c:pt idx="21">
                  <c:v>123.79467060051465</c:v>
                </c:pt>
                <c:pt idx="22">
                  <c:v>122.30669424946296</c:v>
                </c:pt>
                <c:pt idx="23">
                  <c:v>120.84866876076916</c:v>
                </c:pt>
                <c:pt idx="24">
                  <c:v>119.41986368623103</c:v>
                </c:pt>
                <c:pt idx="25">
                  <c:v>118.0195659958833</c:v>
                </c:pt>
                <c:pt idx="26">
                  <c:v>116.64707963806774</c:v>
                </c:pt>
                <c:pt idx="27">
                  <c:v>115.30172512948444</c:v>
                </c:pt>
                <c:pt idx="28">
                  <c:v>113.98283917293939</c:v>
                </c:pt>
                <c:pt idx="29">
                  <c:v>112.68977430029214</c:v>
                </c:pt>
                <c:pt idx="30">
                  <c:v>111.42189853796826</c:v>
                </c:pt>
                <c:pt idx="31">
                  <c:v>110.17859509236172</c:v>
                </c:pt>
                <c:pt idx="32">
                  <c:v>108.95926205247892</c:v>
                </c:pt>
                <c:pt idx="33">
                  <c:v>107.76331210724919</c:v>
                </c:pt>
                <c:pt idx="34">
                  <c:v>106.59017227507053</c:v>
                </c:pt>
                <c:pt idx="35">
                  <c:v>105.43928364332056</c:v>
                </c:pt>
                <c:pt idx="36">
                  <c:v>104.31010111575645</c:v>
                </c:pt>
                <c:pt idx="37">
                  <c:v>103.20209316594561</c:v>
                </c:pt>
                <c:pt idx="38">
                  <c:v>102.1147415950945</c:v>
                </c:pt>
                <c:pt idx="39">
                  <c:v>101.04754129286452</c:v>
                </c:pt>
                <c:pt idx="40">
                  <c:v>100</c:v>
                </c:pt>
                <c:pt idx="41">
                  <c:v>98.001444086967496</c:v>
                </c:pt>
                <c:pt idx="42">
                  <c:v>96.070688925149284</c:v>
                </c:pt>
                <c:pt idx="43">
                  <c:v>94.204874183266526</c:v>
                </c:pt>
                <c:pt idx="44">
                  <c:v>92.40123968962898</c:v>
                </c:pt>
                <c:pt idx="45">
                  <c:v>90.65712659857806</c:v>
                </c:pt>
                <c:pt idx="46">
                  <c:v>88.969977893781333</c:v>
                </c:pt>
                <c:pt idx="47">
                  <c:v>87.337338279339932</c:v>
                </c:pt>
                <c:pt idx="48">
                  <c:v>85.756853514521339</c:v>
                </c:pt>
                <c:pt idx="49">
                  <c:v>84.226269250501474</c:v>
                </c:pt>
                <c:pt idx="50">
                  <c:v>82.743429428176668</c:v>
                </c:pt>
                <c:pt idx="51">
                  <c:v>81.306274295300767</c:v>
                </c:pt>
                <c:pt idx="52">
                  <c:v>79.9128380992654</c:v>
                </c:pt>
                <c:pt idx="53">
                  <c:v>78.561246509090381</c:v>
                </c:pt>
                <c:pt idx="54">
                  <c:v>77.249713816869161</c:v>
                </c:pt>
                <c:pt idx="55">
                  <c:v>75.976539965252627</c:v>
                </c:pt>
                <c:pt idx="56">
                  <c:v>74.740107443696274</c:v>
                </c:pt>
                <c:pt idx="57">
                  <c:v>73.538878092276676</c:v>
                </c:pt>
                <c:pt idx="58">
                  <c:v>72.371389847996497</c:v>
                </c:pt>
                <c:pt idx="59">
                  <c:v>71.236253464690407</c:v>
                </c:pt>
                <c:pt idx="60">
                  <c:v>70.132149233995946</c:v>
                </c:pt>
                <c:pt idx="61">
                  <c:v>69.530228973219451</c:v>
                </c:pt>
                <c:pt idx="62">
                  <c:v>68.93759133881133</c:v>
                </c:pt>
                <c:pt idx="63">
                  <c:v>68.354045007967045</c:v>
                </c:pt>
                <c:pt idx="64">
                  <c:v>67.779402445380356</c:v>
                </c:pt>
                <c:pt idx="65">
                  <c:v>67.213479888350875</c:v>
                </c:pt>
                <c:pt idx="66">
                  <c:v>66.65609732685482</c:v>
                </c:pt>
                <c:pt idx="67">
                  <c:v>66.107078478754389</c:v>
                </c:pt>
                <c:pt idx="68">
                  <c:v>65.566250760377997</c:v>
                </c:pt>
                <c:pt idx="69">
                  <c:v>65.033445252745565</c:v>
                </c:pt>
                <c:pt idx="70">
                  <c:v>64.508496663750648</c:v>
                </c:pt>
                <c:pt idx="71">
                  <c:v>63.991243286628176</c:v>
                </c:pt>
                <c:pt idx="72">
                  <c:v>63.481526955052672</c:v>
                </c:pt>
                <c:pt idx="73">
                  <c:v>62.979192995217637</c:v>
                </c:pt>
                <c:pt idx="74">
                  <c:v>62.484090175238947</c:v>
                </c:pt>
                <c:pt idx="75">
                  <c:v>61.996070652225896</c:v>
                </c:pt>
                <c:pt idx="76">
                  <c:v>61.514989917344877</c:v>
                </c:pt>
                <c:pt idx="77">
                  <c:v>61.040706739190384</c:v>
                </c:pt>
                <c:pt idx="78">
                  <c:v>60.573083105757789</c:v>
                </c:pt>
                <c:pt idx="79">
                  <c:v>60.111984165295382</c:v>
                </c:pt>
                <c:pt idx="80">
                  <c:v>59.65727816629092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C$2:$C$82</c:f>
              <c:numCache>
                <c:formatCode>General</c:formatCode>
                <c:ptCount val="81"/>
                <c:pt idx="0">
                  <c:v>134.07519493293185</c:v>
                </c:pt>
                <c:pt idx="1">
                  <c:v>132.51686141439941</c:v>
                </c:pt>
                <c:pt idx="2">
                  <c:v>131.02181287773178</c:v>
                </c:pt>
                <c:pt idx="3">
                  <c:v>129.58687503470546</c:v>
                </c:pt>
                <c:pt idx="4">
                  <c:v>128.20905547710584</c:v>
                </c:pt>
                <c:pt idx="5">
                  <c:v>126.88553037892805</c:v>
                </c:pt>
                <c:pt idx="6">
                  <c:v>125.61363253670119</c:v>
                </c:pt>
                <c:pt idx="7">
                  <c:v>124.3908405872028</c:v>
                </c:pt>
                <c:pt idx="8">
                  <c:v>123.21476926008242</c:v>
                </c:pt>
                <c:pt idx="9">
                  <c:v>122.08316053962294</c:v>
                </c:pt>
                <c:pt idx="10">
                  <c:v>120.9938756251349</c:v>
                </c:pt>
                <c:pt idx="11">
                  <c:v>119.94488759327508</c:v>
                </c:pt>
                <c:pt idx="12">
                  <c:v>118.93427467801561</c:v>
                </c:pt>
                <c:pt idx="13">
                  <c:v>117.90817276504444</c:v>
                </c:pt>
                <c:pt idx="14">
                  <c:v>116.90350739693707</c:v>
                </c:pt>
                <c:pt idx="15">
                  <c:v>115.91963207222314</c:v>
                </c:pt>
                <c:pt idx="16">
                  <c:v>114.95591583426258</c:v>
                </c:pt>
                <c:pt idx="17">
                  <c:v>114.01174466343464</c:v>
                </c:pt>
                <c:pt idx="18">
                  <c:v>113.08652244214832</c:v>
                </c:pt>
                <c:pt idx="19">
                  <c:v>112.17967156948431</c:v>
                </c:pt>
                <c:pt idx="20">
                  <c:v>111.29063329180914</c:v>
                </c:pt>
                <c:pt idx="21">
                  <c:v>110.6340691218078</c:v>
                </c:pt>
                <c:pt idx="22">
                  <c:v>109.98818736621905</c:v>
                </c:pt>
                <c:pt idx="23">
                  <c:v>109.35282206576076</c:v>
                </c:pt>
                <c:pt idx="24">
                  <c:v>108.72780701773472</c:v>
                </c:pt>
                <c:pt idx="25">
                  <c:v>108.11297583435102</c:v>
                </c:pt>
                <c:pt idx="26">
                  <c:v>107.50816201502154</c:v>
                </c:pt>
                <c:pt idx="27">
                  <c:v>106.91319903204437</c:v>
                </c:pt>
                <c:pt idx="28">
                  <c:v>106.32792042870256</c:v>
                </c:pt>
                <c:pt idx="29">
                  <c:v>105.75215992850373</c:v>
                </c:pt>
                <c:pt idx="30">
                  <c:v>105.18575155404675</c:v>
                </c:pt>
                <c:pt idx="31">
                  <c:v>104.62852975384658</c:v>
                </c:pt>
                <c:pt idx="32">
                  <c:v>104.0803295353596</c:v>
                </c:pt>
                <c:pt idx="33">
                  <c:v>103.54098660240112</c:v>
                </c:pt>
                <c:pt idx="34">
                  <c:v>103.0103374951745</c:v>
                </c:pt>
                <c:pt idx="35">
                  <c:v>102.4882197311787</c:v>
                </c:pt>
                <c:pt idx="36">
                  <c:v>101.97447194534941</c:v>
                </c:pt>
                <c:pt idx="37">
                  <c:v>101.46893402791292</c:v>
                </c:pt>
                <c:pt idx="38">
                  <c:v>100.97144725856792</c:v>
                </c:pt>
                <c:pt idx="39">
                  <c:v>100.48185443576214</c:v>
                </c:pt>
                <c:pt idx="40">
                  <c:v>100</c:v>
                </c:pt>
                <c:pt idx="41">
                  <c:v>98.554444059489626</c:v>
                </c:pt>
                <c:pt idx="42">
                  <c:v>97.154886257314715</c:v>
                </c:pt>
                <c:pt idx="43">
                  <c:v>95.799564952829115</c:v>
                </c:pt>
                <c:pt idx="44">
                  <c:v>94.486756670873092</c:v>
                </c:pt>
                <c:pt idx="45">
                  <c:v>93.214780075976137</c:v>
                </c:pt>
                <c:pt idx="46">
                  <c:v>91.981999306542704</c:v>
                </c:pt>
                <c:pt idx="47">
                  <c:v>90.786826695281547</c:v>
                </c:pt>
                <c:pt idx="48">
                  <c:v>89.627724909524105</c:v>
                </c:pt>
                <c:pt idx="49">
                  <c:v>88.503208550318803</c:v>
                </c:pt>
                <c:pt idx="50">
                  <c:v>87.411845252563197</c:v>
                </c:pt>
                <c:pt idx="51">
                  <c:v>86.352256330277285</c:v>
                </c:pt>
                <c:pt idx="52">
                  <c:v>85.323117011712355</c:v>
                </c:pt>
                <c:pt idx="53">
                  <c:v>84.323156308608787</c:v>
                </c:pt>
                <c:pt idx="54">
                  <c:v>83.351156562784666</c:v>
                </c:pt>
                <c:pt idx="55">
                  <c:v>82.405952711557561</c:v>
                </c:pt>
                <c:pt idx="56">
                  <c:v>81.48643131143109</c:v>
                </c:pt>
                <c:pt idx="57">
                  <c:v>80.591529357136082</c:v>
                </c:pt>
                <c:pt idx="58">
                  <c:v>79.720232930612127</c:v>
                </c:pt>
                <c:pt idx="59">
                  <c:v>78.871575711897407</c:v>
                </c:pt>
                <c:pt idx="60">
                  <c:v>78.044637381265787</c:v>
                </c:pt>
                <c:pt idx="61">
                  <c:v>77.76462740463127</c:v>
                </c:pt>
                <c:pt idx="62">
                  <c:v>77.488314600972132</c:v>
                </c:pt>
                <c:pt idx="63">
                  <c:v>77.215638320607226</c:v>
                </c:pt>
                <c:pt idx="64">
                  <c:v>76.946537957426045</c:v>
                </c:pt>
                <c:pt idx="65">
                  <c:v>76.680953036254081</c:v>
                </c:pt>
                <c:pt idx="66">
                  <c:v>76.418823294025842</c:v>
                </c:pt>
                <c:pt idx="67">
                  <c:v>76.160088754772119</c:v>
                </c:pt>
                <c:pt idx="68">
                  <c:v>75.904689798494289</c:v>
                </c:pt>
                <c:pt idx="69">
                  <c:v>75.652567224064398</c:v>
                </c:pt>
                <c:pt idx="70">
                  <c:v>75.403662306339811</c:v>
                </c:pt>
                <c:pt idx="71">
                  <c:v>75.15791684771915</c:v>
                </c:pt>
                <c:pt idx="72">
                  <c:v>74.915273224395619</c:v>
                </c:pt>
                <c:pt idx="73">
                  <c:v>74.675674427591019</c:v>
                </c:pt>
                <c:pt idx="74">
                  <c:v>74.439064100054537</c:v>
                </c:pt>
                <c:pt idx="75">
                  <c:v>74.205386568131814</c:v>
                </c:pt>
                <c:pt idx="76">
                  <c:v>73.974586869698243</c:v>
                </c:pt>
                <c:pt idx="77">
                  <c:v>73.746610778256695</c:v>
                </c:pt>
                <c:pt idx="78">
                  <c:v>73.521404823486009</c:v>
                </c:pt>
                <c:pt idx="79">
                  <c:v>73.298916308522095</c:v>
                </c:pt>
                <c:pt idx="80">
                  <c:v>73.0790933242358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D$2:$D$82</c:f>
              <c:numCache>
                <c:formatCode>General</c:formatCode>
                <c:ptCount val="81"/>
                <c:pt idx="0">
                  <c:v>75.778512344621447</c:v>
                </c:pt>
                <c:pt idx="1">
                  <c:v>76.739022493245642</c:v>
                </c:pt>
                <c:pt idx="2">
                  <c:v>77.667861340639746</c:v>
                </c:pt>
                <c:pt idx="3">
                  <c:v>78.567138191075799</c:v>
                </c:pt>
                <c:pt idx="4">
                  <c:v>79.438792311264308</c:v>
                </c:pt>
                <c:pt idx="5">
                  <c:v>80.284606352398043</c:v>
                </c:pt>
                <c:pt idx="6">
                  <c:v>81.106218690958769</c:v>
                </c:pt>
                <c:pt idx="7">
                  <c:v>81.905134796537837</c:v>
                </c:pt>
                <c:pt idx="8">
                  <c:v>82.682737719117</c:v>
                </c:pt>
                <c:pt idx="9">
                  <c:v>83.440297775174784</c:v>
                </c:pt>
                <c:pt idx="10">
                  <c:v>84.178981501264957</c:v>
                </c:pt>
                <c:pt idx="11">
                  <c:v>84.899859934911731</c:v>
                </c:pt>
                <c:pt idx="12">
                  <c:v>85.603916275495678</c:v>
                </c:pt>
                <c:pt idx="13">
                  <c:v>86.25564592156816</c:v>
                </c:pt>
                <c:pt idx="14">
                  <c:v>86.880994403285555</c:v>
                </c:pt>
                <c:pt idx="15">
                  <c:v>87.481038843555041</c:v>
                </c:pt>
                <c:pt idx="16">
                  <c:v>88.056798563566048</c:v>
                </c:pt>
                <c:pt idx="17">
                  <c:v>88.60923926337928</c:v>
                </c:pt>
                <c:pt idx="18">
                  <c:v>89.139276840694322</c:v>
                </c:pt>
                <c:pt idx="19">
                  <c:v>89.647780877459624</c:v>
                </c:pt>
                <c:pt idx="20">
                  <c:v>90.135577823775435</c:v>
                </c:pt>
                <c:pt idx="21">
                  <c:v>90.780794923443224</c:v>
                </c:pt>
                <c:pt idx="22">
                  <c:v>91.406323150206376</c:v>
                </c:pt>
                <c:pt idx="23">
                  <c:v>92.012885402083455</c:v>
                </c:pt>
                <c:pt idx="24">
                  <c:v>92.601176435051855</c:v>
                </c:pt>
                <c:pt idx="25">
                  <c:v>93.171863746053134</c:v>
                </c:pt>
                <c:pt idx="26">
                  <c:v>93.725588441915619</c:v>
                </c:pt>
                <c:pt idx="27">
                  <c:v>94.262966095738761</c:v>
                </c:pt>
                <c:pt idx="28">
                  <c:v>94.78458759178541</c:v>
                </c:pt>
                <c:pt idx="29">
                  <c:v>95.291019959490228</c:v>
                </c:pt>
                <c:pt idx="30">
                  <c:v>95.782807196798615</c:v>
                </c:pt>
                <c:pt idx="31">
                  <c:v>96.260471082711831</c:v>
                </c:pt>
                <c:pt idx="32">
                  <c:v>96.724511978644927</c:v>
                </c:pt>
                <c:pt idx="33">
                  <c:v>97.175409617968185</c:v>
                </c:pt>
                <c:pt idx="34">
                  <c:v>97.613623882945575</c:v>
                </c:pt>
                <c:pt idx="35">
                  <c:v>98.039595568164088</c:v>
                </c:pt>
                <c:pt idx="36">
                  <c:v>98.453747129470543</c:v>
                </c:pt>
                <c:pt idx="37">
                  <c:v>98.85648341741269</c:v>
                </c:pt>
                <c:pt idx="38">
                  <c:v>99.248192394191307</c:v>
                </c:pt>
                <c:pt idx="39">
                  <c:v>99.629245833160681</c:v>
                </c:pt>
                <c:pt idx="40">
                  <c:v>100</c:v>
                </c:pt>
                <c:pt idx="41">
                  <c:v>99.376984762322536</c:v>
                </c:pt>
                <c:pt idx="42">
                  <c:v>98.767570416174038</c:v>
                </c:pt>
                <c:pt idx="43">
                  <c:v>98.171631126382437</c:v>
                </c:pt>
                <c:pt idx="44">
                  <c:v>97.588986251139957</c:v>
                </c:pt>
                <c:pt idx="45">
                  <c:v>97.019408619468123</c:v>
                </c:pt>
                <c:pt idx="46">
                  <c:v>96.46263218792005</c:v>
                </c:pt>
                <c:pt idx="47">
                  <c:v>95.918359067330172</c:v>
                </c:pt>
                <c:pt idx="48">
                  <c:v>95.386265921547391</c:v>
                </c:pt>
                <c:pt idx="49">
                  <c:v>94.866009749242906</c:v>
                </c:pt>
                <c:pt idx="50">
                  <c:v>94.357233067215446</c:v>
                </c:pt>
                <c:pt idx="51">
                  <c:v>93.859568519318984</c:v>
                </c:pt>
                <c:pt idx="52">
                  <c:v>93.372642939413169</c:v>
                </c:pt>
                <c:pt idx="53">
                  <c:v>92.896080899809903</c:v>
                </c:pt>
                <c:pt idx="54">
                  <c:v>92.429507778729842</c:v>
                </c:pt>
                <c:pt idx="55">
                  <c:v>91.972552381488384</c:v>
                </c:pt>
                <c:pt idx="56">
                  <c:v>91.524849150641529</c:v>
                </c:pt>
                <c:pt idx="57">
                  <c:v>91.08604000026169</c:v>
                </c:pt>
                <c:pt idx="58">
                  <c:v>90.655775809003487</c:v>
                </c:pt>
                <c:pt idx="59">
                  <c:v>90.233717605718226</c:v>
                </c:pt>
                <c:pt idx="60">
                  <c:v>89.819537480198591</c:v>
                </c:pt>
                <c:pt idx="61">
                  <c:v>90.024568002809318</c:v>
                </c:pt>
                <c:pt idx="62">
                  <c:v>90.224850524447191</c:v>
                </c:pt>
                <c:pt idx="63">
                  <c:v>90.42052282896374</c:v>
                </c:pt>
                <c:pt idx="64">
                  <c:v>90.611717022005053</c:v>
                </c:pt>
                <c:pt idx="65">
                  <c:v>90.798559776699435</c:v>
                </c:pt>
                <c:pt idx="66">
                  <c:v>90.981172571214358</c:v>
                </c:pt>
                <c:pt idx="67">
                  <c:v>91.15967191793338</c:v>
                </c:pt>
                <c:pt idx="68">
                  <c:v>91.334169584095164</c:v>
                </c:pt>
                <c:pt idx="69">
                  <c:v>91.504772803828104</c:v>
                </c:pt>
                <c:pt idx="70">
                  <c:v>91.671584481594991</c:v>
                </c:pt>
                <c:pt idx="71">
                  <c:v>91.83470338712209</c:v>
                </c:pt>
                <c:pt idx="72">
                  <c:v>91.994224341947131</c:v>
                </c:pt>
                <c:pt idx="73">
                  <c:v>92.150238397770138</c:v>
                </c:pt>
                <c:pt idx="74">
                  <c:v>92.302833006813572</c:v>
                </c:pt>
                <c:pt idx="75">
                  <c:v>92.452092184445547</c:v>
                </c:pt>
                <c:pt idx="76">
                  <c:v>92.598096664322043</c:v>
                </c:pt>
                <c:pt idx="77">
                  <c:v>92.740924046331642</c:v>
                </c:pt>
                <c:pt idx="78">
                  <c:v>92.880648937627839</c:v>
                </c:pt>
                <c:pt idx="79">
                  <c:v>93.017343087039166</c:v>
                </c:pt>
                <c:pt idx="80">
                  <c:v>93.1510755131475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E$2:$E$82</c:f>
              <c:numCache>
                <c:formatCode>General</c:formatCode>
                <c:ptCount val="81"/>
                <c:pt idx="0">
                  <c:v>0.22641856790040055</c:v>
                </c:pt>
                <c:pt idx="1">
                  <c:v>0.23198390194428262</c:v>
                </c:pt>
                <c:pt idx="2">
                  <c:v>0.23746973121610906</c:v>
                </c:pt>
                <c:pt idx="3">
                  <c:v>0.242877747306775</c:v>
                </c:pt>
                <c:pt idx="4">
                  <c:v>0.24820959415672722</c:v>
                </c:pt>
                <c:pt idx="5">
                  <c:v>0.25346686972206467</c:v>
                </c:pt>
                <c:pt idx="6">
                  <c:v>0.25865112757121722</c:v>
                </c:pt>
                <c:pt idx="7">
                  <c:v>0.2637638784155536</c:v>
                </c:pt>
                <c:pt idx="8">
                  <c:v>0.26880659157709091</c:v>
                </c:pt>
                <c:pt idx="9">
                  <c:v>0.27378069639629438</c:v>
                </c:pt>
                <c:pt idx="10">
                  <c:v>0.27868758358280582</c:v>
                </c:pt>
                <c:pt idx="11">
                  <c:v>0.28352860651178047</c:v>
                </c:pt>
                <c:pt idx="12">
                  <c:v>0.28830508246836833</c:v>
                </c:pt>
                <c:pt idx="13">
                  <c:v>0.29301829384275019</c:v>
                </c:pt>
                <c:pt idx="14">
                  <c:v>0.29766948927799514</c:v>
                </c:pt>
                <c:pt idx="15">
                  <c:v>0.3022598847729101</c:v>
                </c:pt>
                <c:pt idx="16">
                  <c:v>0.3067906647419173</c:v>
                </c:pt>
                <c:pt idx="17">
                  <c:v>0.31126298303390498</c:v>
                </c:pt>
                <c:pt idx="18">
                  <c:v>0.31567796391189273</c:v>
                </c:pt>
                <c:pt idx="19">
                  <c:v>0.32003670299525661</c:v>
                </c:pt>
                <c:pt idx="20">
                  <c:v>0.32434026816617262</c:v>
                </c:pt>
                <c:pt idx="21">
                  <c:v>0.32858970044185709</c:v>
                </c:pt>
                <c:pt idx="22">
                  <c:v>0.33278601481409542</c:v>
                </c:pt>
                <c:pt idx="23">
                  <c:v>0.33693020105748606</c:v>
                </c:pt>
                <c:pt idx="24">
                  <c:v>0.34102322450774847</c:v>
                </c:pt>
                <c:pt idx="25">
                  <c:v>0.34506602681138199</c:v>
                </c:pt>
                <c:pt idx="26">
                  <c:v>0.34905952664789797</c:v>
                </c:pt>
                <c:pt idx="27">
                  <c:v>0.35300462042578945</c:v>
                </c:pt>
                <c:pt idx="28">
                  <c:v>0.35690218295334503</c:v>
                </c:pt>
                <c:pt idx="29">
                  <c:v>0.36075306808536078</c:v>
                </c:pt>
                <c:pt idx="30">
                  <c:v>0.36455810934675748</c:v>
                </c:pt>
                <c:pt idx="31">
                  <c:v>0.36831812053405494</c:v>
                </c:pt>
                <c:pt idx="32">
                  <c:v>0.37203389629561912</c:v>
                </c:pt>
                <c:pt idx="33">
                  <c:v>0.3757062126915513</c:v>
                </c:pt>
                <c:pt idx="34">
                  <c:v>0.37933582773404223</c:v>
                </c:pt>
                <c:pt idx="35">
                  <c:v>0.38292348190898995</c:v>
                </c:pt>
                <c:pt idx="36">
                  <c:v>0.38646989867962811</c:v>
                </c:pt>
                <c:pt idx="37">
                  <c:v>0.38997578497288715</c:v>
                </c:pt>
                <c:pt idx="38">
                  <c:v>0.39344183164917762</c:v>
                </c:pt>
                <c:pt idx="39">
                  <c:v>0.39686871395624457</c:v>
                </c:pt>
                <c:pt idx="40">
                  <c:v>0.40025709196772641</c:v>
                </c:pt>
                <c:pt idx="41">
                  <c:v>0.40360761100701265</c:v>
                </c:pt>
                <c:pt idx="42">
                  <c:v>0.40692090205697368</c:v>
                </c:pt>
                <c:pt idx="43">
                  <c:v>0.41019758215610652</c:v>
                </c:pt>
                <c:pt idx="44">
                  <c:v>0.41343825478162244</c:v>
                </c:pt>
                <c:pt idx="45">
                  <c:v>0.41664351021997414</c:v>
                </c:pt>
                <c:pt idx="46">
                  <c:v>0.41981392592530031</c:v>
                </c:pt>
                <c:pt idx="47">
                  <c:v>0.42295006686624476</c:v>
                </c:pt>
                <c:pt idx="48">
                  <c:v>0.42605248586158739</c:v>
                </c:pt>
                <c:pt idx="49">
                  <c:v>0.42912172390510844</c:v>
                </c:pt>
                <c:pt idx="50">
                  <c:v>0.4321583104800813</c:v>
                </c:pt>
                <c:pt idx="51">
                  <c:v>0.43516276386378444</c:v>
                </c:pt>
                <c:pt idx="52">
                  <c:v>0.43813559142239605</c:v>
                </c:pt>
                <c:pt idx="53">
                  <c:v>0.44107728989662431</c:v>
                </c:pt>
                <c:pt idx="54">
                  <c:v>0.44398834567841289</c:v>
                </c:pt>
                <c:pt idx="55">
                  <c:v>0.44686923507904291</c:v>
                </c:pt>
                <c:pt idx="56">
                  <c:v>0.44972042458894479</c:v>
                </c:pt>
                <c:pt idx="57">
                  <c:v>0.45254237112951418</c:v>
                </c:pt>
                <c:pt idx="58">
                  <c:v>0.4553355222972208</c:v>
                </c:pt>
                <c:pt idx="59">
                  <c:v>0.45810031660028055</c:v>
                </c:pt>
                <c:pt idx="60">
                  <c:v>0.4608371836881579</c:v>
                </c:pt>
                <c:pt idx="61">
                  <c:v>0.46354654457414712</c:v>
                </c:pt>
                <c:pt idx="62">
                  <c:v>0.46622881185127629</c:v>
                </c:pt>
                <c:pt idx="63">
                  <c:v>0.46888438990176745</c:v>
                </c:pt>
                <c:pt idx="64">
                  <c:v>0.47151367510027359</c:v>
                </c:pt>
                <c:pt idx="65">
                  <c:v>0.47411705601110971</c:v>
                </c:pt>
                <c:pt idx="66">
                  <c:v>0.47669491357968269</c:v>
                </c:pt>
                <c:pt idx="67">
                  <c:v>0.47924762131831833</c:v>
                </c:pt>
                <c:pt idx="68">
                  <c:v>0.481775545486676</c:v>
                </c:pt>
                <c:pt idx="69">
                  <c:v>0.48427904526693366</c:v>
                </c:pt>
                <c:pt idx="70">
                  <c:v>0.48675847293391949</c:v>
                </c:pt>
                <c:pt idx="71">
                  <c:v>0.48921417402036016</c:v>
                </c:pt>
                <c:pt idx="72">
                  <c:v>0.49164648747740597</c:v>
                </c:pt>
                <c:pt idx="73">
                  <c:v>0.49405574583059375</c:v>
                </c:pt>
                <c:pt idx="74">
                  <c:v>0.49644227533139279</c:v>
                </c:pt>
                <c:pt idx="75">
                  <c:v>0.49880639610448479</c:v>
                </c:pt>
                <c:pt idx="76">
                  <c:v>0.5011484222909125</c:v>
                </c:pt>
                <c:pt idx="77">
                  <c:v>0.50346866218723374</c:v>
                </c:pt>
                <c:pt idx="78">
                  <c:v>0.50576741838081152</c:v>
                </c:pt>
                <c:pt idx="79">
                  <c:v>0.50804498788136065</c:v>
                </c:pt>
                <c:pt idx="80">
                  <c:v>0.510301662248877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Bollinger Special Cuvée Brut 750ml (1.2%)</c:v>
                </c:pt>
                <c:pt idx="5">
                  <c:v>Champagne Ruinart Blanc de Blancs (étui) 750ml (0.8%)</c:v>
                </c:pt>
                <c:pt idx="6">
                  <c:v>Champagne Deutz Brut Classique 750ml (3.4%)</c:v>
                </c:pt>
                <c:pt idx="7">
                  <c:v>Champagne Laurent-Perrier Blanc La Cuvée 750ml (2.7%)</c:v>
                </c:pt>
                <c:pt idx="8">
                  <c:v>Champagne E.Nicolas Brut 750ml (11.6%)</c:v>
                </c:pt>
                <c:pt idx="9">
                  <c:v>Champagne Veuve Clicquot Réserve Cuvée 750ml (1.7%)</c:v>
                </c:pt>
              </c:strCache>
            </c:strRef>
          </c:cat>
          <c:val>
            <c:numRef>
              <c:f>Sheet1!$B$2:$B$11</c:f>
              <c:numCache>
                <c:formatCode>General</c:formatCode>
                <c:ptCount val="10"/>
                <c:pt idx="0">
                  <c:v>0.28927111773090808</c:v>
                </c:pt>
                <c:pt idx="1">
                  <c:v>0.10567104144527982</c:v>
                </c:pt>
                <c:pt idx="2">
                  <c:v>5.1207044505798063E-2</c:v>
                </c:pt>
                <c:pt idx="3">
                  <c:v>4.9454028596538899E-2</c:v>
                </c:pt>
                <c:pt idx="4">
                  <c:v>3.3871265966031856E-2</c:v>
                </c:pt>
                <c:pt idx="5">
                  <c:v>3.0521984299757676E-2</c:v>
                </c:pt>
                <c:pt idx="6">
                  <c:v>2.9849251970470496E-2</c:v>
                </c:pt>
                <c:pt idx="7">
                  <c:v>2.0075771245793378E-2</c:v>
                </c:pt>
                <c:pt idx="8">
                  <c:v>1.9937467634724967E-2</c:v>
                </c:pt>
                <c:pt idx="9">
                  <c:v>1.957335089037014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Ruinart Blanc de Blancs (étui) 750ml (0.8%)</c:v>
                </c:pt>
                <c:pt idx="5">
                  <c:v>Champagne Bollinger Special Cuvée Brut 750ml (1.2%)</c:v>
                </c:pt>
                <c:pt idx="6">
                  <c:v>Champagne E.Nicolas Brut 750ml (11.6%)</c:v>
                </c:pt>
                <c:pt idx="7">
                  <c:v>Champagne Deutz Brut Classique 750ml (3.4%)</c:v>
                </c:pt>
                <c:pt idx="8">
                  <c:v>Mousseux French Bloom Blanc Bio Sans Alcool 750ml (0.7%)</c:v>
                </c:pt>
                <c:pt idx="9">
                  <c:v>Champagne Veuve Clicquot Réserve Cuvée 750ml (1.7%)</c:v>
                </c:pt>
              </c:strCache>
            </c:strRef>
          </c:cat>
          <c:val>
            <c:numRef>
              <c:f>Sheet1!$B$2:$B$11</c:f>
              <c:numCache>
                <c:formatCode>General</c:formatCode>
                <c:ptCount val="10"/>
                <c:pt idx="0">
                  <c:v>0.27981115007099522</c:v>
                </c:pt>
                <c:pt idx="1">
                  <c:v>0.12389312852154169</c:v>
                </c:pt>
                <c:pt idx="2">
                  <c:v>5.0968476246280897E-2</c:v>
                </c:pt>
                <c:pt idx="3">
                  <c:v>5.0638195762141354E-2</c:v>
                </c:pt>
                <c:pt idx="4">
                  <c:v>3.6974550712505529E-2</c:v>
                </c:pt>
                <c:pt idx="5">
                  <c:v>3.1611828521461653E-2</c:v>
                </c:pt>
                <c:pt idx="6">
                  <c:v>3.1413038250526222E-2</c:v>
                </c:pt>
                <c:pt idx="7">
                  <c:v>2.3005269633774104E-2</c:v>
                </c:pt>
                <c:pt idx="8">
                  <c:v>2.289360542819343E-2</c:v>
                </c:pt>
                <c:pt idx="9">
                  <c:v>1.648615673694656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oët &amp; Chandon Réserve Impérial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0000000000003</c:v>
                </c:pt>
                <c:pt idx="1">
                  <c:v>39.950000000000003</c:v>
                </c:pt>
                <c:pt idx="2">
                  <c:v>42.95</c:v>
                </c:pt>
                <c:pt idx="3">
                  <c:v>47.95</c:v>
                </c:pt>
                <c:pt idx="4">
                  <c:v>49.95</c:v>
                </c:pt>
              </c:numCache>
            </c:numRef>
          </c:xVal>
          <c:yVal>
            <c:numRef>
              <c:f>Sheet1!$B$2:$B$6</c:f>
              <c:numCache>
                <c:formatCode>General</c:formatCode>
                <c:ptCount val="5"/>
                <c:pt idx="0">
                  <c:v>0.75823116168367766</c:v>
                </c:pt>
                <c:pt idx="1">
                  <c:v>0.37155467478717874</c:v>
                </c:pt>
                <c:pt idx="2">
                  <c:v>0</c:v>
                </c:pt>
                <c:pt idx="3">
                  <c:v>-0.29364934546691834</c:v>
                </c:pt>
                <c:pt idx="4">
                  <c:v>-0.3628452567527984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34.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0.85946275266025</c:v>
                </c:pt>
                <c:pt idx="1">
                  <c:v>166.02643689449636</c:v>
                </c:pt>
                <c:pt idx="2">
                  <c:v>161.52481810557407</c:v>
                </c:pt>
                <c:pt idx="3">
                  <c:v>157.32022243757626</c:v>
                </c:pt>
                <c:pt idx="4">
                  <c:v>153.38192234970128</c:v>
                </c:pt>
                <c:pt idx="5">
                  <c:v>149.68266626721294</c:v>
                </c:pt>
                <c:pt idx="6">
                  <c:v>146.1984147090659</c:v>
                </c:pt>
                <c:pt idx="7">
                  <c:v>142.90803670139735</c:v>
                </c:pt>
                <c:pt idx="8">
                  <c:v>139.79299686404678</c:v>
                </c:pt>
                <c:pt idx="9">
                  <c:v>136.83705239438189</c:v>
                </c:pt>
                <c:pt idx="10">
                  <c:v>129.72458652137831</c:v>
                </c:pt>
                <c:pt idx="11">
                  <c:v>122.74852297508383</c:v>
                </c:pt>
                <c:pt idx="12">
                  <c:v>116.34370327474161</c:v>
                </c:pt>
                <c:pt idx="13">
                  <c:v>110.45023900130502</c:v>
                </c:pt>
                <c:pt idx="14">
                  <c:v>105.01704810859505</c:v>
                </c:pt>
                <c:pt idx="15">
                  <c:v>100</c:v>
                </c:pt>
                <c:pt idx="16">
                  <c:v>95.36037745940628</c:v>
                </c:pt>
                <c:pt idx="17">
                  <c:v>91.063730688305156</c:v>
                </c:pt>
                <c:pt idx="18">
                  <c:v>87.079102676495197</c:v>
                </c:pt>
                <c:pt idx="19">
                  <c:v>83.378538863780889</c:v>
                </c:pt>
                <c:pt idx="20">
                  <c:v>80.903430781138965</c:v>
                </c:pt>
                <c:pt idx="21">
                  <c:v>78.641588374981097</c:v>
                </c:pt>
                <c:pt idx="22">
                  <c:v>76.473669837130686</c:v>
                </c:pt>
                <c:pt idx="23">
                  <c:v>74.395342953616534</c:v>
                </c:pt>
                <c:pt idx="24">
                  <c:v>72.402448935513391</c:v>
                </c:pt>
                <c:pt idx="25">
                  <c:v>70.491003977938433</c:v>
                </c:pt>
                <c:pt idx="26">
                  <c:v>68.657198564667496</c:v>
                </c:pt>
                <c:pt idx="27">
                  <c:v>66.89739462926228</c:v>
                </c:pt>
                <c:pt idx="28">
                  <c:v>65.208120879317462</c:v>
                </c:pt>
                <c:pt idx="29">
                  <c:v>63.5860667197718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1.28959646996026</c:v>
                </c:pt>
                <c:pt idx="1">
                  <c:v>139.20154035152476</c:v>
                </c:pt>
                <c:pt idx="2">
                  <c:v>137.28447535315811</c:v>
                </c:pt>
                <c:pt idx="3">
                  <c:v>135.52012188061852</c:v>
                </c:pt>
                <c:pt idx="4">
                  <c:v>133.8918309291129</c:v>
                </c:pt>
                <c:pt idx="5">
                  <c:v>132.3846302163893</c:v>
                </c:pt>
                <c:pt idx="6">
                  <c:v>130.98518403371119</c:v>
                </c:pt>
                <c:pt idx="7">
                  <c:v>129.6816996219645</c:v>
                </c:pt>
                <c:pt idx="8">
                  <c:v>128.46380465620376</c:v>
                </c:pt>
                <c:pt idx="9">
                  <c:v>127.32241284708894</c:v>
                </c:pt>
                <c:pt idx="10">
                  <c:v>122.2058007808545</c:v>
                </c:pt>
                <c:pt idx="11">
                  <c:v>117.05600589591852</c:v>
                </c:pt>
                <c:pt idx="12">
                  <c:v>112.2964433550584</c:v>
                </c:pt>
                <c:pt idx="13">
                  <c:v>107.88836069943856</c:v>
                </c:pt>
                <c:pt idx="14">
                  <c:v>103.79894959690412</c:v>
                </c:pt>
                <c:pt idx="15">
                  <c:v>100</c:v>
                </c:pt>
                <c:pt idx="16">
                  <c:v>96.46674622465315</c:v>
                </c:pt>
                <c:pt idx="17">
                  <c:v>93.177007061671873</c:v>
                </c:pt>
                <c:pt idx="18">
                  <c:v>90.110630043285397</c:v>
                </c:pt>
                <c:pt idx="19">
                  <c:v>87.249179013363303</c:v>
                </c:pt>
                <c:pt idx="20">
                  <c:v>85.596223856942856</c:v>
                </c:pt>
                <c:pt idx="21">
                  <c:v>84.113988839955468</c:v>
                </c:pt>
                <c:pt idx="22">
                  <c:v>82.681093801576793</c:v>
                </c:pt>
                <c:pt idx="23">
                  <c:v>81.296042398671474</c:v>
                </c:pt>
                <c:pt idx="24">
                  <c:v>79.95733202427347</c:v>
                </c:pt>
                <c:pt idx="25">
                  <c:v>78.663465291356772</c:v>
                </c:pt>
                <c:pt idx="26">
                  <c:v>77.412959108475391</c:v>
                </c:pt>
                <c:pt idx="27">
                  <c:v>76.204351291153984</c:v>
                </c:pt>
                <c:pt idx="28">
                  <c:v>75.036204887352142</c:v>
                </c:pt>
                <c:pt idx="29">
                  <c:v>73.9071105732470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84.135149327103264</c:v>
                </c:pt>
                <c:pt idx="1">
                  <c:v>87.373334414928067</c:v>
                </c:pt>
                <c:pt idx="2">
                  <c:v>90.470056320936735</c:v>
                </c:pt>
                <c:pt idx="3">
                  <c:v>93.438536008044167</c:v>
                </c:pt>
                <c:pt idx="4">
                  <c:v>96.289635848255713</c:v>
                </c:pt>
                <c:pt idx="5">
                  <c:v>99.032358875800014</c:v>
                </c:pt>
                <c:pt idx="6">
                  <c:v>101.67425338273799</c:v>
                </c:pt>
                <c:pt idx="7">
                  <c:v>104.22173497714977</c:v>
                </c:pt>
                <c:pt idx="8">
                  <c:v>106.68033988622803</c:v>
                </c:pt>
                <c:pt idx="9">
                  <c:v>109.05492261615876</c:v>
                </c:pt>
                <c:pt idx="10">
                  <c:v>107.77618612409402</c:v>
                </c:pt>
                <c:pt idx="11">
                  <c:v>106.13403961351442</c:v>
                </c:pt>
                <c:pt idx="12">
                  <c:v>104.53302843667905</c:v>
                </c:pt>
                <c:pt idx="13">
                  <c:v>102.9753072722241</c:v>
                </c:pt>
                <c:pt idx="14">
                  <c:v>101.46343305036017</c:v>
                </c:pt>
                <c:pt idx="15">
                  <c:v>100</c:v>
                </c:pt>
                <c:pt idx="16">
                  <c:v>98.587225665502203</c:v>
                </c:pt>
                <c:pt idx="17">
                  <c:v>97.226643290807104</c:v>
                </c:pt>
                <c:pt idx="18">
                  <c:v>95.918970567529016</c:v>
                </c:pt>
                <c:pt idx="19">
                  <c:v>94.664143880351688</c:v>
                </c:pt>
                <c:pt idx="20">
                  <c:v>94.591667837155953</c:v>
                </c:pt>
                <c:pt idx="21">
                  <c:v>94.608249275439235</c:v>
                </c:pt>
                <c:pt idx="22">
                  <c:v>94.587927732428284</c:v>
                </c:pt>
                <c:pt idx="23">
                  <c:v>94.534732947449797</c:v>
                </c:pt>
                <c:pt idx="24">
                  <c:v>94.452334519027261</c:v>
                </c:pt>
                <c:pt idx="25">
                  <c:v>94.344073333598033</c:v>
                </c:pt>
                <c:pt idx="26">
                  <c:v>94.212990217244084</c:v>
                </c:pt>
                <c:pt idx="27">
                  <c:v>94.061851432359575</c:v>
                </c:pt>
                <c:pt idx="28">
                  <c:v>93.893170953017744</c:v>
                </c:pt>
                <c:pt idx="29">
                  <c:v>93.70922972640187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0553917116687098</c:v>
                </c:pt>
                <c:pt idx="1">
                  <c:v>0.21660408521747174</c:v>
                </c:pt>
                <c:pt idx="2">
                  <c:v>0.22736501811283591</c:v>
                </c:pt>
                <c:pt idx="3">
                  <c:v>0.23783432681049413</c:v>
                </c:pt>
                <c:pt idx="4">
                  <c:v>0.24802370746810778</c:v>
                </c:pt>
                <c:pt idx="5">
                  <c:v>0.25794423903185304</c:v>
                </c:pt>
                <c:pt idx="6">
                  <c:v>0.26760642341945917</c:v>
                </c:pt>
                <c:pt idx="7">
                  <c:v>0.27702022260429904</c:v>
                </c:pt>
                <c:pt idx="8">
                  <c:v>0.28619509287581801</c:v>
                </c:pt>
                <c:pt idx="9">
                  <c:v>0.29514001652399097</c:v>
                </c:pt>
                <c:pt idx="10">
                  <c:v>0.30386353117097115</c:v>
                </c:pt>
                <c:pt idx="11">
                  <c:v>0.31237375695127706</c:v>
                </c:pt>
                <c:pt idx="12">
                  <c:v>0.32067842172239702</c:v>
                </c:pt>
                <c:pt idx="13">
                  <c:v>0.32878488447033966</c:v>
                </c:pt>
                <c:pt idx="14">
                  <c:v>0.33670015705913281</c:v>
                </c:pt>
                <c:pt idx="15">
                  <c:v>0.34443092445937601</c:v>
                </c:pt>
                <c:pt idx="16">
                  <c:v>0.35198356357850769</c:v>
                </c:pt>
                <c:pt idx="17">
                  <c:v>0.35936416080426498</c:v>
                </c:pt>
                <c:pt idx="18">
                  <c:v>0.36657852836277555</c:v>
                </c:pt>
                <c:pt idx="19">
                  <c:v>0.3736322195836802</c:v>
                </c:pt>
                <c:pt idx="20">
                  <c:v>0.38053054315654694</c:v>
                </c:pt>
                <c:pt idx="21">
                  <c:v>0.38727857645549524</c:v>
                </c:pt>
                <c:pt idx="22">
                  <c:v>0.39388117800231109</c:v>
                </c:pt>
                <c:pt idx="23">
                  <c:v>0.40034299913235039</c:v>
                </c:pt>
                <c:pt idx="24">
                  <c:v>0.4066684949220935</c:v>
                </c:pt>
                <c:pt idx="25">
                  <c:v>0.41286193443230135</c:v>
                </c:pt>
                <c:pt idx="26">
                  <c:v>0.41892741031626524</c:v>
                </c:pt>
                <c:pt idx="27">
                  <c:v>0.42486884783859369</c:v>
                </c:pt>
                <c:pt idx="28">
                  <c:v>0.43069001334630025</c:v>
                </c:pt>
                <c:pt idx="29">
                  <c:v>0.43639452223060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Patriarche (2.6%)</c:v>
                </c:pt>
                <c:pt idx="8">
                  <c:v>Carlo V (5.4%)</c:v>
                </c:pt>
                <c:pt idx="9">
                  <c:v>Ruinart (12.8%)</c:v>
                </c:pt>
              </c:strCache>
            </c:strRef>
          </c:cat>
          <c:val>
            <c:numRef>
              <c:f>Sheet1!$B$2:$B$11</c:f>
              <c:numCache>
                <c:formatCode>General</c:formatCode>
                <c:ptCount val="10"/>
                <c:pt idx="0">
                  <c:v>0.25295746415756226</c:v>
                </c:pt>
                <c:pt idx="1">
                  <c:v>0.13460415027000736</c:v>
                </c:pt>
                <c:pt idx="2">
                  <c:v>5.6686136538159813E-2</c:v>
                </c:pt>
                <c:pt idx="3">
                  <c:v>5.0053996413196133E-2</c:v>
                </c:pt>
                <c:pt idx="4">
                  <c:v>3.637947658978722E-2</c:v>
                </c:pt>
                <c:pt idx="5">
                  <c:v>3.239606531260826E-2</c:v>
                </c:pt>
                <c:pt idx="6">
                  <c:v>3.208225656982619E-2</c:v>
                </c:pt>
                <c:pt idx="7">
                  <c:v>2.978280582674225E-2</c:v>
                </c:pt>
                <c:pt idx="8">
                  <c:v>2.7620528804744277E-2</c:v>
                </c:pt>
                <c:pt idx="9">
                  <c:v>2.74459976233903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E.Nicolas Brut 750ml (11.6%)</c:v>
                </c:pt>
                <c:pt idx="5">
                  <c:v>Champagne Malard Brut 1er Cru 750ml (4.1%)</c:v>
                </c:pt>
                <c:pt idx="6">
                  <c:v>Champagne Ruinart Brut 750ml (7.3%)</c:v>
                </c:pt>
                <c:pt idx="7">
                  <c:v>Champagne Deutz Brut Classique 750ml (3.4%)</c:v>
                </c:pt>
                <c:pt idx="8">
                  <c:v>Champagne Vranken Demoiselle Tête de Cuvée 750ml (1.4%)</c:v>
                </c:pt>
                <c:pt idx="9">
                  <c:v>Champagne Veuve Clicquot Réserve Cuvée 750ml (1.7%)</c:v>
                </c:pt>
              </c:strCache>
            </c:strRef>
          </c:cat>
          <c:val>
            <c:numRef>
              <c:f>Sheet1!$B$2:$B$11</c:f>
              <c:numCache>
                <c:formatCode>General</c:formatCode>
                <c:ptCount val="10"/>
                <c:pt idx="0">
                  <c:v>7.911151645085153E-2</c:v>
                </c:pt>
                <c:pt idx="1">
                  <c:v>7.6831821829303024E-2</c:v>
                </c:pt>
                <c:pt idx="2">
                  <c:v>6.6585393426018519E-2</c:v>
                </c:pt>
                <c:pt idx="3">
                  <c:v>6.5510736542982506E-2</c:v>
                </c:pt>
                <c:pt idx="4">
                  <c:v>5.7239348147755616E-2</c:v>
                </c:pt>
                <c:pt idx="5">
                  <c:v>4.7624297404516826E-2</c:v>
                </c:pt>
                <c:pt idx="6">
                  <c:v>4.2397143355108614E-2</c:v>
                </c:pt>
                <c:pt idx="7">
                  <c:v>3.8555281386525857E-2</c:v>
                </c:pt>
                <c:pt idx="8">
                  <c:v>3.5414014736934986E-2</c:v>
                </c:pt>
                <c:pt idx="9">
                  <c:v>3.152138135431610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Nicolas Feuillatte Réserve Exclusive Brut 750ml (3.0%)</c:v>
                </c:pt>
                <c:pt idx="2">
                  <c:v>Champagne Ruinart Brut 750ml (7.3%)</c:v>
                </c:pt>
                <c:pt idx="3">
                  <c:v>Champagne Heidsieck Monopole Silver Top 750ml (4.2%)</c:v>
                </c:pt>
                <c:pt idx="4">
                  <c:v>Champagne Canard-Duchêne Blanc Cuvée Léonie Brut 750ml (2.6%)</c:v>
                </c:pt>
                <c:pt idx="5">
                  <c:v>Champagne Veuve Clicquot Réserve Cuvée 750ml (1.7%)</c:v>
                </c:pt>
                <c:pt idx="6">
                  <c:v>Champagne E.Nicolas Brut 750ml (11.6%)</c:v>
                </c:pt>
                <c:pt idx="7">
                  <c:v>Champagne Deutz Brut Classique 750ml (3.4%)</c:v>
                </c:pt>
                <c:pt idx="8">
                  <c:v>Champagne Malard Brut 1er Cru 750ml (4.1%)</c:v>
                </c:pt>
                <c:pt idx="9">
                  <c:v>Champagne Vranken Demoiselle Tête de Cuvée 750ml (1.4%)</c:v>
                </c:pt>
              </c:strCache>
            </c:strRef>
          </c:cat>
          <c:val>
            <c:numRef>
              <c:f>Sheet1!$B$2:$B$11</c:f>
              <c:numCache>
                <c:formatCode>General</c:formatCode>
                <c:ptCount val="10"/>
                <c:pt idx="0">
                  <c:v>8.900937674881769E-2</c:v>
                </c:pt>
                <c:pt idx="1">
                  <c:v>6.7616055129500557E-2</c:v>
                </c:pt>
                <c:pt idx="2">
                  <c:v>6.2917182238123176E-2</c:v>
                </c:pt>
                <c:pt idx="3">
                  <c:v>5.3139912798210946E-2</c:v>
                </c:pt>
                <c:pt idx="4">
                  <c:v>5.2526806422728098E-2</c:v>
                </c:pt>
                <c:pt idx="5">
                  <c:v>4.8096859380399697E-2</c:v>
                </c:pt>
                <c:pt idx="6">
                  <c:v>4.5571213037772194E-2</c:v>
                </c:pt>
                <c:pt idx="7">
                  <c:v>4.5016077831963382E-2</c:v>
                </c:pt>
                <c:pt idx="8">
                  <c:v>3.2978687417934784E-2</c:v>
                </c:pt>
                <c:pt idx="9">
                  <c:v>3.182212948374324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euve Clicquot Réserve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6.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0000000000003</c:v>
                </c:pt>
                <c:pt idx="1">
                  <c:v>44.95</c:v>
                </c:pt>
                <c:pt idx="2">
                  <c:v>49.95</c:v>
                </c:pt>
                <c:pt idx="3">
                  <c:v>54.95</c:v>
                </c:pt>
                <c:pt idx="4">
                  <c:v>59</c:v>
                </c:pt>
              </c:numCache>
            </c:numRef>
          </c:xVal>
          <c:yVal>
            <c:numRef>
              <c:f>Sheet1!$B$2:$B$6</c:f>
              <c:numCache>
                <c:formatCode>General</c:formatCode>
                <c:ptCount val="5"/>
                <c:pt idx="0">
                  <c:v>1.178105584622102</c:v>
                </c:pt>
                <c:pt idx="1">
                  <c:v>0.29760108776913269</c:v>
                </c:pt>
                <c:pt idx="2">
                  <c:v>0</c:v>
                </c:pt>
                <c:pt idx="3">
                  <c:v>-0.34832537209401832</c:v>
                </c:pt>
                <c:pt idx="4">
                  <c:v>-0.4351708578855260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
          <c:min val="39.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05.50001966046142</c:v>
                </c:pt>
                <c:pt idx="1">
                  <c:v>193.66019264629205</c:v>
                </c:pt>
                <c:pt idx="2">
                  <c:v>182.92473910459344</c:v>
                </c:pt>
                <c:pt idx="3">
                  <c:v>173.17307331885556</c:v>
                </c:pt>
                <c:pt idx="4">
                  <c:v>164.29477257373469</c:v>
                </c:pt>
                <c:pt idx="5">
                  <c:v>156.19080570613676</c:v>
                </c:pt>
                <c:pt idx="6">
                  <c:v>148.77366205679775</c:v>
                </c:pt>
                <c:pt idx="7">
                  <c:v>141.9667413255716</c:v>
                </c:pt>
                <c:pt idx="8">
                  <c:v>135.70334721150419</c:v>
                </c:pt>
                <c:pt idx="9">
                  <c:v>129.92553267746968</c:v>
                </c:pt>
                <c:pt idx="10">
                  <c:v>126.1633523521741</c:v>
                </c:pt>
                <c:pt idx="11">
                  <c:v>122.74149180909559</c:v>
                </c:pt>
                <c:pt idx="12">
                  <c:v>119.46365076345356</c:v>
                </c:pt>
                <c:pt idx="13">
                  <c:v>116.3226702771087</c:v>
                </c:pt>
                <c:pt idx="14">
                  <c:v>113.31182229285939</c:v>
                </c:pt>
                <c:pt idx="15">
                  <c:v>110.42477327094744</c:v>
                </c:pt>
                <c:pt idx="16">
                  <c:v>107.65555195634109</c:v>
                </c:pt>
                <c:pt idx="17">
                  <c:v>104.99852087730062</c:v>
                </c:pt>
                <c:pt idx="18">
                  <c:v>102.4483511306565</c:v>
                </c:pt>
                <c:pt idx="19">
                  <c:v>100</c:v>
                </c:pt>
                <c:pt idx="20">
                  <c:v>95.634021539755381</c:v>
                </c:pt>
                <c:pt idx="21">
                  <c:v>91.322690402687243</c:v>
                </c:pt>
                <c:pt idx="22">
                  <c:v>87.28321197569251</c:v>
                </c:pt>
                <c:pt idx="23">
                  <c:v>83.498460591209891</c:v>
                </c:pt>
                <c:pt idx="24">
                  <c:v>79.951483266045713</c:v>
                </c:pt>
                <c:pt idx="25">
                  <c:v>76.625838166812414</c:v>
                </c:pt>
                <c:pt idx="26">
                  <c:v>73.505826151890417</c:v>
                </c:pt>
                <c:pt idx="27">
                  <c:v>70.576641598339805</c:v>
                </c:pt>
                <c:pt idx="28">
                  <c:v>67.824461469941951</c:v>
                </c:pt>
                <c:pt idx="29">
                  <c:v>65.236482734501521</c:v>
                </c:pt>
                <c:pt idx="30">
                  <c:v>63.917882628056034</c:v>
                </c:pt>
                <c:pt idx="31">
                  <c:v>62.763119716362546</c:v>
                </c:pt>
                <c:pt idx="32">
                  <c:v>61.640911607622826</c:v>
                </c:pt>
                <c:pt idx="33">
                  <c:v>60.549836545365153</c:v>
                </c:pt>
                <c:pt idx="34">
                  <c:v>59.488563921306458</c:v>
                </c:pt>
                <c:pt idx="35">
                  <c:v>58.455851059861963</c:v>
                </c:pt>
                <c:pt idx="36">
                  <c:v>57.450538777621787</c:v>
                </c:pt>
                <c:pt idx="37">
                  <c:v>56.4715461132426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66.52819042263721</c:v>
                </c:pt>
                <c:pt idx="1">
                  <c:v>158.88300947770452</c:v>
                </c:pt>
                <c:pt idx="2">
                  <c:v>151.91517901538381</c:v>
                </c:pt>
                <c:pt idx="3">
                  <c:v>145.5569832539955</c:v>
                </c:pt>
                <c:pt idx="4">
                  <c:v>139.74449693930561</c:v>
                </c:pt>
                <c:pt idx="5">
                  <c:v>134.41912276448619</c:v>
                </c:pt>
                <c:pt idx="6">
                  <c:v>129.52826348198408</c:v>
                </c:pt>
                <c:pt idx="7">
                  <c:v>125.02536213813478</c:v>
                </c:pt>
                <c:pt idx="8">
                  <c:v>120.86955850863986</c:v>
                </c:pt>
                <c:pt idx="9">
                  <c:v>117.02515360050295</c:v>
                </c:pt>
                <c:pt idx="10">
                  <c:v>114.88850920262914</c:v>
                </c:pt>
                <c:pt idx="11">
                  <c:v>112.98963863251717</c:v>
                </c:pt>
                <c:pt idx="12">
                  <c:v>111.15734604740342</c:v>
                </c:pt>
                <c:pt idx="13">
                  <c:v>109.38912699240268</c:v>
                </c:pt>
                <c:pt idx="14">
                  <c:v>107.68260801203233</c:v>
                </c:pt>
                <c:pt idx="15">
                  <c:v>106.03553263044994</c:v>
                </c:pt>
                <c:pt idx="16">
                  <c:v>104.44574920982031</c:v>
                </c:pt>
                <c:pt idx="17">
                  <c:v>102.91120057903291</c:v>
                </c:pt>
                <c:pt idx="18">
                  <c:v>101.42991525061032</c:v>
                </c:pt>
                <c:pt idx="19">
                  <c:v>100</c:v>
                </c:pt>
                <c:pt idx="20">
                  <c:v>96.591880605357545</c:v>
                </c:pt>
                <c:pt idx="21">
                  <c:v>93.153318576230802</c:v>
                </c:pt>
                <c:pt idx="22">
                  <c:v>89.908747790151764</c:v>
                </c:pt>
                <c:pt idx="23">
                  <c:v>86.848404176463447</c:v>
                </c:pt>
                <c:pt idx="24">
                  <c:v>83.962046868688958</c:v>
                </c:pt>
                <c:pt idx="25">
                  <c:v>81.239321024113124</c:v>
                </c:pt>
                <c:pt idx="26">
                  <c:v>78.670026891191327</c:v>
                </c:pt>
                <c:pt idx="27">
                  <c:v>76.244315943460222</c:v>
                </c:pt>
                <c:pt idx="28">
                  <c:v>73.952829154671107</c:v>
                </c:pt>
                <c:pt idx="29">
                  <c:v>71.786784310174141</c:v>
                </c:pt>
                <c:pt idx="30">
                  <c:v>70.971770084147579</c:v>
                </c:pt>
                <c:pt idx="31">
                  <c:v>70.31349327421384</c:v>
                </c:pt>
                <c:pt idx="32">
                  <c:v>69.669198639736464</c:v>
                </c:pt>
                <c:pt idx="33">
                  <c:v>69.038223500052837</c:v>
                </c:pt>
                <c:pt idx="34">
                  <c:v>68.419954518398484</c:v>
                </c:pt>
                <c:pt idx="35">
                  <c:v>67.81382838875561</c:v>
                </c:pt>
                <c:pt idx="36">
                  <c:v>67.219330910899103</c:v>
                </c:pt>
                <c:pt idx="37">
                  <c:v>66.6359948345380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2.251435933446103</c:v>
                </c:pt>
                <c:pt idx="1">
                  <c:v>92.553436857182177</c:v>
                </c:pt>
                <c:pt idx="2">
                  <c:v>92.728448656346544</c:v>
                </c:pt>
                <c:pt idx="3">
                  <c:v>92.807942145096078</c:v>
                </c:pt>
                <c:pt idx="4">
                  <c:v>92.815139351866677</c:v>
                </c:pt>
                <c:pt idx="5">
                  <c:v>92.767217069482584</c:v>
                </c:pt>
                <c:pt idx="6">
                  <c:v>92.677039222950413</c:v>
                </c:pt>
                <c:pt idx="7">
                  <c:v>92.554429828678735</c:v>
                </c:pt>
                <c:pt idx="8">
                  <c:v>92.407069969186338</c:v>
                </c:pt>
                <c:pt idx="9">
                  <c:v>92.241114293541699</c:v>
                </c:pt>
                <c:pt idx="10">
                  <c:v>93.229461598732982</c:v>
                </c:pt>
                <c:pt idx="11">
                  <c:v>94.260920607536804</c:v>
                </c:pt>
                <c:pt idx="12">
                  <c:v>95.20865890013755</c:v>
                </c:pt>
                <c:pt idx="13">
                  <c:v>96.079295088614629</c:v>
                </c:pt>
                <c:pt idx="14">
                  <c:v>96.878985608904458</c:v>
                </c:pt>
                <c:pt idx="15">
                  <c:v>97.613455063854587</c:v>
                </c:pt>
                <c:pt idx="16">
                  <c:v>98.288024009359717</c:v>
                </c:pt>
                <c:pt idx="17">
                  <c:v>98.907634645944839</c:v>
                </c:pt>
                <c:pt idx="18">
                  <c:v>99.476874741689031</c:v>
                </c:pt>
                <c:pt idx="19">
                  <c:v>100</c:v>
                </c:pt>
                <c:pt idx="20">
                  <c:v>98.407850828866856</c:v>
                </c:pt>
                <c:pt idx="21">
                  <c:v>96.62025186294909</c:v>
                </c:pt>
                <c:pt idx="22">
                  <c:v>94.878063449921839</c:v>
                </c:pt>
                <c:pt idx="23">
                  <c:v>93.185827988484291</c:v>
                </c:pt>
                <c:pt idx="24">
                  <c:v>91.546298710415101</c:v>
                </c:pt>
                <c:pt idx="25">
                  <c:v>89.960862091627334</c:v>
                </c:pt>
                <c:pt idx="26">
                  <c:v>88.429890533202922</c:v>
                </c:pt>
                <c:pt idx="27">
                  <c:v>86.953035893226996</c:v>
                </c:pt>
                <c:pt idx="28">
                  <c:v>85.529471386187566</c:v>
                </c:pt>
                <c:pt idx="29">
                  <c:v>84.158082350841994</c:v>
                </c:pt>
                <c:pt idx="30">
                  <c:v>84.310941634132178</c:v>
                </c:pt>
                <c:pt idx="31">
                  <c:v>84.6081715431813</c:v>
                </c:pt>
                <c:pt idx="32">
                  <c:v>84.883244435776334</c:v>
                </c:pt>
                <c:pt idx="33">
                  <c:v>85.136993950104781</c:v>
                </c:pt>
                <c:pt idx="34">
                  <c:v>85.370219578258414</c:v>
                </c:pt>
                <c:pt idx="35">
                  <c:v>85.583695177115018</c:v>
                </c:pt>
                <c:pt idx="36">
                  <c:v>85.778175090563266</c:v>
                </c:pt>
                <c:pt idx="37">
                  <c:v>85.9543982362569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9155019373096149</c:v>
                </c:pt>
                <c:pt idx="1">
                  <c:v>0.20143344319635323</c:v>
                </c:pt>
                <c:pt idx="2">
                  <c:v>0.2110779668292474</c:v>
                </c:pt>
                <c:pt idx="3">
                  <c:v>0.22049231090049753</c:v>
                </c:pt>
                <c:pt idx="4">
                  <c:v>0.22968461855497277</c:v>
                </c:pt>
                <c:pt idx="5">
                  <c:v>0.23866265330374942</c:v>
                </c:pt>
                <c:pt idx="6">
                  <c:v>0.24743382089241575</c:v>
                </c:pt>
                <c:pt idx="7">
                  <c:v>0.25600518967496233</c:v>
                </c:pt>
                <c:pt idx="8">
                  <c:v>0.26438350961105495</c:v>
                </c:pt>
                <c:pt idx="9">
                  <c:v>0.27257522999400552</c:v>
                </c:pt>
                <c:pt idx="10">
                  <c:v>0.28058651600728729</c:v>
                </c:pt>
                <c:pt idx="11">
                  <c:v>0.28842326419892911</c:v>
                </c:pt>
                <c:pt idx="12">
                  <c:v>0.29609111695540613</c:v>
                </c:pt>
                <c:pt idx="13">
                  <c:v>0.30359547604969822</c:v>
                </c:pt>
                <c:pt idx="14">
                  <c:v>0.31094151533187436</c:v>
                </c:pt>
                <c:pt idx="15">
                  <c:v>0.31813419262486115</c:v>
                </c:pt>
                <c:pt idx="16">
                  <c:v>0.32517826088286866</c:v>
                </c:pt>
                <c:pt idx="17">
                  <c:v>0.33207827866525247</c:v>
                </c:pt>
                <c:pt idx="18">
                  <c:v>0.33883861997430853</c:v>
                </c:pt>
                <c:pt idx="19">
                  <c:v>0.34546348350162015</c:v>
                </c:pt>
                <c:pt idx="20">
                  <c:v>0.35195690132402468</c:v>
                </c:pt>
                <c:pt idx="21">
                  <c:v>0.35832274708705009</c:v>
                </c:pt>
                <c:pt idx="22">
                  <c:v>0.36456474371071673</c:v>
                </c:pt>
                <c:pt idx="23">
                  <c:v>0.37068647064991989</c:v>
                </c:pt>
                <c:pt idx="24">
                  <c:v>0.37669137073913833</c:v>
                </c:pt>
                <c:pt idx="25">
                  <c:v>0.38258275664897623</c:v>
                </c:pt>
                <c:pt idx="26">
                  <c:v>0.38836381697997829</c:v>
                </c:pt>
                <c:pt idx="27">
                  <c:v>0.39403762201726988</c:v>
                </c:pt>
                <c:pt idx="28">
                  <c:v>0.39960712916784635</c:v>
                </c:pt>
                <c:pt idx="29">
                  <c:v>0.40507518810074394</c:v>
                </c:pt>
                <c:pt idx="30">
                  <c:v>0.41044454560886001</c:v>
                </c:pt>
                <c:pt idx="31">
                  <c:v>0.41571785020985408</c:v>
                </c:pt>
                <c:pt idx="32">
                  <c:v>0.42089765650231986</c:v>
                </c:pt>
                <c:pt idx="33">
                  <c:v>0.42598642929228198</c:v>
                </c:pt>
                <c:pt idx="34">
                  <c:v>0.4309865475040216</c:v>
                </c:pt>
                <c:pt idx="35">
                  <c:v>0.43590030788827011</c:v>
                </c:pt>
                <c:pt idx="36">
                  <c:v>0.44072992853991166</c:v>
                </c:pt>
                <c:pt idx="37">
                  <c:v>0.445477552236516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Heidsieck Monopole Silver Top 750ml (4.2%)</c:v>
                </c:pt>
                <c:pt idx="2">
                  <c:v>Champagne Ruinart Brut 750ml (7.3%)</c:v>
                </c:pt>
                <c:pt idx="3">
                  <c:v>Champagne Taittinger Prestige Brut 750ml (1.6%)</c:v>
                </c:pt>
                <c:pt idx="4">
                  <c:v>Champagne E.Nicolas Brut 750ml (11.6%)</c:v>
                </c:pt>
                <c:pt idx="5">
                  <c:v>Champagne Nicolas Feuillatte Réserve Exclusive Brut 750ml (3.0%)</c:v>
                </c:pt>
                <c:pt idx="6">
                  <c:v>Champagne Deutz Brut Classique 750ml (3.4%)</c:v>
                </c:pt>
                <c:pt idx="7">
                  <c:v>Prosecco Carlo V Cuvée Del Imperator 750ml (5.4%)</c:v>
                </c:pt>
                <c:pt idx="8">
                  <c:v>Champagne Moët &amp; Chandon Réserve Impériale 750ml (1.1%)</c:v>
                </c:pt>
                <c:pt idx="9">
                  <c:v>Champagne Malard Brut 1er Cru 750ml (4.1%)</c:v>
                </c:pt>
              </c:strCache>
            </c:strRef>
          </c:cat>
          <c:val>
            <c:numRef>
              <c:f>Sheet1!$B$2:$B$11</c:f>
              <c:numCache>
                <c:formatCode>General</c:formatCode>
                <c:ptCount val="10"/>
                <c:pt idx="0">
                  <c:v>6.6729557679227433E-2</c:v>
                </c:pt>
                <c:pt idx="1">
                  <c:v>5.6292530497565885E-2</c:v>
                </c:pt>
                <c:pt idx="2">
                  <c:v>5.4287654681449221E-2</c:v>
                </c:pt>
                <c:pt idx="3">
                  <c:v>5.2271244429930717E-2</c:v>
                </c:pt>
                <c:pt idx="4">
                  <c:v>5.0360174633138084E-2</c:v>
                </c:pt>
                <c:pt idx="5">
                  <c:v>4.5607787397624625E-2</c:v>
                </c:pt>
                <c:pt idx="6">
                  <c:v>4.1723156228595064E-2</c:v>
                </c:pt>
                <c:pt idx="7">
                  <c:v>4.0402452632358747E-2</c:v>
                </c:pt>
                <c:pt idx="8">
                  <c:v>3.7650338527128978E-2</c:v>
                </c:pt>
                <c:pt idx="9">
                  <c:v>3.37360546320492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Taittinger Prestige Brut 750ml (1.6%)</c:v>
                </c:pt>
                <c:pt idx="2">
                  <c:v>Champagne Deutz Brut Classique 750ml (3.4%)</c:v>
                </c:pt>
                <c:pt idx="3">
                  <c:v>Champagne Laurent-Perrier Blanc La Cuvée 750ml (2.7%)</c:v>
                </c:pt>
                <c:pt idx="4">
                  <c:v>Champagne Moët &amp; Chandon Réserve Impériale 750ml (1.1%)</c:v>
                </c:pt>
                <c:pt idx="5">
                  <c:v>Champagne Heidsieck Monopole Silver Top 750ml (4.2%)</c:v>
                </c:pt>
                <c:pt idx="6">
                  <c:v>Champagne Nicolas Feuillatte Réserve Exclusive Brut 750ml (3.0%)</c:v>
                </c:pt>
                <c:pt idx="7">
                  <c:v>Champagne E.Nicolas Brut 750ml (11.6%)</c:v>
                </c:pt>
                <c:pt idx="8">
                  <c:v>Prosecco Carlo V Cuvée Del Imperator 750ml (5.4%)</c:v>
                </c:pt>
                <c:pt idx="9">
                  <c:v>Champagne Pommery Brut Silver 750ml (0.8%)</c:v>
                </c:pt>
              </c:strCache>
            </c:strRef>
          </c:cat>
          <c:val>
            <c:numRef>
              <c:f>Sheet1!$B$2:$B$11</c:f>
              <c:numCache>
                <c:formatCode>General</c:formatCode>
                <c:ptCount val="10"/>
                <c:pt idx="0">
                  <c:v>0.1058501240773434</c:v>
                </c:pt>
                <c:pt idx="1">
                  <c:v>8.4646858969517402E-2</c:v>
                </c:pt>
                <c:pt idx="2">
                  <c:v>8.2667060946395754E-2</c:v>
                </c:pt>
                <c:pt idx="3">
                  <c:v>7.0954242307292012E-2</c:v>
                </c:pt>
                <c:pt idx="4">
                  <c:v>3.90711056236384E-2</c:v>
                </c:pt>
                <c:pt idx="5">
                  <c:v>3.8696859771618811E-2</c:v>
                </c:pt>
                <c:pt idx="6">
                  <c:v>3.7820237053849279E-2</c:v>
                </c:pt>
                <c:pt idx="7">
                  <c:v>3.4178895082025554E-2</c:v>
                </c:pt>
                <c:pt idx="8">
                  <c:v>2.7299198626917293E-2</c:v>
                </c:pt>
                <c:pt idx="9">
                  <c:v>2.701228058000103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errier-Jouët Blanc Grand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0000000000003</c:v>
                </c:pt>
                <c:pt idx="1">
                  <c:v>44.95</c:v>
                </c:pt>
                <c:pt idx="2">
                  <c:v>49.95</c:v>
                </c:pt>
                <c:pt idx="3">
                  <c:v>54.95</c:v>
                </c:pt>
                <c:pt idx="4">
                  <c:v>59</c:v>
                </c:pt>
              </c:numCache>
            </c:numRef>
          </c:xVal>
          <c:yVal>
            <c:numRef>
              <c:f>Sheet1!$B$2:$B$6</c:f>
              <c:numCache>
                <c:formatCode>General</c:formatCode>
                <c:ptCount val="5"/>
                <c:pt idx="0">
                  <c:v>0.72624191525983828</c:v>
                </c:pt>
                <c:pt idx="1">
                  <c:v>0.16778133561856309</c:v>
                </c:pt>
                <c:pt idx="2">
                  <c:v>0</c:v>
                </c:pt>
                <c:pt idx="3">
                  <c:v>-0.261439290840776</c:v>
                </c:pt>
                <c:pt idx="4">
                  <c:v>-0.34102464557950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
          <c:min val="39.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82443289506631</c:v>
                </c:pt>
                <c:pt idx="1">
                  <c:v>157.33952813779672</c:v>
                </c:pt>
                <c:pt idx="2">
                  <c:v>150.57133210963934</c:v>
                </c:pt>
                <c:pt idx="3">
                  <c:v>144.42555556022106</c:v>
                </c:pt>
                <c:pt idx="4">
                  <c:v>138.8225830450173</c:v>
                </c:pt>
                <c:pt idx="5">
                  <c:v>133.69496882746282</c:v>
                </c:pt>
                <c:pt idx="6">
                  <c:v>128.98537814582141</c:v>
                </c:pt>
                <c:pt idx="7">
                  <c:v>124.64489759508615</c:v>
                </c:pt>
                <c:pt idx="8">
                  <c:v>120.63164666433104</c:v>
                </c:pt>
                <c:pt idx="9">
                  <c:v>116.9096339082967</c:v>
                </c:pt>
                <c:pt idx="10">
                  <c:v>114.76099375144987</c:v>
                </c:pt>
                <c:pt idx="11">
                  <c:v>112.84947511149686</c:v>
                </c:pt>
                <c:pt idx="12">
                  <c:v>111.01581588474065</c:v>
                </c:pt>
                <c:pt idx="13">
                  <c:v>109.25521883899978</c:v>
                </c:pt>
                <c:pt idx="14">
                  <c:v>107.5632544603276</c:v>
                </c:pt>
                <c:pt idx="15">
                  <c:v>105.93583074507058</c:v>
                </c:pt>
                <c:pt idx="16">
                  <c:v>104.36916510353052</c:v>
                </c:pt>
                <c:pt idx="17">
                  <c:v>102.85975835527354</c:v>
                </c:pt>
                <c:pt idx="18">
                  <c:v>101.40437075983964</c:v>
                </c:pt>
                <c:pt idx="19">
                  <c:v>100</c:v>
                </c:pt>
                <c:pt idx="20">
                  <c:v>96.884828774485001</c:v>
                </c:pt>
                <c:pt idx="21">
                  <c:v>93.755129309072444</c:v>
                </c:pt>
                <c:pt idx="22">
                  <c:v>90.798444826206563</c:v>
                </c:pt>
                <c:pt idx="23">
                  <c:v>88.001160087828083</c:v>
                </c:pt>
                <c:pt idx="24">
                  <c:v>85.351245788476476</c:v>
                </c:pt>
                <c:pt idx="25">
                  <c:v>82.837999060169594</c:v>
                </c:pt>
                <c:pt idx="26">
                  <c:v>80.451828118532632</c:v>
                </c:pt>
                <c:pt idx="27">
                  <c:v>78.184075881285125</c:v>
                </c:pt>
                <c:pt idx="28">
                  <c:v>76.026877183168423</c:v>
                </c:pt>
                <c:pt idx="29">
                  <c:v>73.973044286797318</c:v>
                </c:pt>
                <c:pt idx="30">
                  <c:v>72.816636437327162</c:v>
                </c:pt>
                <c:pt idx="31">
                  <c:v>71.776159390290658</c:v>
                </c:pt>
                <c:pt idx="32">
                  <c:v>70.758414242201823</c:v>
                </c:pt>
                <c:pt idx="33">
                  <c:v>69.762726057682272</c:v>
                </c:pt>
                <c:pt idx="34">
                  <c:v>68.788451785765972</c:v>
                </c:pt>
                <c:pt idx="35">
                  <c:v>67.834977725883078</c:v>
                </c:pt>
                <c:pt idx="36">
                  <c:v>66.901717243254097</c:v>
                </c:pt>
                <c:pt idx="37">
                  <c:v>65.9881087088412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3.73063425414713</c:v>
                </c:pt>
                <c:pt idx="1">
                  <c:v>129.21981606632892</c:v>
                </c:pt>
                <c:pt idx="2">
                  <c:v>125.15646170607614</c:v>
                </c:pt>
                <c:pt idx="3">
                  <c:v>121.48252560120829</c:v>
                </c:pt>
                <c:pt idx="4">
                  <c:v>118.14872526822585</c:v>
                </c:pt>
                <c:pt idx="5">
                  <c:v>115.11310880113037</c:v>
                </c:pt>
                <c:pt idx="6">
                  <c:v>112.33986245817658</c:v>
                </c:pt>
                <c:pt idx="7">
                  <c:v>109.79832170291101</c:v>
                </c:pt>
                <c:pt idx="8">
                  <c:v>107.46215053272465</c:v>
                </c:pt>
                <c:pt idx="9">
                  <c:v>105.30865892567806</c:v>
                </c:pt>
                <c:pt idx="10">
                  <c:v>104.51201610111134</c:v>
                </c:pt>
                <c:pt idx="11">
                  <c:v>103.89085855547063</c:v>
                </c:pt>
                <c:pt idx="12">
                  <c:v>103.30427504166302</c:v>
                </c:pt>
                <c:pt idx="13">
                  <c:v>102.75006176761261</c:v>
                </c:pt>
                <c:pt idx="14">
                  <c:v>102.22617530968346</c:v>
                </c:pt>
                <c:pt idx="15">
                  <c:v>101.73072167288051</c:v>
                </c:pt>
                <c:pt idx="16">
                  <c:v>101.26194562556572</c:v>
                </c:pt>
                <c:pt idx="17">
                  <c:v>100.81822043251489</c:v>
                </c:pt>
                <c:pt idx="18">
                  <c:v>100.39803807301482</c:v>
                </c:pt>
                <c:pt idx="19">
                  <c:v>100</c:v>
                </c:pt>
                <c:pt idx="20">
                  <c:v>97.84717454950254</c:v>
                </c:pt>
                <c:pt idx="21">
                  <c:v>95.618081299882846</c:v>
                </c:pt>
                <c:pt idx="22">
                  <c:v>93.505279623112557</c:v>
                </c:pt>
                <c:pt idx="23">
                  <c:v>91.499717287389615</c:v>
                </c:pt>
                <c:pt idx="24">
                  <c:v>89.593473630655836</c:v>
                </c:pt>
                <c:pt idx="25">
                  <c:v>87.779562108288189</c:v>
                </c:pt>
                <c:pt idx="26">
                  <c:v>86.051764838072572</c:v>
                </c:pt>
                <c:pt idx="27">
                  <c:v>84.404496567372306</c:v>
                </c:pt>
                <c:pt idx="28">
                  <c:v>82.832694868571437</c:v>
                </c:pt>
                <c:pt idx="29">
                  <c:v>81.3317330379666</c:v>
                </c:pt>
                <c:pt idx="30">
                  <c:v>80.783853342060553</c:v>
                </c:pt>
                <c:pt idx="31">
                  <c:v>80.342636917221157</c:v>
                </c:pt>
                <c:pt idx="32">
                  <c:v>79.906484811201054</c:v>
                </c:pt>
                <c:pt idx="33">
                  <c:v>79.475301677500383</c:v>
                </c:pt>
                <c:pt idx="34">
                  <c:v>79.049002191153235</c:v>
                </c:pt>
                <c:pt idx="35">
                  <c:v>78.62750968221664</c:v>
                </c:pt>
                <c:pt idx="36">
                  <c:v>78.210754911209463</c:v>
                </c:pt>
                <c:pt idx="37">
                  <c:v>77.79867497434317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59.121138323086072</c:v>
                </c:pt>
                <c:pt idx="1">
                  <c:v>61.747058664289348</c:v>
                </c:pt>
                <c:pt idx="2">
                  <c:v>64.173161557101793</c:v>
                </c:pt>
                <c:pt idx="3">
                  <c:v>66.428651952467717</c:v>
                </c:pt>
                <c:pt idx="4">
                  <c:v>68.537249108132755</c:v>
                </c:pt>
                <c:pt idx="5">
                  <c:v>70.518342215055569</c:v>
                </c:pt>
                <c:pt idx="6">
                  <c:v>72.387888840982498</c:v>
                </c:pt>
                <c:pt idx="7">
                  <c:v>74.159116052418867</c:v>
                </c:pt>
                <c:pt idx="8">
                  <c:v>75.843068699076639</c:v>
                </c:pt>
                <c:pt idx="9">
                  <c:v>77.449038571686671</c:v>
                </c:pt>
                <c:pt idx="10">
                  <c:v>79.899166841917136</c:v>
                </c:pt>
                <c:pt idx="11">
                  <c:v>82.377341567281931</c:v>
                </c:pt>
                <c:pt idx="12">
                  <c:v>84.785940483545602</c:v>
                </c:pt>
                <c:pt idx="13">
                  <c:v>87.1290218701497</c:v>
                </c:pt>
                <c:pt idx="14">
                  <c:v>89.410301981333532</c:v>
                </c:pt>
                <c:pt idx="15">
                  <c:v>91.633190974740486</c:v>
                </c:pt>
                <c:pt idx="16">
                  <c:v>93.800824620142862</c:v>
                </c:pt>
                <c:pt idx="17">
                  <c:v>95.916092268588713</c:v>
                </c:pt>
                <c:pt idx="18">
                  <c:v>97.981661521817003</c:v>
                </c:pt>
                <c:pt idx="19">
                  <c:v>100</c:v>
                </c:pt>
                <c:pt idx="20">
                  <c:v>100.15498957708022</c:v>
                </c:pt>
                <c:pt idx="21">
                  <c:v>100.0841769584712</c:v>
                </c:pt>
                <c:pt idx="22">
                  <c:v>99.992624729184129</c:v>
                </c:pt>
                <c:pt idx="23">
                  <c:v>99.882398789172086</c:v>
                </c:pt>
                <c:pt idx="24">
                  <c:v>99.755580396933325</c:v>
                </c:pt>
                <c:pt idx="25">
                  <c:v>99.614221772346852</c:v>
                </c:pt>
                <c:pt idx="26">
                  <c:v>99.460303717526372</c:v>
                </c:pt>
                <c:pt idx="27">
                  <c:v>99.295699120397913</c:v>
                </c:pt>
                <c:pt idx="28">
                  <c:v>99.122144540056752</c:v>
                </c:pt>
                <c:pt idx="29">
                  <c:v>98.941220722180773</c:v>
                </c:pt>
                <c:pt idx="30">
                  <c:v>99.852274998374355</c:v>
                </c:pt>
                <c:pt idx="31">
                  <c:v>100.84815168893675</c:v>
                </c:pt>
                <c:pt idx="32">
                  <c:v>101.80649620985636</c:v>
                </c:pt>
                <c:pt idx="33">
                  <c:v>102.72861650414838</c:v>
                </c:pt>
                <c:pt idx="34">
                  <c:v>103.61577741761947</c:v>
                </c:pt>
                <c:pt idx="35">
                  <c:v>104.46920217734213</c:v>
                </c:pt>
                <c:pt idx="36">
                  <c:v>105.29007374946764</c:v>
                </c:pt>
                <c:pt idx="37">
                  <c:v>106.07953609535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3152142446738954</c:v>
                </c:pt>
                <c:pt idx="1">
                  <c:v>0.14213852196778831</c:v>
                </c:pt>
                <c:pt idx="2">
                  <c:v>0.15249916783774267</c:v>
                </c:pt>
                <c:pt idx="3">
                  <c:v>0.16261254292321115</c:v>
                </c:pt>
                <c:pt idx="4">
                  <c:v>0.17248739501138072</c:v>
                </c:pt>
                <c:pt idx="5">
                  <c:v>0.18213206406719215</c:v>
                </c:pt>
                <c:pt idx="6">
                  <c:v>0.19155450572540406</c:v>
                </c:pt>
                <c:pt idx="7">
                  <c:v>0.20076231317727886</c:v>
                </c:pt>
                <c:pt idx="8">
                  <c:v>0.20976273757843578</c:v>
                </c:pt>
                <c:pt idx="9">
                  <c:v>0.21856270709315248</c:v>
                </c:pt>
                <c:pt idx="10">
                  <c:v>0.22716884468023224</c:v>
                </c:pt>
                <c:pt idx="11">
                  <c:v>0.23558748471639535</c:v>
                </c:pt>
                <c:pt idx="12">
                  <c:v>0.2438246885448824</c:v>
                </c:pt>
                <c:pt idx="13">
                  <c:v>0.25188625902947853</c:v>
                </c:pt>
                <c:pt idx="14">
                  <c:v>0.25977775418739552</c:v>
                </c:pt>
                <c:pt idx="15">
                  <c:v>0.26750449996832038</c:v>
                </c:pt>
                <c:pt idx="16">
                  <c:v>0.27507160224137495</c:v>
                </c:pt>
                <c:pt idx="17">
                  <c:v>0.28248395804667792</c:v>
                </c:pt>
                <c:pt idx="18">
                  <c:v>0.28974626616361404</c:v>
                </c:pt>
                <c:pt idx="19">
                  <c:v>0.29686303704373834</c:v>
                </c:pt>
                <c:pt idx="20">
                  <c:v>0.30383860215243141</c:v>
                </c:pt>
                <c:pt idx="21">
                  <c:v>0.3106771227599715</c:v>
                </c:pt>
                <c:pt idx="22">
                  <c:v>0.31738259821950465</c:v>
                </c:pt>
                <c:pt idx="23">
                  <c:v>0.32395887376652299</c:v>
                </c:pt>
                <c:pt idx="24">
                  <c:v>0.33040964787180427</c:v>
                </c:pt>
                <c:pt idx="25">
                  <c:v>0.33673847917736371</c:v>
                </c:pt>
                <c:pt idx="26">
                  <c:v>0.34294879304274428</c:v>
                </c:pt>
                <c:pt idx="27">
                  <c:v>0.34904388772694883</c:v>
                </c:pt>
                <c:pt idx="28">
                  <c:v>0.35502694022945858</c:v>
                </c:pt>
                <c:pt idx="29">
                  <c:v>0.36090101181206824</c:v>
                </c:pt>
                <c:pt idx="30">
                  <c:v>0.36666905322170645</c:v>
                </c:pt>
                <c:pt idx="31">
                  <c:v>0.37233390963296137</c:v>
                </c:pt>
                <c:pt idx="32">
                  <c:v>0.37789832532770468</c:v>
                </c:pt>
                <c:pt idx="33">
                  <c:v>0.38336494812798855</c:v>
                </c:pt>
                <c:pt idx="34">
                  <c:v>0.38873633359725684</c:v>
                </c:pt>
                <c:pt idx="35">
                  <c:v>0.39401494902387818</c:v>
                </c:pt>
                <c:pt idx="36">
                  <c:v>0.39920317720004361</c:v>
                </c:pt>
                <c:pt idx="37">
                  <c:v>0.404303320008192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Ruinart Brut 750ml (7.3%)</c:v>
                </c:pt>
                <c:pt idx="4">
                  <c:v>Champagne Taittinger Prestige Brut 750ml (1.6%)</c:v>
                </c:pt>
                <c:pt idx="5">
                  <c:v>Champagne E.Nicolas Brut 750ml (11.6%)</c:v>
                </c:pt>
                <c:pt idx="6">
                  <c:v>Champagne Vranken Demoiselle Rosé Prestige 750ml (2.0%)</c:v>
                </c:pt>
                <c:pt idx="7">
                  <c:v>Champagne Malard Brut 1er Cru 750ml (4.1%)</c:v>
                </c:pt>
                <c:pt idx="8">
                  <c:v>Champagne Besserat de Bellefon Bleu Brut 750ml (1.7%)</c:v>
                </c:pt>
                <c:pt idx="9">
                  <c:v>Champagne Nicolas Feuillatte Réserve Exclusive Brut 750ml (3.0%)</c:v>
                </c:pt>
              </c:strCache>
            </c:strRef>
          </c:cat>
          <c:val>
            <c:numRef>
              <c:f>Sheet1!$B$2:$B$11</c:f>
              <c:numCache>
                <c:formatCode>General</c:formatCode>
                <c:ptCount val="10"/>
                <c:pt idx="0">
                  <c:v>7.4942441182454439E-2</c:v>
                </c:pt>
                <c:pt idx="1">
                  <c:v>6.1224019493836254E-2</c:v>
                </c:pt>
                <c:pt idx="2">
                  <c:v>5.6098655878069149E-2</c:v>
                </c:pt>
                <c:pt idx="3">
                  <c:v>4.5916087927760266E-2</c:v>
                </c:pt>
                <c:pt idx="4">
                  <c:v>4.4768669477833263E-2</c:v>
                </c:pt>
                <c:pt idx="5">
                  <c:v>4.1011167451713015E-2</c:v>
                </c:pt>
                <c:pt idx="6">
                  <c:v>3.8270524672107613E-2</c:v>
                </c:pt>
                <c:pt idx="7">
                  <c:v>3.6237249327291395E-2</c:v>
                </c:pt>
                <c:pt idx="8">
                  <c:v>3.5426414724943955E-2</c:v>
                </c:pt>
                <c:pt idx="9">
                  <c:v>3.007287907695992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Laurent-Perrier Blanc La Cuvée 750ml (2.7%)</c:v>
                </c:pt>
                <c:pt idx="4">
                  <c:v>Champagne Heidsieck Monopole Silver Top 750ml (4.2%)</c:v>
                </c:pt>
                <c:pt idx="5">
                  <c:v>Champagne Ayala Brut Majeur 750ml (1.7%)</c:v>
                </c:pt>
                <c:pt idx="6">
                  <c:v>Champagne Veuve Clicquot Réserve Cuvée 750ml (1.7%)</c:v>
                </c:pt>
                <c:pt idx="7">
                  <c:v>Champagne Vranken Demoiselle Rosé Prestige 750ml (2.0%)</c:v>
                </c:pt>
                <c:pt idx="8">
                  <c:v>Champagne Bollinger Special Cuvée Brut 750ml (1.2%)</c:v>
                </c:pt>
                <c:pt idx="9">
                  <c:v>Champagne Besserat de Bellefon Bleu Brut 750ml (1.7%)</c:v>
                </c:pt>
              </c:strCache>
            </c:strRef>
          </c:cat>
          <c:val>
            <c:numRef>
              <c:f>Sheet1!$B$2:$B$11</c:f>
              <c:numCache>
                <c:formatCode>General</c:formatCode>
                <c:ptCount val="10"/>
                <c:pt idx="0">
                  <c:v>0.16182336667297989</c:v>
                </c:pt>
                <c:pt idx="1">
                  <c:v>7.9527810099658175E-2</c:v>
                </c:pt>
                <c:pt idx="2">
                  <c:v>7.4963240554316191E-2</c:v>
                </c:pt>
                <c:pt idx="3">
                  <c:v>6.3140680143419212E-2</c:v>
                </c:pt>
                <c:pt idx="4">
                  <c:v>4.4359807010527726E-2</c:v>
                </c:pt>
                <c:pt idx="5">
                  <c:v>3.6070568487191534E-2</c:v>
                </c:pt>
                <c:pt idx="6">
                  <c:v>3.1904031898174527E-2</c:v>
                </c:pt>
                <c:pt idx="7">
                  <c:v>2.9151037196513699E-2</c:v>
                </c:pt>
                <c:pt idx="8">
                  <c:v>2.8908908541699353E-2</c:v>
                </c:pt>
                <c:pt idx="9">
                  <c:v>2.376512134472228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Deutz (4.8%)</c:v>
                </c:pt>
                <c:pt idx="8">
                  <c:v>Ruinart (12.8%)</c:v>
                </c:pt>
                <c:pt idx="9">
                  <c:v>Vesselle (1.0%)</c:v>
                </c:pt>
              </c:strCache>
            </c:strRef>
          </c:cat>
          <c:val>
            <c:numRef>
              <c:f>Sheet1!$B$2:$B$11</c:f>
              <c:numCache>
                <c:formatCode>General</c:formatCode>
                <c:ptCount val="10"/>
                <c:pt idx="0">
                  <c:v>0.17039358313179193</c:v>
                </c:pt>
                <c:pt idx="1">
                  <c:v>0.13449238471632297</c:v>
                </c:pt>
                <c:pt idx="2">
                  <c:v>8.362904890956166E-2</c:v>
                </c:pt>
                <c:pt idx="3">
                  <c:v>5.7686037070967262E-2</c:v>
                </c:pt>
                <c:pt idx="4">
                  <c:v>5.7268932169651524E-2</c:v>
                </c:pt>
                <c:pt idx="5">
                  <c:v>4.7442309692242821E-2</c:v>
                </c:pt>
                <c:pt idx="6">
                  <c:v>3.6447834671571797E-2</c:v>
                </c:pt>
                <c:pt idx="7">
                  <c:v>2.9537947909338152E-2</c:v>
                </c:pt>
                <c:pt idx="8">
                  <c:v>2.8197689154777255E-2</c:v>
                </c:pt>
                <c:pt idx="9">
                  <c:v>2.63367717684379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iper-Heidsieck Essential by Nicola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6.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0000000000003</c:v>
                </c:pt>
                <c:pt idx="2">
                  <c:v>39.950000000000003</c:v>
                </c:pt>
                <c:pt idx="3">
                  <c:v>42.95</c:v>
                </c:pt>
                <c:pt idx="4">
                  <c:v>47.95</c:v>
                </c:pt>
              </c:numCache>
            </c:numRef>
          </c:xVal>
          <c:yVal>
            <c:numRef>
              <c:f>Sheet1!$B$2:$B$6</c:f>
              <c:numCache>
                <c:formatCode>General</c:formatCode>
                <c:ptCount val="5"/>
                <c:pt idx="0">
                  <c:v>1.3523887016327043</c:v>
                </c:pt>
                <c:pt idx="1">
                  <c:v>0.85294844337432285</c:v>
                </c:pt>
                <c:pt idx="2">
                  <c:v>0</c:v>
                </c:pt>
                <c:pt idx="3">
                  <c:v>-0.42265788363113704</c:v>
                </c:pt>
                <c:pt idx="4">
                  <c:v>-0.635314100094377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237.58021944111061</c:v>
                </c:pt>
                <c:pt idx="1">
                  <c:v>227.50622313108181</c:v>
                </c:pt>
                <c:pt idx="2">
                  <c:v>218.22518091536392</c:v>
                </c:pt>
                <c:pt idx="3">
                  <c:v>209.65200724648602</c:v>
                </c:pt>
                <c:pt idx="4">
                  <c:v>201.70945957375449</c:v>
                </c:pt>
                <c:pt idx="5">
                  <c:v>194.32844985659835</c:v>
                </c:pt>
                <c:pt idx="6">
                  <c:v>186.82312339544859</c:v>
                </c:pt>
                <c:pt idx="7">
                  <c:v>174.45537678172113</c:v>
                </c:pt>
                <c:pt idx="8">
                  <c:v>163.0612268856637</c:v>
                </c:pt>
                <c:pt idx="9">
                  <c:v>152.59371827801644</c:v>
                </c:pt>
                <c:pt idx="10">
                  <c:v>142.99969339933324</c:v>
                </c:pt>
                <c:pt idx="11">
                  <c:v>134.2217962681533</c:v>
                </c:pt>
                <c:pt idx="12">
                  <c:v>126.20072939200185</c:v>
                </c:pt>
                <c:pt idx="13">
                  <c:v>118.87725049449796</c:v>
                </c:pt>
                <c:pt idx="14">
                  <c:v>112.19368627730475</c:v>
                </c:pt>
                <c:pt idx="15">
                  <c:v>106.09494675262876</c:v>
                </c:pt>
                <c:pt idx="16">
                  <c:v>100</c:v>
                </c:pt>
                <c:pt idx="17">
                  <c:v>90.18286648859808</c:v>
                </c:pt>
                <c:pt idx="18">
                  <c:v>81.706256025451864</c:v>
                </c:pt>
                <c:pt idx="19">
                  <c:v>74.385372998297214</c:v>
                </c:pt>
                <c:pt idx="20">
                  <c:v>68.05524929674543</c:v>
                </c:pt>
                <c:pt idx="21">
                  <c:v>62.570502166500596</c:v>
                </c:pt>
                <c:pt idx="22">
                  <c:v>57.804419509551373</c:v>
                </c:pt>
                <c:pt idx="23">
                  <c:v>53.64762515246354</c:v>
                </c:pt>
                <c:pt idx="24">
                  <c:v>50.006498545290157</c:v>
                </c:pt>
                <c:pt idx="25">
                  <c:v>46.80147465026495</c:v>
                </c:pt>
                <c:pt idx="26">
                  <c:v>44.086692966555596</c:v>
                </c:pt>
                <c:pt idx="27">
                  <c:v>42.66214727977605</c:v>
                </c:pt>
                <c:pt idx="28">
                  <c:v>41.321236418106686</c:v>
                </c:pt>
                <c:pt idx="29">
                  <c:v>40.057189942463452</c:v>
                </c:pt>
                <c:pt idx="30">
                  <c:v>38.863836998548777</c:v>
                </c:pt>
                <c:pt idx="31">
                  <c:v>37.7355514932996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90.28437664113466</c:v>
                </c:pt>
                <c:pt idx="1">
                  <c:v>185.03912023238371</c:v>
                </c:pt>
                <c:pt idx="2">
                  <c:v>180.19938326113959</c:v>
                </c:pt>
                <c:pt idx="3">
                  <c:v>175.72320710691628</c:v>
                </c:pt>
                <c:pt idx="4">
                  <c:v>171.57111679609599</c:v>
                </c:pt>
                <c:pt idx="5">
                  <c:v>167.7068686393059</c:v>
                </c:pt>
                <c:pt idx="6">
                  <c:v>163.55090256125609</c:v>
                </c:pt>
                <c:pt idx="7">
                  <c:v>154.89251995408293</c:v>
                </c:pt>
                <c:pt idx="8">
                  <c:v>146.80441042595552</c:v>
                </c:pt>
                <c:pt idx="9">
                  <c:v>139.27965788526149</c:v>
                </c:pt>
                <c:pt idx="10">
                  <c:v>132.30334789383508</c:v>
                </c:pt>
                <c:pt idx="11">
                  <c:v>125.85405206963397</c:v>
                </c:pt>
                <c:pt idx="12">
                  <c:v>119.90570136141861</c:v>
                </c:pt>
                <c:pt idx="13">
                  <c:v>114.42937719114961</c:v>
                </c:pt>
                <c:pt idx="14">
                  <c:v>109.39478142043515</c:v>
                </c:pt>
                <c:pt idx="15">
                  <c:v>104.77132727980378</c:v>
                </c:pt>
                <c:pt idx="16">
                  <c:v>100</c:v>
                </c:pt>
                <c:pt idx="17">
                  <c:v>91.309990932668754</c:v>
                </c:pt>
                <c:pt idx="18">
                  <c:v>83.748687168996085</c:v>
                </c:pt>
                <c:pt idx="19">
                  <c:v>77.174565196280795</c:v>
                </c:pt>
                <c:pt idx="20">
                  <c:v>71.457714024909421</c:v>
                </c:pt>
                <c:pt idx="21">
                  <c:v>66.480803316548631</c:v>
                </c:pt>
                <c:pt idx="22">
                  <c:v>62.139315434402512</c:v>
                </c:pt>
                <c:pt idx="23">
                  <c:v>58.341255521962466</c:v>
                </c:pt>
                <c:pt idx="24">
                  <c:v>55.006493561175454</c:v>
                </c:pt>
                <c:pt idx="25">
                  <c:v>52.065856001908593</c:v>
                </c:pt>
                <c:pt idx="26">
                  <c:v>49.596555082147461</c:v>
                </c:pt>
                <c:pt idx="27">
                  <c:v>48.526581207650999</c:v>
                </c:pt>
                <c:pt idx="28">
                  <c:v>47.517233206406004</c:v>
                </c:pt>
                <c:pt idx="29">
                  <c:v>46.563769913565238</c:v>
                </c:pt>
                <c:pt idx="30">
                  <c:v>45.661817117105144</c:v>
                </c:pt>
                <c:pt idx="31">
                  <c:v>44.807339785397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28.36068740627459</c:v>
                </c:pt>
                <c:pt idx="1">
                  <c:v>129.45464468485076</c:v>
                </c:pt>
                <c:pt idx="2">
                  <c:v>130.44369106898932</c:v>
                </c:pt>
                <c:pt idx="3">
                  <c:v>131.34287226215665</c:v>
                </c:pt>
                <c:pt idx="4">
                  <c:v>132.16259399250842</c:v>
                </c:pt>
                <c:pt idx="5">
                  <c:v>132.90996180666235</c:v>
                </c:pt>
                <c:pt idx="6">
                  <c:v>133.14458547218973</c:v>
                </c:pt>
                <c:pt idx="7">
                  <c:v>129.3428743812288</c:v>
                </c:pt>
                <c:pt idx="8">
                  <c:v>125.58026374956199</c:v>
                </c:pt>
                <c:pt idx="9">
                  <c:v>121.90316305552523</c:v>
                </c:pt>
                <c:pt idx="10">
                  <c:v>118.34745230955342</c:v>
                </c:pt>
                <c:pt idx="11">
                  <c:v>114.93930690023515</c:v>
                </c:pt>
                <c:pt idx="12">
                  <c:v>111.69659196941426</c:v>
                </c:pt>
                <c:pt idx="13">
                  <c:v>108.63040810758203</c:v>
                </c:pt>
                <c:pt idx="14">
                  <c:v>105.74652606059107</c:v>
                </c:pt>
                <c:pt idx="15">
                  <c:v>103.04659731963459</c:v>
                </c:pt>
                <c:pt idx="16">
                  <c:v>100</c:v>
                </c:pt>
                <c:pt idx="17">
                  <c:v>92.774025618610906</c:v>
                </c:pt>
                <c:pt idx="18">
                  <c:v>86.401469640252699</c:v>
                </c:pt>
                <c:pt idx="19">
                  <c:v>80.79715649627417</c:v>
                </c:pt>
                <c:pt idx="20">
                  <c:v>75.87677848190873</c:v>
                </c:pt>
                <c:pt idx="21">
                  <c:v>71.559467269906136</c:v>
                </c:pt>
                <c:pt idx="22">
                  <c:v>67.769535181686607</c:v>
                </c:pt>
                <c:pt idx="23">
                  <c:v>64.437554258833501</c:v>
                </c:pt>
                <c:pt idx="24">
                  <c:v>61.50090321977337</c:v>
                </c:pt>
                <c:pt idx="25">
                  <c:v>58.903891190560806</c:v>
                </c:pt>
                <c:pt idx="26">
                  <c:v>56.753803853611743</c:v>
                </c:pt>
                <c:pt idx="27">
                  <c:v>56.14573439643911</c:v>
                </c:pt>
                <c:pt idx="28">
                  <c:v>55.568275108774358</c:v>
                </c:pt>
                <c:pt idx="29">
                  <c:v>55.019335716767081</c:v>
                </c:pt>
                <c:pt idx="30">
                  <c:v>54.496888594928862</c:v>
                </c:pt>
                <c:pt idx="31">
                  <c:v>53.9989764516808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29381348970927101</c:v>
                </c:pt>
                <c:pt idx="1">
                  <c:v>0.30467789755989783</c:v>
                </c:pt>
                <c:pt idx="2">
                  <c:v>0.31521308093020223</c:v>
                </c:pt>
                <c:pt idx="3">
                  <c:v>0.32543378121482602</c:v>
                </c:pt>
                <c:pt idx="4">
                  <c:v>0.33535387266754935</c:v>
                </c:pt>
                <c:pt idx="5">
                  <c:v>0.34498642523758477</c:v>
                </c:pt>
                <c:pt idx="6">
                  <c:v>0.35434376201990503</c:v>
                </c:pt>
                <c:pt idx="7">
                  <c:v>0.36343751185061046</c:v>
                </c:pt>
                <c:pt idx="8">
                  <c:v>0.37227865751935207</c:v>
                </c:pt>
                <c:pt idx="9">
                  <c:v>0.38087758001908706</c:v>
                </c:pt>
                <c:pt idx="10">
                  <c:v>0.38924409920801839</c:v>
                </c:pt>
                <c:pt idx="11">
                  <c:v>0.39738751121857818</c:v>
                </c:pt>
                <c:pt idx="12">
                  <c:v>0.40531662291307047</c:v>
                </c:pt>
                <c:pt idx="13">
                  <c:v>0.41303978365445909</c:v>
                </c:pt>
                <c:pt idx="14">
                  <c:v>0.42056491463324808</c:v>
                </c:pt>
                <c:pt idx="15">
                  <c:v>0.42789953596700436</c:v>
                </c:pt>
                <c:pt idx="16">
                  <c:v>0.43505079176741696</c:v>
                </c:pt>
                <c:pt idx="17">
                  <c:v>0.44202547335053516</c:v>
                </c:pt>
                <c:pt idx="18">
                  <c:v>0.44883004074869937</c:v>
                </c:pt>
                <c:pt idx="19">
                  <c:v>0.45547064266738979</c:v>
                </c:pt>
                <c:pt idx="20">
                  <c:v>0.46195313501658752</c:v>
                </c:pt>
                <c:pt idx="21">
                  <c:v>0.46828309813403934</c:v>
                </c:pt>
                <c:pt idx="22">
                  <c:v>0.47446585280689935</c:v>
                </c:pt>
                <c:pt idx="23">
                  <c:v>0.48050647518842932</c:v>
                </c:pt>
                <c:pt idx="24">
                  <c:v>0.48640981069765177</c:v>
                </c:pt>
                <c:pt idx="25">
                  <c:v>0.49218048698194783</c:v>
                </c:pt>
                <c:pt idx="26">
                  <c:v>0.49782292601548167</c:v>
                </c:pt>
                <c:pt idx="27">
                  <c:v>0.50334135539992697</c:v>
                </c:pt>
                <c:pt idx="28">
                  <c:v>0.50873981892818865</c:v>
                </c:pt>
                <c:pt idx="29">
                  <c:v>0.51402218646659514</c:v>
                </c:pt>
                <c:pt idx="30">
                  <c:v>0.51919216320631234</c:v>
                </c:pt>
                <c:pt idx="31">
                  <c:v>0.524253298330456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9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Malard Brut 1er Cru 750ml (4.1%)</c:v>
                </c:pt>
                <c:pt idx="4">
                  <c:v>Champagne E.Nicolas Brut 750ml (11.6%)</c:v>
                </c:pt>
                <c:pt idx="5">
                  <c:v>Champagne Besserat de Bellefon Bleu Brut 750ml (1.7%)</c:v>
                </c:pt>
                <c:pt idx="6">
                  <c:v>Prosecco Carlo V Cuvée Del Imperator 750ml (5.4%)</c:v>
                </c:pt>
                <c:pt idx="7">
                  <c:v>Champagne Vranken Demoiselle Tête de Cuvée 750ml (1.4%)</c:v>
                </c:pt>
                <c:pt idx="8">
                  <c:v>Prosecco Bottega 750ml (2.6%)</c:v>
                </c:pt>
                <c:pt idx="9">
                  <c:v>Champagne Laurent-Perrier Blanc La Cuvée 750ml (2.7%)</c:v>
                </c:pt>
              </c:strCache>
            </c:strRef>
          </c:cat>
          <c:val>
            <c:numRef>
              <c:f>Sheet1!$B$2:$B$11</c:f>
              <c:numCache>
                <c:formatCode>General</c:formatCode>
                <c:ptCount val="10"/>
                <c:pt idx="0">
                  <c:v>0.38787718451765346</c:v>
                </c:pt>
                <c:pt idx="1">
                  <c:v>7.1228778647784458E-2</c:v>
                </c:pt>
                <c:pt idx="2">
                  <c:v>6.3858151179920983E-2</c:v>
                </c:pt>
                <c:pt idx="3">
                  <c:v>3.6899476632270028E-2</c:v>
                </c:pt>
                <c:pt idx="4">
                  <c:v>3.3875695810961642E-2</c:v>
                </c:pt>
                <c:pt idx="5">
                  <c:v>3.291880807102901E-2</c:v>
                </c:pt>
                <c:pt idx="6">
                  <c:v>3.0742418473036107E-2</c:v>
                </c:pt>
                <c:pt idx="7">
                  <c:v>2.1525422863574385E-2</c:v>
                </c:pt>
                <c:pt idx="8">
                  <c:v>2.0662852651675584E-2</c:v>
                </c:pt>
                <c:pt idx="9">
                  <c:v>2.003615194847441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Besserat de Bellefon Bleu Brut 750ml (1.7%)</c:v>
                </c:pt>
                <c:pt idx="5">
                  <c:v>Champagne E.Nicolas Brut 750ml (11.6%)</c:v>
                </c:pt>
                <c:pt idx="6">
                  <c:v>Champagne Vranken Demoiselle Tête de Cuvée 750ml (1.4%)</c:v>
                </c:pt>
                <c:pt idx="7">
                  <c:v>Champagne Malard Brut 1er Cru 750ml (4.1%)</c:v>
                </c:pt>
                <c:pt idx="8">
                  <c:v>Prosecco Carlo V Cuvée Del Imperator 750ml (5.4%)</c:v>
                </c:pt>
                <c:pt idx="9">
                  <c:v>Champagne Deutz Brut Classique 750ml (3.4%)</c:v>
                </c:pt>
              </c:strCache>
            </c:strRef>
          </c:cat>
          <c:val>
            <c:numRef>
              <c:f>Sheet1!$B$2:$B$11</c:f>
              <c:numCache>
                <c:formatCode>General</c:formatCode>
                <c:ptCount val="10"/>
                <c:pt idx="0">
                  <c:v>0.28133070697171308</c:v>
                </c:pt>
                <c:pt idx="1">
                  <c:v>6.3013834422816106E-2</c:v>
                </c:pt>
                <c:pt idx="2">
                  <c:v>5.2251320138986534E-2</c:v>
                </c:pt>
                <c:pt idx="3">
                  <c:v>4.4685573795833246E-2</c:v>
                </c:pt>
                <c:pt idx="4">
                  <c:v>4.0963080076198012E-2</c:v>
                </c:pt>
                <c:pt idx="5">
                  <c:v>3.2609557458006505E-2</c:v>
                </c:pt>
                <c:pt idx="6">
                  <c:v>2.8432330218780503E-2</c:v>
                </c:pt>
                <c:pt idx="7">
                  <c:v>2.7346801039963606E-2</c:v>
                </c:pt>
                <c:pt idx="8">
                  <c:v>2.6664556899127934E-2</c:v>
                </c:pt>
                <c:pt idx="9">
                  <c:v>2.143308864508309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l Roger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7.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0000000000003</c:v>
                </c:pt>
                <c:pt idx="1">
                  <c:v>44.95</c:v>
                </c:pt>
                <c:pt idx="2">
                  <c:v>49.95</c:v>
                </c:pt>
                <c:pt idx="3">
                  <c:v>54.95</c:v>
                </c:pt>
                <c:pt idx="4">
                  <c:v>59</c:v>
                </c:pt>
              </c:numCache>
            </c:numRef>
          </c:xVal>
          <c:yVal>
            <c:numRef>
              <c:f>Sheet1!$B$2:$B$6</c:f>
              <c:numCache>
                <c:formatCode>General</c:formatCode>
                <c:ptCount val="5"/>
                <c:pt idx="0">
                  <c:v>1.3762084727264607</c:v>
                </c:pt>
                <c:pt idx="1">
                  <c:v>0.30665925241424341</c:v>
                </c:pt>
                <c:pt idx="2">
                  <c:v>0</c:v>
                </c:pt>
                <c:pt idx="3">
                  <c:v>-0.23723009191042421</c:v>
                </c:pt>
                <c:pt idx="4">
                  <c:v>-0.30875048289951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
          <c:min val="39.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22.10829068621175</c:v>
                </c:pt>
                <c:pt idx="1">
                  <c:v>206.97334632472061</c:v>
                </c:pt>
                <c:pt idx="2">
                  <c:v>193.5371474548237</c:v>
                </c:pt>
                <c:pt idx="3">
                  <c:v>181.55839903343028</c:v>
                </c:pt>
                <c:pt idx="4">
                  <c:v>170.8345393134758</c:v>
                </c:pt>
                <c:pt idx="5">
                  <c:v>161.19541514747075</c:v>
                </c:pt>
                <c:pt idx="6">
                  <c:v>152.49781136368034</c:v>
                </c:pt>
                <c:pt idx="7">
                  <c:v>144.62083007328502</c:v>
                </c:pt>
                <c:pt idx="8">
                  <c:v>137.46204809585251</c:v>
                </c:pt>
                <c:pt idx="9">
                  <c:v>130.93435257189384</c:v>
                </c:pt>
                <c:pt idx="10">
                  <c:v>126.86618729698664</c:v>
                </c:pt>
                <c:pt idx="11">
                  <c:v>123.23008614734934</c:v>
                </c:pt>
                <c:pt idx="12">
                  <c:v>119.78442256789121</c:v>
                </c:pt>
                <c:pt idx="13">
                  <c:v>116.51592186879461</c:v>
                </c:pt>
                <c:pt idx="14">
                  <c:v>113.41230895117349</c:v>
                </c:pt>
                <c:pt idx="15">
                  <c:v>110.46224466714509</c:v>
                </c:pt>
                <c:pt idx="16">
                  <c:v>107.65526338696152</c:v>
                </c:pt>
                <c:pt idx="17">
                  <c:v>104.98171213311505</c:v>
                </c:pt>
                <c:pt idx="18">
                  <c:v>102.43269168062268</c:v>
                </c:pt>
                <c:pt idx="19">
                  <c:v>100</c:v>
                </c:pt>
                <c:pt idx="20">
                  <c:v>97.02965026814401</c:v>
                </c:pt>
                <c:pt idx="21">
                  <c:v>94.169741019180222</c:v>
                </c:pt>
                <c:pt idx="22">
                  <c:v>91.479252177860687</c:v>
                </c:pt>
                <c:pt idx="23">
                  <c:v>88.942755158797809</c:v>
                </c:pt>
                <c:pt idx="24">
                  <c:v>86.546618639190783</c:v>
                </c:pt>
                <c:pt idx="25">
                  <c:v>84.278775249818992</c:v>
                </c:pt>
                <c:pt idx="26">
                  <c:v>82.128518141537825</c:v>
                </c:pt>
                <c:pt idx="27">
                  <c:v>80.086324401250664</c:v>
                </c:pt>
                <c:pt idx="28">
                  <c:v>78.143702256105911</c:v>
                </c:pt>
                <c:pt idx="29">
                  <c:v>76.293059132523354</c:v>
                </c:pt>
                <c:pt idx="30">
                  <c:v>75.259880222621561</c:v>
                </c:pt>
                <c:pt idx="31">
                  <c:v>74.330984342989964</c:v>
                </c:pt>
                <c:pt idx="32">
                  <c:v>73.421237506380905</c:v>
                </c:pt>
                <c:pt idx="33">
                  <c:v>72.530031372417767</c:v>
                </c:pt>
                <c:pt idx="34">
                  <c:v>71.656785162377815</c:v>
                </c:pt>
                <c:pt idx="35">
                  <c:v>70.800944029448019</c:v>
                </c:pt>
                <c:pt idx="36">
                  <c:v>69.961977547801155</c:v>
                </c:pt>
                <c:pt idx="37">
                  <c:v>69.1393783099436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79.94392041367792</c:v>
                </c:pt>
                <c:pt idx="1">
                  <c:v>169.75569253964619</c:v>
                </c:pt>
                <c:pt idx="2">
                  <c:v>160.6740891429823</c:v>
                </c:pt>
                <c:pt idx="3">
                  <c:v>152.54756713591755</c:v>
                </c:pt>
                <c:pt idx="4">
                  <c:v>145.24780928063839</c:v>
                </c:pt>
                <c:pt idx="5">
                  <c:v>138.66623125344128</c:v>
                </c:pt>
                <c:pt idx="6">
                  <c:v>132.710851052207</c:v>
                </c:pt>
                <c:pt idx="7">
                  <c:v>127.30357657310523</c:v>
                </c:pt>
                <c:pt idx="8">
                  <c:v>122.37790699178663</c:v>
                </c:pt>
                <c:pt idx="9">
                  <c:v>117.87701268091323</c:v>
                </c:pt>
                <c:pt idx="10">
                  <c:v>115.4794275903448</c:v>
                </c:pt>
                <c:pt idx="11">
                  <c:v>113.39798471803468</c:v>
                </c:pt>
                <c:pt idx="12">
                  <c:v>111.42138104591901</c:v>
                </c:pt>
                <c:pt idx="13">
                  <c:v>109.54280104715917</c:v>
                </c:pt>
                <c:pt idx="14">
                  <c:v>107.75585426093311</c:v>
                </c:pt>
                <c:pt idx="15">
                  <c:v>106.05456330846017</c:v>
                </c:pt>
                <c:pt idx="16">
                  <c:v>104.43334937484636</c:v>
                </c:pt>
                <c:pt idx="17">
                  <c:v>102.88701558127937</c:v>
                </c:pt>
                <c:pt idx="18">
                  <c:v>101.41072874067005</c:v>
                </c:pt>
                <c:pt idx="19">
                  <c:v>100</c:v>
                </c:pt>
                <c:pt idx="20">
                  <c:v>97.997931585797318</c:v>
                </c:pt>
                <c:pt idx="21">
                  <c:v>96.049365503146888</c:v>
                </c:pt>
                <c:pt idx="22">
                  <c:v>94.218317964126413</c:v>
                </c:pt>
                <c:pt idx="23">
                  <c:v>92.493798351370273</c:v>
                </c:pt>
                <c:pt idx="24">
                  <c:v>90.866090465973087</c:v>
                </c:pt>
                <c:pt idx="25">
                  <c:v>89.326594222604498</c:v>
                </c:pt>
                <c:pt idx="26">
                  <c:v>87.867685499869211</c:v>
                </c:pt>
                <c:pt idx="27">
                  <c:v>86.482592925901557</c:v>
                </c:pt>
                <c:pt idx="28">
                  <c:v>85.165290108955176</c:v>
                </c:pt>
                <c:pt idx="29">
                  <c:v>83.910401726303704</c:v>
                </c:pt>
                <c:pt idx="30">
                  <c:v>83.523821832476926</c:v>
                </c:pt>
                <c:pt idx="31">
                  <c:v>83.233244728190627</c:v>
                </c:pt>
                <c:pt idx="32">
                  <c:v>82.945833412856786</c:v>
                </c:pt>
                <c:pt idx="33">
                  <c:v>82.661464947349572</c:v>
                </c:pt>
                <c:pt idx="34">
                  <c:v>82.380023942824664</c:v>
                </c:pt>
                <c:pt idx="35">
                  <c:v>82.101402036089311</c:v>
                </c:pt>
                <c:pt idx="36">
                  <c:v>81.82549740720286</c:v>
                </c:pt>
                <c:pt idx="37">
                  <c:v>81.5522143350808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125.52254327225126</c:v>
                </c:pt>
                <c:pt idx="1">
                  <c:v>121.70622512379758</c:v>
                </c:pt>
                <c:pt idx="2">
                  <c:v>118.23490123350655</c:v>
                </c:pt>
                <c:pt idx="3">
                  <c:v>115.07227717677151</c:v>
                </c:pt>
                <c:pt idx="4">
                  <c:v>112.18540393925029</c:v>
                </c:pt>
                <c:pt idx="5">
                  <c:v>109.54481229805897</c:v>
                </c:pt>
                <c:pt idx="6">
                  <c:v>107.12437862754084</c:v>
                </c:pt>
                <c:pt idx="7">
                  <c:v>104.90105595741042</c:v>
                </c:pt>
                <c:pt idx="8">
                  <c:v>102.85455271859266</c:v>
                </c:pt>
                <c:pt idx="9">
                  <c:v>100.96700678032443</c:v>
                </c:pt>
                <c:pt idx="10">
                  <c:v>100.7335601721887</c:v>
                </c:pt>
                <c:pt idx="11">
                  <c:v>100.6668487327844</c:v>
                </c:pt>
                <c:pt idx="12">
                  <c:v>100.59362352456822</c:v>
                </c:pt>
                <c:pt idx="13">
                  <c:v>100.51550859780782</c:v>
                </c:pt>
                <c:pt idx="14">
                  <c:v>100.43379791643969</c:v>
                </c:pt>
                <c:pt idx="15">
                  <c:v>100.34951193404309</c:v>
                </c:pt>
                <c:pt idx="16">
                  <c:v>100.26344655471779</c:v>
                </c:pt>
                <c:pt idx="17">
                  <c:v>100.17621501568495</c:v>
                </c:pt>
                <c:pt idx="18">
                  <c:v>100.08828333273021</c:v>
                </c:pt>
                <c:pt idx="19">
                  <c:v>100</c:v>
                </c:pt>
                <c:pt idx="20">
                  <c:v>99.250397554478923</c:v>
                </c:pt>
                <c:pt idx="21">
                  <c:v>98.480324356238057</c:v>
                </c:pt>
                <c:pt idx="22">
                  <c:v>97.760393060112037</c:v>
                </c:pt>
                <c:pt idx="23">
                  <c:v>97.085395335782849</c:v>
                </c:pt>
                <c:pt idx="24">
                  <c:v>96.450713312999255</c:v>
                </c:pt>
                <c:pt idx="25">
                  <c:v>95.852259906175334</c:v>
                </c:pt>
                <c:pt idx="26">
                  <c:v>95.286421761992813</c:v>
                </c:pt>
                <c:pt idx="27">
                  <c:v>94.750006036306871</c:v>
                </c:pt>
                <c:pt idx="28">
                  <c:v>94.240191610117947</c:v>
                </c:pt>
                <c:pt idx="29">
                  <c:v>93.754484950973904</c:v>
                </c:pt>
                <c:pt idx="30">
                  <c:v>94.207335123637833</c:v>
                </c:pt>
                <c:pt idx="31">
                  <c:v>94.745816054425177</c:v>
                </c:pt>
                <c:pt idx="32">
                  <c:v>95.266623690023607</c:v>
                </c:pt>
                <c:pt idx="33">
                  <c:v>95.770269574260368</c:v>
                </c:pt>
                <c:pt idx="34">
                  <c:v>96.25724658170725</c:v>
                </c:pt>
                <c:pt idx="35">
                  <c:v>96.728029845189369</c:v>
                </c:pt>
                <c:pt idx="36">
                  <c:v>97.183077624542406</c:v>
                </c:pt>
                <c:pt idx="37">
                  <c:v>97.6228321207607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559829396303656</c:v>
                </c:pt>
                <c:pt idx="1">
                  <c:v>0.31408731237424614</c:v>
                </c:pt>
                <c:pt idx="2">
                  <c:v>0.32237128203156207</c:v>
                </c:pt>
                <c:pt idx="3">
                  <c:v>0.33045754358249813</c:v>
                </c:pt>
                <c:pt idx="4">
                  <c:v>0.33835309141761011</c:v>
                </c:pt>
                <c:pt idx="5">
                  <c:v>0.34606459384864052</c:v>
                </c:pt>
                <c:pt idx="6">
                  <c:v>0.3535984118918587</c:v>
                </c:pt>
                <c:pt idx="7">
                  <c:v>0.36096061676780566</c:v>
                </c:pt>
                <c:pt idx="8">
                  <c:v>0.36815700621861863</c:v>
                </c:pt>
                <c:pt idx="9">
                  <c:v>0.3751931197351151</c:v>
                </c:pt>
                <c:pt idx="10">
                  <c:v>0.38207425277767992</c:v>
                </c:pt>
                <c:pt idx="11">
                  <c:v>0.38880547006768357</c:v>
                </c:pt>
                <c:pt idx="12">
                  <c:v>0.39539161801954031</c:v>
                </c:pt>
                <c:pt idx="13">
                  <c:v>0.40183733637754099</c:v>
                </c:pt>
                <c:pt idx="14">
                  <c:v>0.40814706911617449</c:v>
                </c:pt>
                <c:pt idx="15">
                  <c:v>0.41432507465775936</c:v>
                </c:pt>
                <c:pt idx="16">
                  <c:v>0.42037543545674944</c:v>
                </c:pt>
                <c:pt idx="17">
                  <c:v>0.42630206699604645</c:v>
                </c:pt>
                <c:pt idx="18">
                  <c:v>0.43210872623697721</c:v>
                </c:pt>
                <c:pt idx="19">
                  <c:v>0.43779901956125589</c:v>
                </c:pt>
                <c:pt idx="20">
                  <c:v>0.44337641024021174</c:v>
                </c:pt>
                <c:pt idx="21">
                  <c:v>0.44884422546378527</c:v>
                </c:pt>
                <c:pt idx="22">
                  <c:v>0.45420566295927378</c:v>
                </c:pt>
                <c:pt idx="23">
                  <c:v>0.45946379722748881</c:v>
                </c:pt>
                <c:pt idx="24">
                  <c:v>0.46462158542188314</c:v>
                </c:pt>
                <c:pt idx="25">
                  <c:v>0.46968187289426594</c:v>
                </c:pt>
                <c:pt idx="26">
                  <c:v>0.47464739842896386</c:v>
                </c:pt>
                <c:pt idx="27">
                  <c:v>0.47952079918565255</c:v>
                </c:pt>
                <c:pt idx="28">
                  <c:v>0.48430461536960795</c:v>
                </c:pt>
                <c:pt idx="29">
                  <c:v>0.48900129464675179</c:v>
                </c:pt>
                <c:pt idx="30">
                  <c:v>0.49361319631961498</c:v>
                </c:pt>
                <c:pt idx="31">
                  <c:v>0.49814259527918914</c:v>
                </c:pt>
                <c:pt idx="32">
                  <c:v>0.5025916857465722</c:v>
                </c:pt>
                <c:pt idx="33">
                  <c:v>0.50696258481734047</c:v>
                </c:pt>
                <c:pt idx="34">
                  <c:v>0.51125733582067368</c:v>
                </c:pt>
                <c:pt idx="35">
                  <c:v>0.51547791150443301</c:v>
                </c:pt>
                <c:pt idx="36">
                  <c:v>0.51962621705662115</c:v>
                </c:pt>
                <c:pt idx="37">
                  <c:v>0.523704092972948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Besserat de Bellefon Bleu Brut 750ml (1.7%)</c:v>
                </c:pt>
                <c:pt idx="4">
                  <c:v>Champagne Laurent-Perrier Blanc La Cuvée 750ml (2.7%)</c:v>
                </c:pt>
                <c:pt idx="5">
                  <c:v>Champagne Deutz Brut Classique 750ml (3.4%)</c:v>
                </c:pt>
                <c:pt idx="6">
                  <c:v>Champagne Vranken Demoiselle Rosé Prestige 750ml (2.0%)</c:v>
                </c:pt>
                <c:pt idx="7">
                  <c:v>Champagne Nicolas Feuillatte Réserve Exclusive Brut 750ml (3.0%)</c:v>
                </c:pt>
                <c:pt idx="8">
                  <c:v>Champagne Taittinger Prestige Brut 750ml (1.6%)</c:v>
                </c:pt>
                <c:pt idx="9">
                  <c:v>Champagne Ruinart Brut 750ml (7.3%)</c:v>
                </c:pt>
              </c:strCache>
            </c:strRef>
          </c:cat>
          <c:val>
            <c:numRef>
              <c:f>Sheet1!$B$2:$B$11</c:f>
              <c:numCache>
                <c:formatCode>General</c:formatCode>
                <c:ptCount val="10"/>
                <c:pt idx="0">
                  <c:v>6.2333303005590306E-2</c:v>
                </c:pt>
                <c:pt idx="1">
                  <c:v>6.0093673981118582E-2</c:v>
                </c:pt>
                <c:pt idx="2">
                  <c:v>5.5092139973079997E-2</c:v>
                </c:pt>
                <c:pt idx="3">
                  <c:v>5.4759095122105882E-2</c:v>
                </c:pt>
                <c:pt idx="4">
                  <c:v>4.9603198709191554E-2</c:v>
                </c:pt>
                <c:pt idx="5">
                  <c:v>3.5861793973316472E-2</c:v>
                </c:pt>
                <c:pt idx="6">
                  <c:v>3.1976565640240748E-2</c:v>
                </c:pt>
                <c:pt idx="7">
                  <c:v>3.1163652353573271E-2</c:v>
                </c:pt>
                <c:pt idx="8">
                  <c:v>2.9333849188828875E-2</c:v>
                </c:pt>
                <c:pt idx="9">
                  <c:v>2.780238467114926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E.Nicolas Brut 750ml (11.6%)</c:v>
                </c:pt>
                <c:pt idx="3">
                  <c:v>Champagne Malard Brut 1er Cru 750ml (4.1%)</c:v>
                </c:pt>
                <c:pt idx="4">
                  <c:v>Champagne Taittinger Prestige Brut 750ml (1.6%)</c:v>
                </c:pt>
                <c:pt idx="5">
                  <c:v>Champagne Besserat de Bellefon Bleu Brut 750ml (1.7%)</c:v>
                </c:pt>
                <c:pt idx="6">
                  <c:v>Champagne Ruinart Brut 750ml (7.3%)</c:v>
                </c:pt>
                <c:pt idx="7">
                  <c:v>Champagne Heidsieck Monopole Silver Top 750ml (4.2%)</c:v>
                </c:pt>
                <c:pt idx="8">
                  <c:v>Champagne Vranken Demoiselle Rosé Prestige 750ml (2.0%)</c:v>
                </c:pt>
                <c:pt idx="9">
                  <c:v>Champagne Ayala Brut Majeur 750ml (1.7%)</c:v>
                </c:pt>
              </c:strCache>
            </c:strRef>
          </c:cat>
          <c:val>
            <c:numRef>
              <c:f>Sheet1!$B$2:$B$11</c:f>
              <c:numCache>
                <c:formatCode>General</c:formatCode>
                <c:ptCount val="10"/>
                <c:pt idx="0">
                  <c:v>6.9438653565944572E-2</c:v>
                </c:pt>
                <c:pt idx="1">
                  <c:v>5.4288852824692785E-2</c:v>
                </c:pt>
                <c:pt idx="2">
                  <c:v>4.7009004051636008E-2</c:v>
                </c:pt>
                <c:pt idx="3">
                  <c:v>4.3975918910613865E-2</c:v>
                </c:pt>
                <c:pt idx="4">
                  <c:v>4.3509753998411359E-2</c:v>
                </c:pt>
                <c:pt idx="5">
                  <c:v>4.2524782577205898E-2</c:v>
                </c:pt>
                <c:pt idx="6">
                  <c:v>4.1651367435220063E-2</c:v>
                </c:pt>
                <c:pt idx="7">
                  <c:v>4.0930046950263518E-2</c:v>
                </c:pt>
                <c:pt idx="8">
                  <c:v>3.0140523453030914E-2</c:v>
                </c:pt>
                <c:pt idx="9">
                  <c:v>2.6252119681681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Roederer Brut Collection 24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c:v>
                </c:pt>
                <c:pt idx="3">
                  <c:v>65</c:v>
                </c:pt>
                <c:pt idx="4">
                  <c:v>69</c:v>
                </c:pt>
              </c:numCache>
            </c:numRef>
          </c:xVal>
          <c:yVal>
            <c:numRef>
              <c:f>Sheet1!$B$2:$B$6</c:f>
              <c:numCache>
                <c:formatCode>General</c:formatCode>
                <c:ptCount val="5"/>
                <c:pt idx="0">
                  <c:v>0.57230127233311168</c:v>
                </c:pt>
                <c:pt idx="1">
                  <c:v>0.12158491637986214</c:v>
                </c:pt>
                <c:pt idx="2">
                  <c:v>0</c:v>
                </c:pt>
                <c:pt idx="3">
                  <c:v>-0.2030139002665694</c:v>
                </c:pt>
                <c:pt idx="4">
                  <c:v>-0.298035720816782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
          <c:min val="4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50.39452806678315</c:v>
                </c:pt>
                <c:pt idx="1">
                  <c:v>147.95121422130521</c:v>
                </c:pt>
                <c:pt idx="2">
                  <c:v>145.60627059943172</c:v>
                </c:pt>
                <c:pt idx="3">
                  <c:v>143.35354605956738</c:v>
                </c:pt>
                <c:pt idx="4">
                  <c:v>138.97691454405629</c:v>
                </c:pt>
                <c:pt idx="5">
                  <c:v>134.68948349702109</c:v>
                </c:pt>
                <c:pt idx="6">
                  <c:v>130.71354817462651</c:v>
                </c:pt>
                <c:pt idx="7">
                  <c:v>127.01428107319504</c:v>
                </c:pt>
                <c:pt idx="8">
                  <c:v>123.56034719698941</c:v>
                </c:pt>
                <c:pt idx="9">
                  <c:v>120.32406591073905</c:v>
                </c:pt>
                <c:pt idx="10">
                  <c:v>117.28130343247688</c:v>
                </c:pt>
                <c:pt idx="11">
                  <c:v>114.41119755874125</c:v>
                </c:pt>
                <c:pt idx="12">
                  <c:v>111.69579997063954</c:v>
                </c:pt>
                <c:pt idx="13">
                  <c:v>109.11969630324189</c:v>
                </c:pt>
                <c:pt idx="14">
                  <c:v>107.42212318803905</c:v>
                </c:pt>
                <c:pt idx="15">
                  <c:v>105.85685223922169</c:v>
                </c:pt>
                <c:pt idx="16">
                  <c:v>104.33412357335112</c:v>
                </c:pt>
                <c:pt idx="17">
                  <c:v>102.85173163790171</c:v>
                </c:pt>
                <c:pt idx="18">
                  <c:v>101.40764711152381</c:v>
                </c:pt>
                <c:pt idx="19">
                  <c:v>100</c:v>
                </c:pt>
                <c:pt idx="20">
                  <c:v>98.627064304710018</c:v>
                </c:pt>
                <c:pt idx="21">
                  <c:v>97.287244179614362</c:v>
                </c:pt>
                <c:pt idx="22">
                  <c:v>95.397861183149431</c:v>
                </c:pt>
                <c:pt idx="23">
                  <c:v>93.44125611544149</c:v>
                </c:pt>
                <c:pt idx="24">
                  <c:v>91.56346354757585</c:v>
                </c:pt>
                <c:pt idx="25">
                  <c:v>89.759969314155057</c:v>
                </c:pt>
                <c:pt idx="26">
                  <c:v>88.026552529735596</c:v>
                </c:pt>
                <c:pt idx="27">
                  <c:v>86.359267998030049</c:v>
                </c:pt>
                <c:pt idx="28">
                  <c:v>84.754429139118173</c:v>
                </c:pt>
                <c:pt idx="29">
                  <c:v>83.208591529536577</c:v>
                </c:pt>
                <c:pt idx="30">
                  <c:v>81.718537125879095</c:v>
                </c:pt>
                <c:pt idx="31">
                  <c:v>80.281259221179198</c:v>
                </c:pt>
                <c:pt idx="32">
                  <c:v>78.89394816485445</c:v>
                </c:pt>
                <c:pt idx="33">
                  <c:v>77.55397786136227</c:v>
                </c:pt>
                <c:pt idx="34">
                  <c:v>76.258893049704724</c:v>
                </c:pt>
                <c:pt idx="35">
                  <c:v>75.006397355385474</c:v>
                </c:pt>
                <c:pt idx="36">
                  <c:v>73.794342098037149</c:v>
                </c:pt>
                <c:pt idx="37">
                  <c:v>72.620715831498927</c:v>
                </c:pt>
                <c:pt idx="38">
                  <c:v>71.483634588319504</c:v>
                </c:pt>
                <c:pt idx="39">
                  <c:v>70.381332797279683</c:v>
                </c:pt>
                <c:pt idx="40">
                  <c:v>69.312154840306903</c:v>
                </c:pt>
                <c:pt idx="41">
                  <c:v>68.2745472139039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25.87194221628515</c:v>
                </c:pt>
                <c:pt idx="1">
                  <c:v>125.09560077730248</c:v>
                </c:pt>
                <c:pt idx="2">
                  <c:v>124.36138090235124</c:v>
                </c:pt>
                <c:pt idx="3">
                  <c:v>123.66650409162558</c:v>
                </c:pt>
                <c:pt idx="4">
                  <c:v>121.08335717507985</c:v>
                </c:pt>
                <c:pt idx="5">
                  <c:v>118.50392458161885</c:v>
                </c:pt>
                <c:pt idx="6">
                  <c:v>116.12785511617878</c:v>
                </c:pt>
                <c:pt idx="7">
                  <c:v>113.93188125526284</c:v>
                </c:pt>
                <c:pt idx="8">
                  <c:v>111.89471413063934</c:v>
                </c:pt>
                <c:pt idx="9">
                  <c:v>109.99733859437126</c:v>
                </c:pt>
                <c:pt idx="10">
                  <c:v>108.22306860676778</c:v>
                </c:pt>
                <c:pt idx="11">
                  <c:v>106.55744134854801</c:v>
                </c:pt>
                <c:pt idx="12">
                  <c:v>104.98802012234776</c:v>
                </c:pt>
                <c:pt idx="13">
                  <c:v>103.5041580868715</c:v>
                </c:pt>
                <c:pt idx="14">
                  <c:v>102.81529155885197</c:v>
                </c:pt>
                <c:pt idx="15">
                  <c:v>102.2249549866298</c:v>
                </c:pt>
                <c:pt idx="16">
                  <c:v>101.6492868144461</c:v>
                </c:pt>
                <c:pt idx="17">
                  <c:v>101.08720893840071</c:v>
                </c:pt>
                <c:pt idx="18">
                  <c:v>100.53774280504442</c:v>
                </c:pt>
                <c:pt idx="19">
                  <c:v>100</c:v>
                </c:pt>
                <c:pt idx="20">
                  <c:v>99.47317356206301</c:v>
                </c:pt>
                <c:pt idx="21">
                  <c:v>98.956530030367219</c:v>
                </c:pt>
                <c:pt idx="22">
                  <c:v>97.854287510523619</c:v>
                </c:pt>
                <c:pt idx="23">
                  <c:v>96.650404099341173</c:v>
                </c:pt>
                <c:pt idx="24">
                  <c:v>95.495177622066677</c:v>
                </c:pt>
                <c:pt idx="25">
                  <c:v>94.385881484654291</c:v>
                </c:pt>
                <c:pt idx="26">
                  <c:v>93.319946267218498</c:v>
                </c:pt>
                <c:pt idx="27">
                  <c:v>92.294953348704894</c:v>
                </c:pt>
                <c:pt idx="28">
                  <c:v>91.308628204348054</c:v>
                </c:pt>
                <c:pt idx="29">
                  <c:v>90.358833507580343</c:v>
                </c:pt>
                <c:pt idx="30">
                  <c:v>89.443562148293026</c:v>
                </c:pt>
                <c:pt idx="31">
                  <c:v>88.560930260888028</c:v>
                </c:pt>
                <c:pt idx="32">
                  <c:v>87.709170338603897</c:v>
                </c:pt>
                <c:pt idx="33">
                  <c:v>86.886624495408526</c:v>
                </c:pt>
                <c:pt idx="34">
                  <c:v>86.091737923289415</c:v>
                </c:pt>
                <c:pt idx="35">
                  <c:v>85.323052581100612</c:v>
                </c:pt>
                <c:pt idx="36">
                  <c:v>84.579201141091715</c:v>
                </c:pt>
                <c:pt idx="37">
                  <c:v>83.858901210788972</c:v>
                </c:pt>
                <c:pt idx="38">
                  <c:v>83.160949840834618</c:v>
                </c:pt>
                <c:pt idx="39">
                  <c:v>82.484218323606768</c:v>
                </c:pt>
                <c:pt idx="40">
                  <c:v>81.82764728275572</c:v>
                </c:pt>
                <c:pt idx="41">
                  <c:v>81.1902420500781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1.981484843408879</c:v>
                </c:pt>
                <c:pt idx="1">
                  <c:v>93.511575365632112</c:v>
                </c:pt>
                <c:pt idx="2">
                  <c:v>95.005958387409009</c:v>
                </c:pt>
                <c:pt idx="3">
                  <c:v>96.466527300715242</c:v>
                </c:pt>
                <c:pt idx="4">
                  <c:v>96.362343490603081</c:v>
                </c:pt>
                <c:pt idx="5">
                  <c:v>96.142897459793261</c:v>
                </c:pt>
                <c:pt idx="6">
                  <c:v>95.976880596923536</c:v>
                </c:pt>
                <c:pt idx="7">
                  <c:v>95.857111562823704</c:v>
                </c:pt>
                <c:pt idx="8">
                  <c:v>95.776268411823523</c:v>
                </c:pt>
                <c:pt idx="9">
                  <c:v>95.72737432822872</c:v>
                </c:pt>
                <c:pt idx="10">
                  <c:v>95.704083411029956</c:v>
                </c:pt>
                <c:pt idx="11">
                  <c:v>95.700812941082773</c:v>
                </c:pt>
                <c:pt idx="12">
                  <c:v>95.712771259788212</c:v>
                </c:pt>
                <c:pt idx="13">
                  <c:v>95.735922266521172</c:v>
                </c:pt>
                <c:pt idx="14">
                  <c:v>96.442487430240107</c:v>
                </c:pt>
                <c:pt idx="15">
                  <c:v>97.201132947438296</c:v>
                </c:pt>
                <c:pt idx="16">
                  <c:v>97.935717137429108</c:v>
                </c:pt>
                <c:pt idx="17">
                  <c:v>98.646733572591543</c:v>
                </c:pt>
                <c:pt idx="18">
                  <c:v>99.334668109999271</c:v>
                </c:pt>
                <c:pt idx="19">
                  <c:v>100</c:v>
                </c:pt>
                <c:pt idx="20">
                  <c:v>100.64320252612863</c:v>
                </c:pt>
                <c:pt idx="21">
                  <c:v>101.26474331394961</c:v>
                </c:pt>
                <c:pt idx="22">
                  <c:v>101.24824136618054</c:v>
                </c:pt>
                <c:pt idx="23">
                  <c:v>101.0817750435797</c:v>
                </c:pt>
                <c:pt idx="24">
                  <c:v>100.92218267021961</c:v>
                </c:pt>
                <c:pt idx="25">
                  <c:v>100.76922967266238</c:v>
                </c:pt>
                <c:pt idx="26">
                  <c:v>100.62264760913745</c:v>
                </c:pt>
                <c:pt idx="27">
                  <c:v>100.48214367820979</c:v>
                </c:pt>
                <c:pt idx="28">
                  <c:v>100.34740868320868</c:v>
                </c:pt>
                <c:pt idx="29">
                  <c:v>100.21812364080498</c:v>
                </c:pt>
                <c:pt idx="30">
                  <c:v>100.09396520794951</c:v>
                </c:pt>
                <c:pt idx="31">
                  <c:v>99.97461008633816</c:v>
                </c:pt>
                <c:pt idx="32">
                  <c:v>99.859738548219354</c:v>
                </c:pt>
                <c:pt idx="33">
                  <c:v>99.749037212290617</c:v>
                </c:pt>
                <c:pt idx="34">
                  <c:v>99.642201183906707</c:v>
                </c:pt>
                <c:pt idx="35">
                  <c:v>99.538935660189892</c:v>
                </c:pt>
                <c:pt idx="36">
                  <c:v>99.4389570879638</c:v>
                </c:pt>
                <c:pt idx="37">
                  <c:v>99.341993950877566</c:v>
                </c:pt>
                <c:pt idx="38">
                  <c:v>99.247787251621361</c:v>
                </c:pt>
                <c:pt idx="39">
                  <c:v>99.156090745784141</c:v>
                </c:pt>
                <c:pt idx="40">
                  <c:v>99.066670975599394</c:v>
                </c:pt>
                <c:pt idx="41">
                  <c:v>98.9793071445050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30907852202343594</c:v>
                </c:pt>
                <c:pt idx="1">
                  <c:v>0.31614315881256239</c:v>
                </c:pt>
                <c:pt idx="2">
                  <c:v>0.32306478675980366</c:v>
                </c:pt>
                <c:pt idx="3">
                  <c:v>0.32984770472814229</c:v>
                </c:pt>
                <c:pt idx="4">
                  <c:v>0.33649604099075986</c:v>
                </c:pt>
                <c:pt idx="5">
                  <c:v>0.34301376160971137</c:v>
                </c:pt>
                <c:pt idx="6">
                  <c:v>0.34940467832556993</c:v>
                </c:pt>
                <c:pt idx="7">
                  <c:v>0.35567245599102709</c:v>
                </c:pt>
                <c:pt idx="8">
                  <c:v>0.36182061957889888</c:v>
                </c:pt>
                <c:pt idx="9">
                  <c:v>0.36785256079270889</c:v>
                </c:pt>
                <c:pt idx="10">
                  <c:v>0.37377154430588572</c:v>
                </c:pt>
                <c:pt idx="11">
                  <c:v>0.3795807136536975</c:v>
                </c:pt>
                <c:pt idx="12">
                  <c:v>0.38528309680026285</c:v>
                </c:pt>
                <c:pt idx="13">
                  <c:v>0.39088161140135336</c:v>
                </c:pt>
                <c:pt idx="14">
                  <c:v>0.3963790697822076</c:v>
                </c:pt>
                <c:pt idx="15">
                  <c:v>0.40177818364819845</c:v>
                </c:pt>
                <c:pt idx="16">
                  <c:v>0.40708156854493432</c:v>
                </c:pt>
                <c:pt idx="17">
                  <c:v>0.4122917480832039</c:v>
                </c:pt>
                <c:pt idx="18">
                  <c:v>0.41741115794310629</c:v>
                </c:pt>
                <c:pt idx="19">
                  <c:v>0.4224421496707132</c:v>
                </c:pt>
                <c:pt idx="20">
                  <c:v>0.42738699427969684</c:v>
                </c:pt>
                <c:pt idx="21">
                  <c:v>0.43224788566951267</c:v>
                </c:pt>
                <c:pt idx="22">
                  <c:v>0.43702694387094776</c:v>
                </c:pt>
                <c:pt idx="23">
                  <c:v>0.44172621812912022</c:v>
                </c:pt>
                <c:pt idx="24">
                  <c:v>0.44634768983334933</c:v>
                </c:pt>
                <c:pt idx="25">
                  <c:v>0.45089327530269785</c:v>
                </c:pt>
                <c:pt idx="26">
                  <c:v>0.45536482843541198</c:v>
                </c:pt>
                <c:pt idx="27">
                  <c:v>0.45976414322995635</c:v>
                </c:pt>
                <c:pt idx="28">
                  <c:v>0.46409295618484459</c:v>
                </c:pt>
                <c:pt idx="29">
                  <c:v>0.46835294858401111</c:v>
                </c:pt>
                <c:pt idx="30">
                  <c:v>0.47254574867404264</c:v>
                </c:pt>
                <c:pt idx="31">
                  <c:v>0.47667293373919101</c:v>
                </c:pt>
                <c:pt idx="32">
                  <c:v>0.48073603207972515</c:v>
                </c:pt>
                <c:pt idx="33">
                  <c:v>0.48473652489883368</c:v>
                </c:pt>
                <c:pt idx="34">
                  <c:v>0.48867584810297088</c:v>
                </c:pt>
                <c:pt idx="35">
                  <c:v>0.49255539402024745</c:v>
                </c:pt>
                <c:pt idx="36">
                  <c:v>0.4963765130411793</c:v>
                </c:pt>
                <c:pt idx="37">
                  <c:v>0.500140515185864</c:v>
                </c:pt>
                <c:pt idx="38">
                  <c:v>0.50384867160139912</c:v>
                </c:pt>
                <c:pt idx="39">
                  <c:v>0.50750221599314138</c:v>
                </c:pt>
                <c:pt idx="40">
                  <c:v>0.51110234599319149</c:v>
                </c:pt>
                <c:pt idx="41">
                  <c:v>0.51465022446929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Bottega (3.7%)</c:v>
                </c:pt>
                <c:pt idx="4">
                  <c:v>Savian (2.1%)</c:v>
                </c:pt>
                <c:pt idx="5">
                  <c:v>Bouvet Ladubay (1.5%)</c:v>
                </c:pt>
                <c:pt idx="6">
                  <c:v>Château Moncontour  (1.5%)</c:v>
                </c:pt>
                <c:pt idx="7">
                  <c:v>Les Grumes  (1.0%)</c:v>
                </c:pt>
                <c:pt idx="8">
                  <c:v>Malard (6.0%)</c:v>
                </c:pt>
                <c:pt idx="9">
                  <c:v>Muré (1.3%)</c:v>
                </c:pt>
              </c:strCache>
            </c:strRef>
          </c:cat>
          <c:val>
            <c:numRef>
              <c:f>Sheet1!$B$2:$B$11</c:f>
              <c:numCache>
                <c:formatCode>General</c:formatCode>
                <c:ptCount val="10"/>
                <c:pt idx="0">
                  <c:v>0.13880496931862765</c:v>
                </c:pt>
                <c:pt idx="1">
                  <c:v>0.12373930920788909</c:v>
                </c:pt>
                <c:pt idx="2">
                  <c:v>0.10027336196291896</c:v>
                </c:pt>
                <c:pt idx="3">
                  <c:v>7.6278948233886923E-2</c:v>
                </c:pt>
                <c:pt idx="4">
                  <c:v>7.4555295721966938E-2</c:v>
                </c:pt>
                <c:pt idx="5">
                  <c:v>6.5527736640519252E-2</c:v>
                </c:pt>
                <c:pt idx="6">
                  <c:v>6.4676771284208706E-2</c:v>
                </c:pt>
                <c:pt idx="7">
                  <c:v>4.3727016255427666E-2</c:v>
                </c:pt>
                <c:pt idx="8">
                  <c:v>4.2989994231445887E-2</c:v>
                </c:pt>
                <c:pt idx="9">
                  <c:v>3.584683849173399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Veuve Clicquot Réserve Cuvée 750ml (1.7%)</c:v>
                </c:pt>
                <c:pt idx="5">
                  <c:v>Champagne Ruinart Brut (étui) 750ml (1.2%)</c:v>
                </c:pt>
                <c:pt idx="6">
                  <c:v>Champagne Laurent-Perrier Blanc La Cuvée 750ml (2.7%)</c:v>
                </c:pt>
                <c:pt idx="7">
                  <c:v>Champagne Malard Brut 1er Cru 750ml (4.1%)</c:v>
                </c:pt>
                <c:pt idx="8">
                  <c:v>Champagne Ayala Brut Majeur 750ml (1.7%)</c:v>
                </c:pt>
                <c:pt idx="9">
                  <c:v>Champagne Bollinger Special Cuvée Brut 750ml (1.2%)</c:v>
                </c:pt>
              </c:strCache>
            </c:strRef>
          </c:cat>
          <c:val>
            <c:numRef>
              <c:f>Sheet1!$B$2:$B$11</c:f>
              <c:numCache>
                <c:formatCode>General</c:formatCode>
                <c:ptCount val="10"/>
                <c:pt idx="0">
                  <c:v>0.1908583704830204</c:v>
                </c:pt>
                <c:pt idx="1">
                  <c:v>0.11697436604563943</c:v>
                </c:pt>
                <c:pt idx="2">
                  <c:v>4.5997032075973623E-2</c:v>
                </c:pt>
                <c:pt idx="3">
                  <c:v>4.3887752890324649E-2</c:v>
                </c:pt>
                <c:pt idx="4">
                  <c:v>3.9423649824403093E-2</c:v>
                </c:pt>
                <c:pt idx="5">
                  <c:v>2.9127419173746092E-2</c:v>
                </c:pt>
                <c:pt idx="6">
                  <c:v>2.7785108911905096E-2</c:v>
                </c:pt>
                <c:pt idx="7">
                  <c:v>2.6882666588539449E-2</c:v>
                </c:pt>
                <c:pt idx="8">
                  <c:v>2.6671496786845481E-2</c:v>
                </c:pt>
                <c:pt idx="9">
                  <c:v>2.640521950953212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Taittinger Prestige Brut 750ml (1.6%)</c:v>
                </c:pt>
                <c:pt idx="4">
                  <c:v>Champagne E.Nicolas Brut 750ml (11.6%)</c:v>
                </c:pt>
                <c:pt idx="5">
                  <c:v>Champagne Veuve Clicquot Réserve Cuvée 750ml (1.7%)</c:v>
                </c:pt>
                <c:pt idx="6">
                  <c:v>Champagne Bollinger Special Cuvée Brut 750ml (1.2%)</c:v>
                </c:pt>
                <c:pt idx="7">
                  <c:v>Champagne Vranken Demoiselle Rosé Prestige 750ml (2.0%)</c:v>
                </c:pt>
                <c:pt idx="8">
                  <c:v>Champagne Laurent-Perrier Blanc La Cuvée 750ml (2.7%)</c:v>
                </c:pt>
                <c:pt idx="9">
                  <c:v>Champagne Malard Brut 1er Cru 750ml (4.1%)</c:v>
                </c:pt>
              </c:strCache>
            </c:strRef>
          </c:cat>
          <c:val>
            <c:numRef>
              <c:f>Sheet1!$B$2:$B$11</c:f>
              <c:numCache>
                <c:formatCode>General</c:formatCode>
                <c:ptCount val="10"/>
                <c:pt idx="0">
                  <c:v>0.22247590480683577</c:v>
                </c:pt>
                <c:pt idx="1">
                  <c:v>0.1128809575123839</c:v>
                </c:pt>
                <c:pt idx="2">
                  <c:v>3.6009680398297723E-2</c:v>
                </c:pt>
                <c:pt idx="3">
                  <c:v>3.5993567787321566E-2</c:v>
                </c:pt>
                <c:pt idx="4">
                  <c:v>3.5104093748582602E-2</c:v>
                </c:pt>
                <c:pt idx="5">
                  <c:v>3.3224300647194435E-2</c:v>
                </c:pt>
                <c:pt idx="6">
                  <c:v>3.227026666787837E-2</c:v>
                </c:pt>
                <c:pt idx="7">
                  <c:v>2.5329799414262111E-2</c:v>
                </c:pt>
                <c:pt idx="8">
                  <c:v>2.3764414468999101E-2</c:v>
                </c:pt>
                <c:pt idx="9">
                  <c:v>2.29228524798560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Taittinger Prestig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7.950000000000003</c:v>
                </c:pt>
                <c:pt idx="1">
                  <c:v>42.95</c:v>
                </c:pt>
                <c:pt idx="2">
                  <c:v>47.95</c:v>
                </c:pt>
                <c:pt idx="3">
                  <c:v>54.95</c:v>
                </c:pt>
                <c:pt idx="4">
                  <c:v>59</c:v>
                </c:pt>
              </c:numCache>
            </c:numRef>
          </c:xVal>
          <c:yVal>
            <c:numRef>
              <c:f>Sheet1!$B$2:$B$6</c:f>
              <c:numCache>
                <c:formatCode>General</c:formatCode>
                <c:ptCount val="5"/>
                <c:pt idx="0">
                  <c:v>0.99946591557860809</c:v>
                </c:pt>
                <c:pt idx="1">
                  <c:v>0.35564032343241886</c:v>
                </c:pt>
                <c:pt idx="2">
                  <c:v>0</c:v>
                </c:pt>
                <c:pt idx="3">
                  <c:v>-0.43398054456039969</c:v>
                </c:pt>
                <c:pt idx="4">
                  <c:v>-0.5088567296733563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Taittinger Prestige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c:v>
                </c:pt>
                <c:pt idx="1">
                  <c:v>85</c:v>
                </c:pt>
                <c:pt idx="2">
                  <c:v>95</c:v>
                </c:pt>
                <c:pt idx="3">
                  <c:v>99</c:v>
                </c:pt>
                <c:pt idx="4">
                  <c:v>109</c:v>
                </c:pt>
              </c:numCache>
            </c:numRef>
          </c:xVal>
          <c:yVal>
            <c:numRef>
              <c:f>Sheet1!$B$9:$B$13</c:f>
              <c:numCache>
                <c:formatCode>General</c:formatCode>
                <c:ptCount val="5"/>
                <c:pt idx="0">
                  <c:v>0.45884903746228767</c:v>
                </c:pt>
                <c:pt idx="1">
                  <c:v>0.20824813851716512</c:v>
                </c:pt>
                <c:pt idx="2">
                  <c:v>0</c:v>
                </c:pt>
                <c:pt idx="3">
                  <c:v>-7.3550049410262178E-2</c:v>
                </c:pt>
                <c:pt idx="4">
                  <c:v>-0.156426229773754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
          <c:min val="37.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B$2:$B$43</c:f>
              <c:numCache>
                <c:formatCode>General</c:formatCode>
                <c:ptCount val="42"/>
                <c:pt idx="0">
                  <c:v>194.65315798597976</c:v>
                </c:pt>
                <c:pt idx="1">
                  <c:v>189.66483821503388</c:v>
                </c:pt>
                <c:pt idx="2">
                  <c:v>184.97335763816122</c:v>
                </c:pt>
                <c:pt idx="3">
                  <c:v>180.55234230843726</c:v>
                </c:pt>
                <c:pt idx="4">
                  <c:v>171.70693767056326</c:v>
                </c:pt>
                <c:pt idx="5">
                  <c:v>163.1660674666476</c:v>
                </c:pt>
                <c:pt idx="6">
                  <c:v>155.38085261238729</c:v>
                </c:pt>
                <c:pt idx="7">
                  <c:v>148.26261636656187</c:v>
                </c:pt>
                <c:pt idx="8">
                  <c:v>141.7347696131032</c:v>
                </c:pt>
                <c:pt idx="9">
                  <c:v>135.73118484570151</c:v>
                </c:pt>
                <c:pt idx="10">
                  <c:v>130.19472203235983</c:v>
                </c:pt>
                <c:pt idx="11">
                  <c:v>125.07592852573713</c:v>
                </c:pt>
                <c:pt idx="12">
                  <c:v>120.33190957763466</c:v>
                </c:pt>
                <c:pt idx="13">
                  <c:v>115.92535564691282</c:v>
                </c:pt>
                <c:pt idx="14">
                  <c:v>112.87148939258071</c:v>
                </c:pt>
                <c:pt idx="15">
                  <c:v>110.06843399395395</c:v>
                </c:pt>
                <c:pt idx="16">
                  <c:v>107.38542704455358</c:v>
                </c:pt>
                <c:pt idx="17">
                  <c:v>104.81664601191636</c:v>
                </c:pt>
                <c:pt idx="18">
                  <c:v>102.356579790403</c:v>
                </c:pt>
                <c:pt idx="19">
                  <c:v>100</c:v>
                </c:pt>
                <c:pt idx="20">
                  <c:v>97.74193662865585</c:v>
                </c:pt>
                <c:pt idx="21">
                  <c:v>95.577657576513431</c:v>
                </c:pt>
                <c:pt idx="22">
                  <c:v>93.502651577179876</c:v>
                </c:pt>
                <c:pt idx="23">
                  <c:v>91.51261394874065</c:v>
                </c:pt>
                <c:pt idx="24">
                  <c:v>86.915536714790491</c:v>
                </c:pt>
                <c:pt idx="25">
                  <c:v>82.389110253780544</c:v>
                </c:pt>
                <c:pt idx="26">
                  <c:v>78.219506979055865</c:v>
                </c:pt>
                <c:pt idx="27">
                  <c:v>74.377655970326899</c:v>
                </c:pt>
                <c:pt idx="28">
                  <c:v>70.835144804848696</c:v>
                </c:pt>
                <c:pt idx="29">
                  <c:v>67.564934392962513</c:v>
                </c:pt>
                <c:pt idx="30">
                  <c:v>64.541782877097774</c:v>
                </c:pt>
                <c:pt idx="31">
                  <c:v>61.74245205280203</c:v>
                </c:pt>
                <c:pt idx="32">
                  <c:v>59.145762890681354</c:v>
                </c:pt>
                <c:pt idx="33">
                  <c:v>56.732553059845884</c:v>
                </c:pt>
                <c:pt idx="34">
                  <c:v>55.573823688610368</c:v>
                </c:pt>
                <c:pt idx="35">
                  <c:v>54.574204705972583</c:v>
                </c:pt>
                <c:pt idx="36">
                  <c:v>53.604919597846447</c:v>
                </c:pt>
                <c:pt idx="37">
                  <c:v>52.664567377122729</c:v>
                </c:pt>
                <c:pt idx="38">
                  <c:v>51.75182871318529</c:v>
                </c:pt>
                <c:pt idx="39">
                  <c:v>50.865461481067001</c:v>
                </c:pt>
                <c:pt idx="40">
                  <c:v>50.004296391703875</c:v>
                </c:pt>
                <c:pt idx="41">
                  <c:v>49.1672327253395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C$2:$C$43</c:f>
              <c:numCache>
                <c:formatCode>General</c:formatCode>
                <c:ptCount val="42"/>
                <c:pt idx="0">
                  <c:v>156.68908754161578</c:v>
                </c:pt>
                <c:pt idx="1">
                  <c:v>154.60411067157432</c:v>
                </c:pt>
                <c:pt idx="2">
                  <c:v>152.66322386891801</c:v>
                </c:pt>
                <c:pt idx="3">
                  <c:v>150.85334209232741</c:v>
                </c:pt>
                <c:pt idx="4">
                  <c:v>145.22305161063497</c:v>
                </c:pt>
                <c:pt idx="5">
                  <c:v>139.67427045429864</c:v>
                </c:pt>
                <c:pt idx="6">
                  <c:v>134.60570340453401</c:v>
                </c:pt>
                <c:pt idx="7">
                  <c:v>129.96269516560915</c:v>
                </c:pt>
                <c:pt idx="8">
                  <c:v>125.69770917716076</c:v>
                </c:pt>
                <c:pt idx="9">
                  <c:v>121.76947979918947</c:v>
                </c:pt>
                <c:pt idx="10">
                  <c:v>118.14220482445404</c:v>
                </c:pt>
                <c:pt idx="11">
                  <c:v>114.78480867754747</c:v>
                </c:pt>
                <c:pt idx="12">
                  <c:v>111.67028507783205</c:v>
                </c:pt>
                <c:pt idx="13">
                  <c:v>108.7751181320747</c:v>
                </c:pt>
                <c:pt idx="14">
                  <c:v>107.06925888745631</c:v>
                </c:pt>
                <c:pt idx="15">
                  <c:v>105.54118206622863</c:v>
                </c:pt>
                <c:pt idx="16">
                  <c:v>104.07223474190562</c:v>
                </c:pt>
                <c:pt idx="17">
                  <c:v>102.6603642866085</c:v>
                </c:pt>
                <c:pt idx="18">
                  <c:v>101.30359200209993</c:v>
                </c:pt>
                <c:pt idx="19">
                  <c:v>100</c:v>
                </c:pt>
                <c:pt idx="20">
                  <c:v>98.747720736523675</c:v>
                </c:pt>
                <c:pt idx="21">
                  <c:v>97.544929057102053</c:v>
                </c:pt>
                <c:pt idx="22">
                  <c:v>96.389836486255604</c:v>
                </c:pt>
                <c:pt idx="23">
                  <c:v>95.280687433148429</c:v>
                </c:pt>
                <c:pt idx="24">
                  <c:v>91.391484999856573</c:v>
                </c:pt>
                <c:pt idx="25">
                  <c:v>87.483484537573247</c:v>
                </c:pt>
                <c:pt idx="26">
                  <c:v>83.865249451107758</c:v>
                </c:pt>
                <c:pt idx="27">
                  <c:v>80.516164055561504</c:v>
                </c:pt>
                <c:pt idx="28">
                  <c:v>77.415179519949575</c:v>
                </c:pt>
                <c:pt idx="29">
                  <c:v>74.541626407457557</c:v>
                </c:pt>
                <c:pt idx="30">
                  <c:v>71.875749125200656</c:v>
                </c:pt>
                <c:pt idx="31">
                  <c:v>69.399023805089726</c:v>
                </c:pt>
                <c:pt idx="32">
                  <c:v>67.094319247654283</c:v>
                </c:pt>
                <c:pt idx="33">
                  <c:v>64.945950349756927</c:v>
                </c:pt>
                <c:pt idx="34">
                  <c:v>64.193730344306829</c:v>
                </c:pt>
                <c:pt idx="35">
                  <c:v>63.602783440869523</c:v>
                </c:pt>
                <c:pt idx="36">
                  <c:v>63.026959663955374</c:v>
                </c:pt>
                <c:pt idx="37">
                  <c:v>62.465527594329785</c:v>
                </c:pt>
                <c:pt idx="38">
                  <c:v>61.917796503925793</c:v>
                </c:pt>
                <c:pt idx="39">
                  <c:v>61.383115114092682</c:v>
                </c:pt>
                <c:pt idx="40">
                  <c:v>60.860870185497376</c:v>
                </c:pt>
                <c:pt idx="41">
                  <c:v>60.35048497184877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D$2:$D$43</c:f>
              <c:numCache>
                <c:formatCode>General</c:formatCode>
                <c:ptCount val="42"/>
                <c:pt idx="0">
                  <c:v>99.244419925818718</c:v>
                </c:pt>
                <c:pt idx="1">
                  <c:v>101.59393978030735</c:v>
                </c:pt>
                <c:pt idx="2">
                  <c:v>103.8527494528869</c:v>
                </c:pt>
                <c:pt idx="3">
                  <c:v>106.02833388155332</c:v>
                </c:pt>
                <c:pt idx="4">
                  <c:v>105.26348400407952</c:v>
                </c:pt>
                <c:pt idx="5">
                  <c:v>104.23680862971862</c:v>
                </c:pt>
                <c:pt idx="6">
                  <c:v>103.27170739224152</c:v>
                </c:pt>
                <c:pt idx="7">
                  <c:v>102.36543637061509</c:v>
                </c:pt>
                <c:pt idx="8">
                  <c:v>101.51475871148705</c:v>
                </c:pt>
                <c:pt idx="9">
                  <c:v>100.71629721704861</c:v>
                </c:pt>
                <c:pt idx="10">
                  <c:v>99.966751869937426</c:v>
                </c:pt>
                <c:pt idx="11">
                  <c:v>99.263027313054309</c:v>
                </c:pt>
                <c:pt idx="12">
                  <c:v>98.60229889344059</c:v>
                </c:pt>
                <c:pt idx="13">
                  <c:v>97.982036404974437</c:v>
                </c:pt>
                <c:pt idx="14">
                  <c:v>98.312629827430939</c:v>
                </c:pt>
                <c:pt idx="15">
                  <c:v>98.710590615097914</c:v>
                </c:pt>
                <c:pt idx="16">
                  <c:v>99.074686962542899</c:v>
                </c:pt>
                <c:pt idx="17">
                  <c:v>99.408687500551835</c:v>
                </c:pt>
                <c:pt idx="18">
                  <c:v>99.716063431919494</c:v>
                </c:pt>
                <c:pt idx="19">
                  <c:v>100</c:v>
                </c:pt>
                <c:pt idx="20">
                  <c:v>100.26340797037432</c:v>
                </c:pt>
                <c:pt idx="21">
                  <c:v>100.50893544556902</c:v>
                </c:pt>
                <c:pt idx="22">
                  <c:v>100.73898015195341</c:v>
                </c:pt>
                <c:pt idx="23">
                  <c:v>100.95570220487595</c:v>
                </c:pt>
                <c:pt idx="24">
                  <c:v>98.126437712641859</c:v>
                </c:pt>
                <c:pt idx="25">
                  <c:v>95.141575830384596</c:v>
                </c:pt>
                <c:pt idx="26">
                  <c:v>92.344433945895801</c:v>
                </c:pt>
                <c:pt idx="27">
                  <c:v>89.727556695612222</c:v>
                </c:pt>
                <c:pt idx="28">
                  <c:v>87.281300303223105</c:v>
                </c:pt>
                <c:pt idx="29">
                  <c:v>84.994816760056636</c:v>
                </c:pt>
                <c:pt idx="30">
                  <c:v>82.856775154663993</c:v>
                </c:pt>
                <c:pt idx="31">
                  <c:v>80.855863813001335</c:v>
                </c:pt>
                <c:pt idx="32">
                  <c:v>78.981122883944209</c:v>
                </c:pt>
                <c:pt idx="33">
                  <c:v>77.222152126924229</c:v>
                </c:pt>
                <c:pt idx="34">
                  <c:v>77.078585403061169</c:v>
                </c:pt>
                <c:pt idx="35">
                  <c:v>77.100018768526184</c:v>
                </c:pt>
                <c:pt idx="36">
                  <c:v>77.113514213976813</c:v>
                </c:pt>
                <c:pt idx="37">
                  <c:v>77.119367793638375</c:v>
                </c:pt>
                <c:pt idx="38">
                  <c:v>77.117852675592601</c:v>
                </c:pt>
                <c:pt idx="39">
                  <c:v>77.109222927101925</c:v>
                </c:pt>
                <c:pt idx="40">
                  <c:v>77.093716736049345</c:v>
                </c:pt>
                <c:pt idx="41">
                  <c:v>77.07155911770617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E$2:$E$43</c:f>
              <c:numCache>
                <c:formatCode>General</c:formatCode>
                <c:ptCount val="42"/>
                <c:pt idx="0">
                  <c:v>0.257341795630388</c:v>
                </c:pt>
                <c:pt idx="1">
                  <c:v>0.26688753090506162</c:v>
                </c:pt>
                <c:pt idx="2">
                  <c:v>0.27619098863469294</c:v>
                </c:pt>
                <c:pt idx="3">
                  <c:v>0.28526127699766651</c:v>
                </c:pt>
                <c:pt idx="4">
                  <c:v>0.2941070532724479</c:v>
                </c:pt>
                <c:pt idx="5">
                  <c:v>0.30273655139870181</c:v>
                </c:pt>
                <c:pt idx="6">
                  <c:v>0.31115760754122951</c:v>
                </c:pt>
                <c:pt idx="7">
                  <c:v>0.31937768382355353</c:v>
                </c:pt>
                <c:pt idx="8">
                  <c:v>0.32740389038223811</c:v>
                </c:pt>
                <c:pt idx="9">
                  <c:v>0.33524300587894851</c:v>
                </c:pt>
                <c:pt idx="10">
                  <c:v>0.34290149659462887</c:v>
                </c:pt>
                <c:pt idx="11">
                  <c:v>0.35038553421883584</c:v>
                </c:pt>
                <c:pt idx="12">
                  <c:v>0.35770101243709218</c:v>
                </c:pt>
                <c:pt idx="13">
                  <c:v>0.36485356240995309</c:v>
                </c:pt>
                <c:pt idx="14">
                  <c:v>0.37184856722922688</c:v>
                </c:pt>
                <c:pt idx="15">
                  <c:v>0.37869117542934422</c:v>
                </c:pt>
                <c:pt idx="16">
                  <c:v>0.38538631362514869</c:v>
                </c:pt>
                <c:pt idx="17">
                  <c:v>0.39193869834129846</c:v>
                </c:pt>
                <c:pt idx="18">
                  <c:v>0.39835284709297253</c:v>
                </c:pt>
                <c:pt idx="19">
                  <c:v>0.40463308877258652</c:v>
                </c:pt>
                <c:pt idx="20">
                  <c:v>0.41078357339270449</c:v>
                </c:pt>
                <c:pt idx="21">
                  <c:v>0.41680828123122488</c:v>
                </c:pt>
                <c:pt idx="22">
                  <c:v>0.42271103142119243</c:v>
                </c:pt>
                <c:pt idx="23">
                  <c:v>0.42849549002418641</c:v>
                </c:pt>
                <c:pt idx="24">
                  <c:v>0.43416517762315271</c:v>
                </c:pt>
                <c:pt idx="25">
                  <c:v>0.43972347646771892</c:v>
                </c:pt>
                <c:pt idx="26">
                  <c:v>0.44517363720246877</c:v>
                </c:pt>
                <c:pt idx="27">
                  <c:v>0.45051878520629857</c:v>
                </c:pt>
                <c:pt idx="28">
                  <c:v>0.45576192656883385</c:v>
                </c:pt>
                <c:pt idx="29">
                  <c:v>0.46090595372791865</c:v>
                </c:pt>
                <c:pt idx="30">
                  <c:v>0.4659536507903913</c:v>
                </c:pt>
                <c:pt idx="31">
                  <c:v>0.47090769855671433</c:v>
                </c:pt>
                <c:pt idx="32">
                  <c:v>0.47577067926850908</c:v>
                </c:pt>
                <c:pt idx="33">
                  <c:v>0.48054508109666477</c:v>
                </c:pt>
                <c:pt idx="34">
                  <c:v>0.48523330238640605</c:v>
                </c:pt>
                <c:pt idx="35">
                  <c:v>0.48983765567454207</c:v>
                </c:pt>
                <c:pt idx="36">
                  <c:v>0.49436037149303008</c:v>
                </c:pt>
                <c:pt idx="37">
                  <c:v>0.49880360197200174</c:v>
                </c:pt>
                <c:pt idx="38">
                  <c:v>0.50316942425447553</c:v>
                </c:pt>
                <c:pt idx="39">
                  <c:v>0.50745984373414332</c:v>
                </c:pt>
                <c:pt idx="40">
                  <c:v>0.51167679712683045</c:v>
                </c:pt>
                <c:pt idx="41">
                  <c:v>0.515822155385516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Malard Brut 1er Cru 750ml (4.1%)</c:v>
                </c:pt>
                <c:pt idx="4">
                  <c:v>Champagne Veuve Clicquot Réserve Cuvée 750ml (1.7%)</c:v>
                </c:pt>
                <c:pt idx="5">
                  <c:v>Champagne Besserat de Bellefon Bleu Brut 750ml (1.7%)</c:v>
                </c:pt>
                <c:pt idx="6">
                  <c:v>Champagne Ruinart Brut 750ml (7.3%)</c:v>
                </c:pt>
                <c:pt idx="7">
                  <c:v>Champagne E.Nicolas Brut 750ml (11.6%)</c:v>
                </c:pt>
                <c:pt idx="8">
                  <c:v>Champagne Nicolas Feuillatte Réserve Exclusive Brut 750ml (3.0%)</c:v>
                </c:pt>
                <c:pt idx="9">
                  <c:v>Champagne Canard-Duchêne Blanc Cuvée Léonie Brut 750ml (2.6%)</c:v>
                </c:pt>
              </c:strCache>
            </c:strRef>
          </c:cat>
          <c:val>
            <c:numRef>
              <c:f>Sheet1!$B$2:$B$11</c:f>
              <c:numCache>
                <c:formatCode>General</c:formatCode>
                <c:ptCount val="10"/>
                <c:pt idx="0">
                  <c:v>9.0319735819459013E-2</c:v>
                </c:pt>
                <c:pt idx="1">
                  <c:v>7.6551470005497738E-2</c:v>
                </c:pt>
                <c:pt idx="2">
                  <c:v>6.5546892030890452E-2</c:v>
                </c:pt>
                <c:pt idx="3">
                  <c:v>5.3005065770974011E-2</c:v>
                </c:pt>
                <c:pt idx="4">
                  <c:v>4.9251675662507204E-2</c:v>
                </c:pt>
                <c:pt idx="5">
                  <c:v>4.5249240989403507E-2</c:v>
                </c:pt>
                <c:pt idx="6">
                  <c:v>3.884251692212945E-2</c:v>
                </c:pt>
                <c:pt idx="7">
                  <c:v>3.8638545442013929E-2</c:v>
                </c:pt>
                <c:pt idx="8">
                  <c:v>3.6164966419028631E-2</c:v>
                </c:pt>
                <c:pt idx="9">
                  <c:v>3.150149333722724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Ruinart Brut 750ml (7.3%)</c:v>
                </c:pt>
                <c:pt idx="3">
                  <c:v>Champagne Laurent-Perrier Blanc La Cuvée 750ml (2.7%)</c:v>
                </c:pt>
                <c:pt idx="4">
                  <c:v>Champagne Heidsieck Monopole Silver Top 750ml (4.2%)</c:v>
                </c:pt>
                <c:pt idx="5">
                  <c:v>Champagne Besserat de Bellefon Bleu Brut 750ml (1.7%)</c:v>
                </c:pt>
                <c:pt idx="6">
                  <c:v>Champagne Ayala Brut Majeur 750ml (1.7%)</c:v>
                </c:pt>
                <c:pt idx="7">
                  <c:v>Champagne Perrier-Jouët Blanc Grand Brut 750ml (0.9%)</c:v>
                </c:pt>
                <c:pt idx="8">
                  <c:v>Champagne Malard Brut 1er Cru 750ml (4.1%)</c:v>
                </c:pt>
                <c:pt idx="9">
                  <c:v>Champagne Moët &amp; Chandon Réserve Impériale 750ml (1.1%)</c:v>
                </c:pt>
              </c:strCache>
            </c:strRef>
          </c:cat>
          <c:val>
            <c:numRef>
              <c:f>Sheet1!$B$2:$B$11</c:f>
              <c:numCache>
                <c:formatCode>General</c:formatCode>
                <c:ptCount val="10"/>
                <c:pt idx="0">
                  <c:v>0.18279503705014266</c:v>
                </c:pt>
                <c:pt idx="1">
                  <c:v>7.6087993088822733E-2</c:v>
                </c:pt>
                <c:pt idx="2">
                  <c:v>7.369738051120206E-2</c:v>
                </c:pt>
                <c:pt idx="3">
                  <c:v>7.2897745741110478E-2</c:v>
                </c:pt>
                <c:pt idx="4">
                  <c:v>4.2756552684343724E-2</c:v>
                </c:pt>
                <c:pt idx="5">
                  <c:v>3.2530791914290751E-2</c:v>
                </c:pt>
                <c:pt idx="6">
                  <c:v>3.2226518241757277E-2</c:v>
                </c:pt>
                <c:pt idx="7">
                  <c:v>2.9413198618939391E-2</c:v>
                </c:pt>
                <c:pt idx="8">
                  <c:v>2.8499198553377271E-2</c:v>
                </c:pt>
                <c:pt idx="9">
                  <c:v>2.68856668917688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B$2:$B$69</c:f>
              <c:numCache>
                <c:formatCode>General</c:formatCode>
                <c:ptCount val="68"/>
                <c:pt idx="0">
                  <c:v>147.25075981518077</c:v>
                </c:pt>
                <c:pt idx="1">
                  <c:v>145.58970194811297</c:v>
                </c:pt>
                <c:pt idx="2">
                  <c:v>143.96241574816241</c:v>
                </c:pt>
                <c:pt idx="3">
                  <c:v>142.36798072438944</c:v>
                </c:pt>
                <c:pt idx="4">
                  <c:v>140.80550705047895</c:v>
                </c:pt>
                <c:pt idx="5">
                  <c:v>139.27413430013573</c:v>
                </c:pt>
                <c:pt idx="6">
                  <c:v>137.77303024853586</c:v>
                </c:pt>
                <c:pt idx="7">
                  <c:v>136.30138973579977</c:v>
                </c:pt>
                <c:pt idx="8">
                  <c:v>135.05590861896769</c:v>
                </c:pt>
                <c:pt idx="9">
                  <c:v>133.88191833048131</c:v>
                </c:pt>
                <c:pt idx="10">
                  <c:v>132.7288509890592</c:v>
                </c:pt>
                <c:pt idx="11">
                  <c:v>131.59618213239582</c:v>
                </c:pt>
                <c:pt idx="12">
                  <c:v>130.48340309833819</c:v>
                </c:pt>
                <c:pt idx="13">
                  <c:v>129.39002047903736</c:v>
                </c:pt>
                <c:pt idx="14">
                  <c:v>128.31555559666512</c:v>
                </c:pt>
                <c:pt idx="15">
                  <c:v>127.25954399972139</c:v>
                </c:pt>
                <c:pt idx="16">
                  <c:v>126.22153497901205</c:v>
                </c:pt>
                <c:pt idx="17">
                  <c:v>125.20109110241123</c:v>
                </c:pt>
                <c:pt idx="18">
                  <c:v>124.19778776756173</c:v>
                </c:pt>
                <c:pt idx="19">
                  <c:v>123.21121277172662</c:v>
                </c:pt>
                <c:pt idx="20">
                  <c:v>122.24096589800592</c:v>
                </c:pt>
                <c:pt idx="21">
                  <c:v>121.28665851721559</c:v>
                </c:pt>
                <c:pt idx="22">
                  <c:v>120.3479132047276</c:v>
                </c:pt>
                <c:pt idx="23">
                  <c:v>119.4243633716185</c:v>
                </c:pt>
                <c:pt idx="24">
                  <c:v>118.5156529095116</c:v>
                </c:pt>
                <c:pt idx="25">
                  <c:v>117.62143584851441</c:v>
                </c:pt>
                <c:pt idx="26">
                  <c:v>116.74137602769967</c:v>
                </c:pt>
                <c:pt idx="27">
                  <c:v>115.87514677759592</c:v>
                </c:pt>
                <c:pt idx="28">
                  <c:v>114.65322974445908</c:v>
                </c:pt>
                <c:pt idx="29">
                  <c:v>113.36797024968482</c:v>
                </c:pt>
                <c:pt idx="30">
                  <c:v>112.1124138693431</c:v>
                </c:pt>
                <c:pt idx="31">
                  <c:v>110.88554798062407</c:v>
                </c:pt>
                <c:pt idx="32">
                  <c:v>109.68640242416117</c:v>
                </c:pt>
                <c:pt idx="33">
                  <c:v>108.51404745842414</c:v>
                </c:pt>
                <c:pt idx="34">
                  <c:v>107.36759182739885</c:v>
                </c:pt>
                <c:pt idx="35">
                  <c:v>106.24618093410758</c:v>
                </c:pt>
                <c:pt idx="36">
                  <c:v>105.1489951129829</c:v>
                </c:pt>
                <c:pt idx="37">
                  <c:v>104.07524799457015</c:v>
                </c:pt>
                <c:pt idx="38">
                  <c:v>103.02418495653878</c:v>
                </c:pt>
                <c:pt idx="39">
                  <c:v>101.99508165543637</c:v>
                </c:pt>
                <c:pt idx="40">
                  <c:v>100.98724263409345</c:v>
                </c:pt>
                <c:pt idx="41">
                  <c:v>100</c:v>
                </c:pt>
                <c:pt idx="42">
                  <c:v>99.032712170377238</c:v>
                </c:pt>
                <c:pt idx="43">
                  <c:v>98.084762680024113</c:v>
                </c:pt>
                <c:pt idx="44">
                  <c:v>97.155559048340407</c:v>
                </c:pt>
                <c:pt idx="45">
                  <c:v>96.244531702213493</c:v>
                </c:pt>
                <c:pt idx="46">
                  <c:v>95.351132951720317</c:v>
                </c:pt>
                <c:pt idx="47">
                  <c:v>94.474836015811661</c:v>
                </c:pt>
                <c:pt idx="48">
                  <c:v>93.935903856916653</c:v>
                </c:pt>
                <c:pt idx="49">
                  <c:v>93.48246096165073</c:v>
                </c:pt>
                <c:pt idx="50">
                  <c:v>93.033025817271039</c:v>
                </c:pt>
                <c:pt idx="51">
                  <c:v>92.58753975477228</c:v>
                </c:pt>
                <c:pt idx="52">
                  <c:v>92.145945219653498</c:v>
                </c:pt>
                <c:pt idx="53">
                  <c:v>91.708185747125881</c:v>
                </c:pt>
                <c:pt idx="54">
                  <c:v>91.27420593800673</c:v>
                </c:pt>
                <c:pt idx="55">
                  <c:v>90.843951435279109</c:v>
                </c:pt>
                <c:pt idx="56">
                  <c:v>90.41736890129404</c:v>
                </c:pt>
                <c:pt idx="57">
                  <c:v>89.994405995597802</c:v>
                </c:pt>
                <c:pt idx="58">
                  <c:v>89.575011353357809</c:v>
                </c:pt>
                <c:pt idx="59">
                  <c:v>89.159134564370987</c:v>
                </c:pt>
                <c:pt idx="60">
                  <c:v>88.74672615263492</c:v>
                </c:pt>
                <c:pt idx="61">
                  <c:v>88.337737556460212</c:v>
                </c:pt>
                <c:pt idx="62">
                  <c:v>87.932121109111421</c:v>
                </c:pt>
                <c:pt idx="63">
                  <c:v>87.529830019951362</c:v>
                </c:pt>
                <c:pt idx="64">
                  <c:v>87.130818356081093</c:v>
                </c:pt>
                <c:pt idx="65">
                  <c:v>86.735041024448549</c:v>
                </c:pt>
                <c:pt idx="66">
                  <c:v>86.342453754419751</c:v>
                </c:pt>
                <c:pt idx="67">
                  <c:v>85.95301308079311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C$2:$C$69</c:f>
              <c:numCache>
                <c:formatCode>General</c:formatCode>
                <c:ptCount val="68"/>
                <c:pt idx="0">
                  <c:v>116.05426484576647</c:v>
                </c:pt>
                <c:pt idx="1">
                  <c:v>115.49625827072019</c:v>
                </c:pt>
                <c:pt idx="2">
                  <c:v>114.94815179758248</c:v>
                </c:pt>
                <c:pt idx="3">
                  <c:v>114.4097239784714</c:v>
                </c:pt>
                <c:pt idx="4">
                  <c:v>113.8807594150729</c:v>
                </c:pt>
                <c:pt idx="5">
                  <c:v>113.36104850613538</c:v>
                </c:pt>
                <c:pt idx="6">
                  <c:v>112.85038721082803</c:v>
                </c:pt>
                <c:pt idx="7">
                  <c:v>112.34857682696186</c:v>
                </c:pt>
                <c:pt idx="8">
                  <c:v>112.01962002917354</c:v>
                </c:pt>
                <c:pt idx="9">
                  <c:v>111.73759681446856</c:v>
                </c:pt>
                <c:pt idx="10">
                  <c:v>111.4610435921431</c:v>
                </c:pt>
                <c:pt idx="11">
                  <c:v>111.18983983588721</c:v>
                </c:pt>
                <c:pt idx="12">
                  <c:v>110.92386769555762</c:v>
                </c:pt>
                <c:pt idx="13">
                  <c:v>110.66301193437882</c:v>
                </c:pt>
                <c:pt idx="14">
                  <c:v>110.40715986799239</c:v>
                </c:pt>
                <c:pt idx="15">
                  <c:v>110.15620130527641</c:v>
                </c:pt>
                <c:pt idx="16">
                  <c:v>109.9100284908703</c:v>
                </c:pt>
                <c:pt idx="17">
                  <c:v>109.66853604932851</c:v>
                </c:pt>
                <c:pt idx="18">
                  <c:v>109.43162093082665</c:v>
                </c:pt>
                <c:pt idx="19">
                  <c:v>109.1991823583639</c:v>
                </c:pt>
                <c:pt idx="20">
                  <c:v>108.97112177637074</c:v>
                </c:pt>
                <c:pt idx="21">
                  <c:v>108.74734280067698</c:v>
                </c:pt>
                <c:pt idx="22">
                  <c:v>108.52775116976616</c:v>
                </c:pt>
                <c:pt idx="23">
                  <c:v>108.31225469725734</c:v>
                </c:pt>
                <c:pt idx="24">
                  <c:v>108.10076322556577</c:v>
                </c:pt>
                <c:pt idx="25">
                  <c:v>107.89318858068108</c:v>
                </c:pt>
                <c:pt idx="26">
                  <c:v>107.68944452802202</c:v>
                </c:pt>
                <c:pt idx="27">
                  <c:v>107.48944672932087</c:v>
                </c:pt>
                <c:pt idx="28">
                  <c:v>106.94834456118059</c:v>
                </c:pt>
                <c:pt idx="29">
                  <c:v>106.33516959812597</c:v>
                </c:pt>
                <c:pt idx="30">
                  <c:v>105.73679002749425</c:v>
                </c:pt>
                <c:pt idx="31">
                  <c:v>105.15270145595301</c:v>
                </c:pt>
                <c:pt idx="32">
                  <c:v>104.58241936632071</c:v>
                </c:pt>
                <c:pt idx="33">
                  <c:v>104.02547823033402</c:v>
                </c:pt>
                <c:pt idx="34">
                  <c:v>103.48143066900055</c:v>
                </c:pt>
                <c:pt idx="35">
                  <c:v>102.94984665726592</c:v>
                </c:pt>
                <c:pt idx="36">
                  <c:v>102.43031276988054</c:v>
                </c:pt>
                <c:pt idx="37">
                  <c:v>101.92243146552551</c:v>
                </c:pt>
                <c:pt idx="38">
                  <c:v>101.4258204064957</c:v>
                </c:pt>
                <c:pt idx="39">
                  <c:v>100.94011181144924</c:v>
                </c:pt>
                <c:pt idx="40">
                  <c:v>100.46495183898226</c:v>
                </c:pt>
                <c:pt idx="41">
                  <c:v>100</c:v>
                </c:pt>
                <c:pt idx="42">
                  <c:v>99.544928597072015</c:v>
                </c:pt>
                <c:pt idx="43">
                  <c:v>99.099422189151284</c:v>
                </c:pt>
                <c:pt idx="44">
                  <c:v>98.663177080206637</c:v>
                </c:pt>
                <c:pt idx="45">
                  <c:v>98.235900830466534</c:v>
                </c:pt>
                <c:pt idx="46">
                  <c:v>97.817311789112296</c:v>
                </c:pt>
                <c:pt idx="47">
                  <c:v>97.407138647358266</c:v>
                </c:pt>
                <c:pt idx="48">
                  <c:v>97.337534665865007</c:v>
                </c:pt>
                <c:pt idx="49">
                  <c:v>97.351387861391444</c:v>
                </c:pt>
                <c:pt idx="50">
                  <c:v>97.364739771732289</c:v>
                </c:pt>
                <c:pt idx="51">
                  <c:v>97.37759099808892</c:v>
                </c:pt>
                <c:pt idx="52">
                  <c:v>97.389942103916312</c:v>
                </c:pt>
                <c:pt idx="53">
                  <c:v>97.401793617449329</c:v>
                </c:pt>
                <c:pt idx="54">
                  <c:v>97.413146034192749</c:v>
                </c:pt>
                <c:pt idx="55">
                  <c:v>97.42399981937497</c:v>
                </c:pt>
                <c:pt idx="56">
                  <c:v>97.43435541036564</c:v>
                </c:pt>
                <c:pt idx="57">
                  <c:v>97.444213219061638</c:v>
                </c:pt>
                <c:pt idx="58">
                  <c:v>97.453573634235795</c:v>
                </c:pt>
                <c:pt idx="59">
                  <c:v>97.462437023850455</c:v>
                </c:pt>
                <c:pt idx="60">
                  <c:v>97.470803737338414</c:v>
                </c:pt>
                <c:pt idx="61">
                  <c:v>97.478674107844739</c:v>
                </c:pt>
                <c:pt idx="62">
                  <c:v>97.486048454437409</c:v>
                </c:pt>
                <c:pt idx="63">
                  <c:v>97.492927084276175</c:v>
                </c:pt>
                <c:pt idx="64">
                  <c:v>97.499310294750927</c:v>
                </c:pt>
                <c:pt idx="65">
                  <c:v>97.505198375575645</c:v>
                </c:pt>
                <c:pt idx="66">
                  <c:v>97.510591610848408</c:v>
                </c:pt>
                <c:pt idx="67">
                  <c:v>97.51549028107393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D$2:$D$69</c:f>
              <c:numCache>
                <c:formatCode>General</c:formatCode>
                <c:ptCount val="68"/>
                <c:pt idx="0">
                  <c:v>68.398605538236069</c:v>
                </c:pt>
                <c:pt idx="1">
                  <c:v>69.528565490747738</c:v>
                </c:pt>
                <c:pt idx="2">
                  <c:v>70.631704974168159</c:v>
                </c:pt>
                <c:pt idx="3">
                  <c:v>71.708883611519866</c:v>
                </c:pt>
                <c:pt idx="4">
                  <c:v>72.7609287820449</c:v>
                </c:pt>
                <c:pt idx="5">
                  <c:v>73.788636953740408</c:v>
                </c:pt>
                <c:pt idx="6">
                  <c:v>74.792774952652124</c:v>
                </c:pt>
                <c:pt idx="7">
                  <c:v>75.774081172723754</c:v>
                </c:pt>
                <c:pt idx="8">
                  <c:v>76.845628291146369</c:v>
                </c:pt>
                <c:pt idx="9">
                  <c:v>77.926252658810185</c:v>
                </c:pt>
                <c:pt idx="10">
                  <c:v>78.988661870860355</c:v>
                </c:pt>
                <c:pt idx="11">
                  <c:v>80.033356778815673</c:v>
                </c:pt>
                <c:pt idx="12">
                  <c:v>81.060820650059242</c:v>
                </c:pt>
                <c:pt idx="13">
                  <c:v>82.071519853427404</c:v>
                </c:pt>
                <c:pt idx="14">
                  <c:v>83.065904515984528</c:v>
                </c:pt>
                <c:pt idx="15">
                  <c:v>84.044409152309754</c:v>
                </c:pt>
                <c:pt idx="16">
                  <c:v>85.007453267560138</c:v>
                </c:pt>
                <c:pt idx="17">
                  <c:v>85.955441935499309</c:v>
                </c:pt>
                <c:pt idx="18">
                  <c:v>86.888766352617068</c:v>
                </c:pt>
                <c:pt idx="19">
                  <c:v>87.807804369419145</c:v>
                </c:pt>
                <c:pt idx="20">
                  <c:v>88.712920999884901</c:v>
                </c:pt>
                <c:pt idx="21">
                  <c:v>89.604468910070239</c:v>
                </c:pt>
                <c:pt idx="22">
                  <c:v>90.48278888675911</c:v>
                </c:pt>
                <c:pt idx="23">
                  <c:v>91.348210287034377</c:v>
                </c:pt>
                <c:pt idx="24">
                  <c:v>92.201051469595669</c:v>
                </c:pt>
                <c:pt idx="25">
                  <c:v>93.041620208604598</c:v>
                </c:pt>
                <c:pt idx="26">
                  <c:v>93.870214090810038</c:v>
                </c:pt>
                <c:pt idx="27">
                  <c:v>94.687120896663941</c:v>
                </c:pt>
                <c:pt idx="28">
                  <c:v>95.186105203650925</c:v>
                </c:pt>
                <c:pt idx="29">
                  <c:v>95.599756139055742</c:v>
                </c:pt>
                <c:pt idx="30">
                  <c:v>96.005269536064972</c:v>
                </c:pt>
                <c:pt idx="31">
                  <c:v>96.402928874930325</c:v>
                </c:pt>
                <c:pt idx="32">
                  <c:v>96.793002204914544</c:v>
                </c:pt>
                <c:pt idx="33">
                  <c:v>97.175743085470984</c:v>
                </c:pt>
                <c:pt idx="34">
                  <c:v>97.551391470049694</c:v>
                </c:pt>
                <c:pt idx="35">
                  <c:v>97.920174536021335</c:v>
                </c:pt>
                <c:pt idx="36">
                  <c:v>98.282307463867994</c:v>
                </c:pt>
                <c:pt idx="37">
                  <c:v>98.637994168492312</c:v>
                </c:pt>
                <c:pt idx="38">
                  <c:v>98.987427985303526</c:v>
                </c:pt>
                <c:pt idx="39">
                  <c:v>99.330792313550319</c:v>
                </c:pt>
                <c:pt idx="40">
                  <c:v>99.668261219257118</c:v>
                </c:pt>
                <c:pt idx="41">
                  <c:v>100</c:v>
                </c:pt>
                <c:pt idx="42">
                  <c:v>100.32616571368118</c:v>
                </c:pt>
                <c:pt idx="43">
                  <c:v>100.64690767337407</c:v>
                </c:pt>
                <c:pt idx="44">
                  <c:v>100.96236791024107</c:v>
                </c:pt>
                <c:pt idx="45">
                  <c:v>101.2726816064465</c:v>
                </c:pt>
                <c:pt idx="46">
                  <c:v>101.57797749992706</c:v>
                </c:pt>
                <c:pt idx="47">
                  <c:v>101.87837826279026</c:v>
                </c:pt>
                <c:pt idx="48">
                  <c:v>102.52409734541853</c:v>
                </c:pt>
                <c:pt idx="49">
                  <c:v>103.25016035856068</c:v>
                </c:pt>
                <c:pt idx="50">
                  <c:v>103.9688575061529</c:v>
                </c:pt>
                <c:pt idx="51">
                  <c:v>104.68027949066598</c:v>
                </c:pt>
                <c:pt idx="52">
                  <c:v>105.3845152241224</c:v>
                </c:pt>
                <c:pt idx="53">
                  <c:v>106.0816518722002</c:v>
                </c:pt>
                <c:pt idx="54">
                  <c:v>106.77177489719621</c:v>
                </c:pt>
                <c:pt idx="55">
                  <c:v>107.45496809988941</c:v>
                </c:pt>
                <c:pt idx="56">
                  <c:v>108.131313660334</c:v>
                </c:pt>
                <c:pt idx="57">
                  <c:v>108.80089217762236</c:v>
                </c:pt>
                <c:pt idx="58">
                  <c:v>109.46378270864243</c:v>
                </c:pt>
                <c:pt idx="59">
                  <c:v>110.1200628058626</c:v>
                </c:pt>
                <c:pt idx="60">
                  <c:v>110.76980855417527</c:v>
                </c:pt>
                <c:pt idx="61">
                  <c:v>111.41309460682163</c:v>
                </c:pt>
                <c:pt idx="62">
                  <c:v>112.04999422043133</c:v>
                </c:pt>
                <c:pt idx="63">
                  <c:v>112.68057928919318</c:v>
                </c:pt>
                <c:pt idx="64">
                  <c:v>113.30492037819238</c:v>
                </c:pt>
                <c:pt idx="65">
                  <c:v>113.92308675592598</c:v>
                </c:pt>
                <c:pt idx="66">
                  <c:v>114.53514642602781</c:v>
                </c:pt>
                <c:pt idx="67">
                  <c:v>115.14116615822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E$2:$E$69</c:f>
              <c:numCache>
                <c:formatCode>General</c:formatCode>
                <c:ptCount val="68"/>
                <c:pt idx="0">
                  <c:v>0.23583931239166808</c:v>
                </c:pt>
                <c:pt idx="1">
                  <c:v>0.24087330901622878</c:v>
                </c:pt>
                <c:pt idx="2">
                  <c:v>0.24584141563261477</c:v>
                </c:pt>
                <c:pt idx="3">
                  <c:v>0.25074491748155753</c:v>
                </c:pt>
                <c:pt idx="4">
                  <c:v>0.25558506659343361</c:v>
                </c:pt>
                <c:pt idx="5">
                  <c:v>0.26036308285406617</c:v>
                </c:pt>
                <c:pt idx="6">
                  <c:v>0.26508015502974192</c:v>
                </c:pt>
                <c:pt idx="7">
                  <c:v>0.26973744175325448</c:v>
                </c:pt>
                <c:pt idx="8">
                  <c:v>0.27433607247269226</c:v>
                </c:pt>
                <c:pt idx="9">
                  <c:v>0.27887714836460287</c:v>
                </c:pt>
                <c:pt idx="10">
                  <c:v>0.28336174321308177</c:v>
                </c:pt>
                <c:pt idx="11">
                  <c:v>0.28779090425626414</c:v>
                </c:pt>
                <c:pt idx="12">
                  <c:v>0.29216565300161867</c:v>
                </c:pt>
                <c:pt idx="13">
                  <c:v>0.29648698601137669</c:v>
                </c:pt>
                <c:pt idx="14">
                  <c:v>0.30075587565936601</c:v>
                </c:pt>
                <c:pt idx="15">
                  <c:v>0.3049732708604555</c:v>
                </c:pt>
                <c:pt idx="16">
                  <c:v>0.30914009777376222</c:v>
                </c:pt>
                <c:pt idx="17">
                  <c:v>0.31325726048071234</c:v>
                </c:pt>
                <c:pt idx="18">
                  <c:v>0.31732564163900195</c:v>
                </c:pt>
                <c:pt idx="19">
                  <c:v>0.32134610311344836</c:v>
                </c:pt>
                <c:pt idx="20">
                  <c:v>0.32531948658468107</c:v>
                </c:pt>
                <c:pt idx="21">
                  <c:v>0.3292466141365748</c:v>
                </c:pt>
                <c:pt idx="22">
                  <c:v>0.33312828882328432</c:v>
                </c:pt>
                <c:pt idx="23">
                  <c:v>0.33696529521670621</c:v>
                </c:pt>
                <c:pt idx="24">
                  <c:v>0.34075839993514617</c:v>
                </c:pt>
                <c:pt idx="25">
                  <c:v>0.34450835215394493</c:v>
                </c:pt>
                <c:pt idx="26">
                  <c:v>0.34821588409877563</c:v>
                </c:pt>
                <c:pt idx="27">
                  <c:v>0.35188171152229208</c:v>
                </c:pt>
                <c:pt idx="28">
                  <c:v>0.35550653416478489</c:v>
                </c:pt>
                <c:pt idx="29">
                  <c:v>0.35909103619946336</c:v>
                </c:pt>
                <c:pt idx="30">
                  <c:v>0.36263588666296198</c:v>
                </c:pt>
                <c:pt idx="31">
                  <c:v>0.36614173987163656</c:v>
                </c:pt>
                <c:pt idx="32">
                  <c:v>0.3696092358241988</c:v>
                </c:pt>
                <c:pt idx="33">
                  <c:v>0.37303900059120526</c:v>
                </c:pt>
                <c:pt idx="34">
                  <c:v>0.37643164669190227</c:v>
                </c:pt>
                <c:pt idx="35">
                  <c:v>0.37978777345889952</c:v>
                </c:pt>
                <c:pt idx="36">
                  <c:v>0.38310796739113234</c:v>
                </c:pt>
                <c:pt idx="37">
                  <c:v>0.38639280249554597</c:v>
                </c:pt>
                <c:pt idx="38">
                  <c:v>0.3896428406179212</c:v>
                </c:pt>
                <c:pt idx="39">
                  <c:v>0.39285863176324298</c:v>
                </c:pt>
                <c:pt idx="40">
                  <c:v>0.39604071440599342</c:v>
                </c:pt>
                <c:pt idx="41">
                  <c:v>0.39918961579073786</c:v>
                </c:pt>
                <c:pt idx="42">
                  <c:v>0.40230585222335857</c:v>
                </c:pt>
                <c:pt idx="43">
                  <c:v>0.40538992935326895</c:v>
                </c:pt>
                <c:pt idx="44">
                  <c:v>0.40844234244693806</c:v>
                </c:pt>
                <c:pt idx="45">
                  <c:v>0.41146357665303129</c:v>
                </c:pt>
                <c:pt idx="46">
                  <c:v>0.41445410725946913</c:v>
                </c:pt>
                <c:pt idx="47">
                  <c:v>0.41741439994268714</c:v>
                </c:pt>
                <c:pt idx="48">
                  <c:v>0.42034491100937388</c:v>
                </c:pt>
                <c:pt idx="49">
                  <c:v>0.42324608763094862</c:v>
                </c:pt>
                <c:pt idx="50">
                  <c:v>0.42611836807103354</c:v>
                </c:pt>
                <c:pt idx="51">
                  <c:v>0.42896218190616214</c:v>
                </c:pt>
                <c:pt idx="52">
                  <c:v>0.43177795023995813</c:v>
                </c:pt>
                <c:pt idx="53">
                  <c:v>0.43456608591100848</c:v>
                </c:pt>
                <c:pt idx="54">
                  <c:v>0.43732699369464612</c:v>
                </c:pt>
                <c:pt idx="55">
                  <c:v>0.44006107049885096</c:v>
                </c:pt>
                <c:pt idx="56">
                  <c:v>0.44276870555446579</c:v>
                </c:pt>
                <c:pt idx="57">
                  <c:v>0.4454502805999207</c:v>
                </c:pt>
                <c:pt idx="58">
                  <c:v>0.44810617006064901</c:v>
                </c:pt>
                <c:pt idx="59">
                  <c:v>0.45073674122337237</c:v>
                </c:pt>
                <c:pt idx="60">
                  <c:v>0.45334235440542475</c:v>
                </c:pt>
                <c:pt idx="61">
                  <c:v>0.45592336311928006</c:v>
                </c:pt>
                <c:pt idx="62">
                  <c:v>0.45848011423244139</c:v>
                </c:pt>
                <c:pt idx="63">
                  <c:v>0.4610129481228416</c:v>
                </c:pt>
                <c:pt idx="64">
                  <c:v>0.46352219882990481</c:v>
                </c:pt>
                <c:pt idx="65">
                  <c:v>0.4660081942014066</c:v>
                </c:pt>
                <c:pt idx="66">
                  <c:v>0.46847125603627088</c:v>
                </c:pt>
                <c:pt idx="67">
                  <c:v>0.4709117002234321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Deutz Brut Classique 750ml (3.4%)</c:v>
                </c:pt>
                <c:pt idx="3">
                  <c:v>Champagne Laurent-Perrier Blanc La Cuvée 1500ml (0.8%)</c:v>
                </c:pt>
                <c:pt idx="4">
                  <c:v>Champagne Laurent-Perrier Blanc La Cuvée 750ml (2.7%)</c:v>
                </c:pt>
                <c:pt idx="5">
                  <c:v>Champagne Taittinger Prestige Brut 750ml (1.6%)</c:v>
                </c:pt>
                <c:pt idx="6">
                  <c:v>Champagne E.Nicolas Brut 750ml (11.6%)</c:v>
                </c:pt>
                <c:pt idx="7">
                  <c:v>Champagne Ruinart Brut (étui) 750ml (1.2%)</c:v>
                </c:pt>
                <c:pt idx="8">
                  <c:v>Champagne Veuve Clicquot Réserve Cuvée 750ml (1.7%)</c:v>
                </c:pt>
                <c:pt idx="9">
                  <c:v>Champagne Canard-Duchêne Blanc Cuvée Léonie Brut 750ml (2.6%)</c:v>
                </c:pt>
              </c:strCache>
            </c:strRef>
          </c:cat>
          <c:val>
            <c:numRef>
              <c:f>Sheet1!$B$2:$B$11</c:f>
              <c:numCache>
                <c:formatCode>General</c:formatCode>
                <c:ptCount val="10"/>
                <c:pt idx="0">
                  <c:v>0.17690429977351338</c:v>
                </c:pt>
                <c:pt idx="1">
                  <c:v>4.8948561533414384E-2</c:v>
                </c:pt>
                <c:pt idx="2">
                  <c:v>4.887938441113112E-2</c:v>
                </c:pt>
                <c:pt idx="3">
                  <c:v>4.698681851360971E-2</c:v>
                </c:pt>
                <c:pt idx="4">
                  <c:v>3.9938589093234472E-2</c:v>
                </c:pt>
                <c:pt idx="5">
                  <c:v>3.5408151931736E-2</c:v>
                </c:pt>
                <c:pt idx="6">
                  <c:v>3.3511813071591123E-2</c:v>
                </c:pt>
                <c:pt idx="7">
                  <c:v>3.0626083081882468E-2</c:v>
                </c:pt>
                <c:pt idx="8">
                  <c:v>3.0438940321215729E-2</c:v>
                </c:pt>
                <c:pt idx="9">
                  <c:v>2.8076141596437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Laurent-Perrier Blanc La Cuvée 1500ml (0.8%)</c:v>
                </c:pt>
                <c:pt idx="3">
                  <c:v>Champagne Deutz Brut Classique 750ml (3.4%)</c:v>
                </c:pt>
                <c:pt idx="4">
                  <c:v>Champagne Taittinger Prestige Brut 750ml (1.6%)</c:v>
                </c:pt>
                <c:pt idx="5">
                  <c:v>Champagne Laurent-Perrier Blanc La Cuvée 750ml (2.7%)</c:v>
                </c:pt>
                <c:pt idx="6">
                  <c:v>Champagne Veuve Clicquot Réserve Cuvée 750ml (1.7%)</c:v>
                </c:pt>
                <c:pt idx="7">
                  <c:v>Champagne E.Nicolas Brut 750ml (11.6%)</c:v>
                </c:pt>
                <c:pt idx="8">
                  <c:v>Champagne Ruinart Brut (étui) 1500ml (0.7%)</c:v>
                </c:pt>
                <c:pt idx="9">
                  <c:v>Champagne Ruinart Brut (étui) 750ml (1.2%)</c:v>
                </c:pt>
              </c:strCache>
            </c:strRef>
          </c:cat>
          <c:val>
            <c:numRef>
              <c:f>Sheet1!$B$2:$B$11</c:f>
              <c:numCache>
                <c:formatCode>General</c:formatCode>
                <c:ptCount val="10"/>
                <c:pt idx="0">
                  <c:v>0.14571137236663839</c:v>
                </c:pt>
                <c:pt idx="1">
                  <c:v>5.9166949159884817E-2</c:v>
                </c:pt>
                <c:pt idx="2">
                  <c:v>5.8364258669222714E-2</c:v>
                </c:pt>
                <c:pt idx="3">
                  <c:v>4.8802816816904029E-2</c:v>
                </c:pt>
                <c:pt idx="4">
                  <c:v>4.0251868407586974E-2</c:v>
                </c:pt>
                <c:pt idx="5">
                  <c:v>3.6642548802120339E-2</c:v>
                </c:pt>
                <c:pt idx="6">
                  <c:v>3.4690667705452233E-2</c:v>
                </c:pt>
                <c:pt idx="7">
                  <c:v>3.2411721964871062E-2</c:v>
                </c:pt>
                <c:pt idx="8">
                  <c:v>3.0177044807357445E-2</c:v>
                </c:pt>
                <c:pt idx="9">
                  <c:v>2.750755655674232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Feuillatte Extra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7.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0000000000003</c:v>
                </c:pt>
                <c:pt idx="1">
                  <c:v>39.950000000000003</c:v>
                </c:pt>
                <c:pt idx="2">
                  <c:v>42.95</c:v>
                </c:pt>
                <c:pt idx="3">
                  <c:v>47.95</c:v>
                </c:pt>
                <c:pt idx="4">
                  <c:v>49.95</c:v>
                </c:pt>
              </c:numCache>
            </c:numRef>
          </c:xVal>
          <c:yVal>
            <c:numRef>
              <c:f>Sheet1!$B$2:$B$6</c:f>
              <c:numCache>
                <c:formatCode>General</c:formatCode>
                <c:ptCount val="5"/>
                <c:pt idx="0">
                  <c:v>1.2442315606433458</c:v>
                </c:pt>
                <c:pt idx="1">
                  <c:v>0.53193487302909237</c:v>
                </c:pt>
                <c:pt idx="2">
                  <c:v>0</c:v>
                </c:pt>
                <c:pt idx="3">
                  <c:v>-0.33987450089462129</c:v>
                </c:pt>
                <c:pt idx="4">
                  <c:v>-0.4090099293868870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Feuillatte Réserve Exclusiv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95</c:v>
                </c:pt>
                <c:pt idx="1">
                  <c:v>30.95</c:v>
                </c:pt>
                <c:pt idx="2">
                  <c:v>33.950000000000003</c:v>
                </c:pt>
                <c:pt idx="3">
                  <c:v>37.950000000000003</c:v>
                </c:pt>
                <c:pt idx="4">
                  <c:v>39.950000000000003</c:v>
                </c:pt>
              </c:numCache>
            </c:numRef>
          </c:xVal>
          <c:yVal>
            <c:numRef>
              <c:f>Sheet1!$B$9:$B$13</c:f>
              <c:numCache>
                <c:formatCode>General</c:formatCode>
                <c:ptCount val="5"/>
                <c:pt idx="0">
                  <c:v>0.9149215384717142</c:v>
                </c:pt>
                <c:pt idx="1">
                  <c:v>0.34054642340091124</c:v>
                </c:pt>
                <c:pt idx="2">
                  <c:v>0</c:v>
                </c:pt>
                <c:pt idx="3">
                  <c:v>-0.27346174094548054</c:v>
                </c:pt>
                <c:pt idx="4">
                  <c:v>-0.3617457700795533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Feuillatte Réserve Exclusiv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c:v>
                </c:pt>
                <c:pt idx="2">
                  <c:v>69</c:v>
                </c:pt>
                <c:pt idx="3">
                  <c:v>75</c:v>
                </c:pt>
                <c:pt idx="4">
                  <c:v>85</c:v>
                </c:pt>
              </c:numCache>
            </c:numRef>
          </c:xVal>
          <c:yVal>
            <c:numRef>
              <c:f>Sheet1!$B$16:$B$20</c:f>
              <c:numCache>
                <c:formatCode>General</c:formatCode>
                <c:ptCount val="5"/>
                <c:pt idx="0">
                  <c:v>0.7121516906898393</c:v>
                </c:pt>
                <c:pt idx="1">
                  <c:v>0.50554385910787492</c:v>
                </c:pt>
                <c:pt idx="2">
                  <c:v>0</c:v>
                </c:pt>
                <c:pt idx="3">
                  <c:v>-0.21414425579351598</c:v>
                </c:pt>
                <c:pt idx="4">
                  <c:v>-0.35996751908536878</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Feuillatte Réserve Exclusive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9.95</c:v>
                </c:pt>
                <c:pt idx="1">
                  <c:v>33.950000000000003</c:v>
                </c:pt>
                <c:pt idx="2">
                  <c:v>37.950000000000003</c:v>
                </c:pt>
                <c:pt idx="3">
                  <c:v>39.950000000000003</c:v>
                </c:pt>
                <c:pt idx="4">
                  <c:v>44.95</c:v>
                </c:pt>
              </c:numCache>
            </c:numRef>
          </c:xVal>
          <c:yVal>
            <c:numRef>
              <c:f>Sheet1!$B$23:$B$27</c:f>
              <c:numCache>
                <c:formatCode>General</c:formatCode>
                <c:ptCount val="5"/>
                <c:pt idx="0">
                  <c:v>1.038248683050411</c:v>
                </c:pt>
                <c:pt idx="1">
                  <c:v>0.36686394521750137</c:v>
                </c:pt>
                <c:pt idx="2">
                  <c:v>0</c:v>
                </c:pt>
                <c:pt idx="3">
                  <c:v>-0.11757589064163557</c:v>
                </c:pt>
                <c:pt idx="4">
                  <c:v>-0.5179957205566365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
          <c:min val="26.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Dea August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De Chance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ouvet Ladub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Cru La Maqu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Patriarch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Muré</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Château Moncontour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Petit Coteau</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es Grumes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Botteg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Carlo V</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Savi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Contarini</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5</c:f>
              <c:numCache>
                <c:formatCode>General</c:formatCode>
                <c:ptCount val="14"/>
                <c:pt idx="0">
                  <c:v>-3.0464350819460897</c:v>
                </c:pt>
                <c:pt idx="1">
                  <c:v>-1.7517004706972361</c:v>
                </c:pt>
                <c:pt idx="2">
                  <c:v>-1.9227461588797361</c:v>
                </c:pt>
                <c:pt idx="3">
                  <c:v>-2.6451612233112463</c:v>
                </c:pt>
                <c:pt idx="4">
                  <c:v>-1.3988214624514914</c:v>
                </c:pt>
                <c:pt idx="5">
                  <c:v>-2.3344791848628947</c:v>
                </c:pt>
                <c:pt idx="6">
                  <c:v>-1.093974035596232</c:v>
                </c:pt>
                <c:pt idx="7">
                  <c:v>-1.2464321017946798</c:v>
                </c:pt>
                <c:pt idx="8">
                  <c:v>-0.66634638041908534</c:v>
                </c:pt>
                <c:pt idx="9">
                  <c:v>-1.5366588852993588</c:v>
                </c:pt>
                <c:pt idx="10">
                  <c:v>-2.2443894501346744</c:v>
                </c:pt>
                <c:pt idx="11">
                  <c:v>-0.75168613686827812</c:v>
                </c:pt>
                <c:pt idx="12">
                  <c:v>-3.3429564785406742</c:v>
                </c:pt>
                <c:pt idx="13">
                  <c:v>-2.117499888201595</c:v>
                </c:pt>
              </c:numCache>
            </c:numRef>
          </c:xVal>
          <c:yVal>
            <c:numRef>
              <c:f>Sheet1!$B$2:$B$15</c:f>
              <c:numCache>
                <c:formatCode>General</c:formatCode>
                <c:ptCount val="14"/>
                <c:pt idx="0">
                  <c:v>-1.6555260614709277</c:v>
                </c:pt>
                <c:pt idx="1">
                  <c:v>-1.3584283979476903</c:v>
                </c:pt>
                <c:pt idx="2">
                  <c:v>-1.2189711815930024</c:v>
                </c:pt>
                <c:pt idx="3">
                  <c:v>-1.4934808222452141</c:v>
                </c:pt>
                <c:pt idx="4">
                  <c:v>-1.1035827154567517</c:v>
                </c:pt>
                <c:pt idx="5">
                  <c:v>-1.6346050407491504</c:v>
                </c:pt>
                <c:pt idx="6">
                  <c:v>-0.91643202250046718</c:v>
                </c:pt>
                <c:pt idx="7">
                  <c:v>-0.98478968684923562</c:v>
                </c:pt>
                <c:pt idx="8">
                  <c:v>-0.58008950455299479</c:v>
                </c:pt>
                <c:pt idx="9">
                  <c:v>-1.0847784643117298</c:v>
                </c:pt>
                <c:pt idx="10">
                  <c:v>-1.2774418755946719</c:v>
                </c:pt>
                <c:pt idx="11">
                  <c:v>-1.6916224606601524</c:v>
                </c:pt>
                <c:pt idx="12">
                  <c:v>-2.1417855102743975</c:v>
                </c:pt>
                <c:pt idx="1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4"/>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3"/>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Patriarche (2.6%)</c:v>
                </c:pt>
                <c:pt idx="3">
                  <c:v>Bottega (3.7%)</c:v>
                </c:pt>
                <c:pt idx="4">
                  <c:v>Savian (2.1%)</c:v>
                </c:pt>
                <c:pt idx="5">
                  <c:v>Bouvet Ladubay (1.5%)</c:v>
                </c:pt>
                <c:pt idx="6">
                  <c:v>Château Moncontour  (1.5%)</c:v>
                </c:pt>
                <c:pt idx="7">
                  <c:v>Malard (6.0%)</c:v>
                </c:pt>
                <c:pt idx="8">
                  <c:v>Les Grumes  (1.0%)</c:v>
                </c:pt>
                <c:pt idx="9">
                  <c:v>Muré (1.3%)</c:v>
                </c:pt>
              </c:strCache>
            </c:strRef>
          </c:cat>
          <c:val>
            <c:numRef>
              <c:f>Sheet1!$B$2:$B$11</c:f>
              <c:numCache>
                <c:formatCode>General</c:formatCode>
                <c:ptCount val="10"/>
                <c:pt idx="0">
                  <c:v>0.12867679597104181</c:v>
                </c:pt>
                <c:pt idx="1">
                  <c:v>0.1195862574356487</c:v>
                </c:pt>
                <c:pt idx="2">
                  <c:v>0.10742558428217436</c:v>
                </c:pt>
                <c:pt idx="3">
                  <c:v>8.088176463892191E-2</c:v>
                </c:pt>
                <c:pt idx="4">
                  <c:v>6.6186608758907348E-2</c:v>
                </c:pt>
                <c:pt idx="5">
                  <c:v>6.3483138697372835E-2</c:v>
                </c:pt>
                <c:pt idx="6">
                  <c:v>6.0790843496789919E-2</c:v>
                </c:pt>
                <c:pt idx="7">
                  <c:v>4.6701774780723251E-2</c:v>
                </c:pt>
                <c:pt idx="8">
                  <c:v>3.8406885045391095E-2</c:v>
                </c:pt>
                <c:pt idx="9">
                  <c:v>3.72867650830036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211.86639602859168</c:v>
                </c:pt>
                <c:pt idx="1">
                  <c:v>202.05625746693508</c:v>
                </c:pt>
                <c:pt idx="2">
                  <c:v>193.16173112651936</c:v>
                </c:pt>
                <c:pt idx="3">
                  <c:v>185.07499843355646</c:v>
                </c:pt>
                <c:pt idx="4">
                  <c:v>177.69921356936948</c:v>
                </c:pt>
                <c:pt idx="5">
                  <c:v>170.94865812894898</c:v>
                </c:pt>
                <c:pt idx="6">
                  <c:v>164.74827360889213</c:v>
                </c:pt>
                <c:pt idx="7">
                  <c:v>159.0328218113911</c:v>
                </c:pt>
                <c:pt idx="8">
                  <c:v>153.74586556191517</c:v>
                </c:pt>
                <c:pt idx="9">
                  <c:v>148.83870297544897</c:v>
                </c:pt>
                <c:pt idx="10">
                  <c:v>143.55615107426948</c:v>
                </c:pt>
                <c:pt idx="11">
                  <c:v>132.73162378455604</c:v>
                </c:pt>
                <c:pt idx="12">
                  <c:v>123.1151319599104</c:v>
                </c:pt>
                <c:pt idx="13">
                  <c:v>114.54359154329961</c:v>
                </c:pt>
                <c:pt idx="14">
                  <c:v>106.87805058034785</c:v>
                </c:pt>
                <c:pt idx="15">
                  <c:v>100</c:v>
                </c:pt>
                <c:pt idx="16">
                  <c:v>93.80825118512206</c:v>
                </c:pt>
                <c:pt idx="17">
                  <c:v>88.216293438210954</c:v>
                </c:pt>
                <c:pt idx="18">
                  <c:v>83.150055555948612</c:v>
                </c:pt>
                <c:pt idx="19">
                  <c:v>78.546010038776885</c:v>
                </c:pt>
                <c:pt idx="20">
                  <c:v>74.512737002093502</c:v>
                </c:pt>
                <c:pt idx="21">
                  <c:v>72.18467211215831</c:v>
                </c:pt>
                <c:pt idx="22">
                  <c:v>69.972968267315466</c:v>
                </c:pt>
                <c:pt idx="23">
                  <c:v>67.869812242190861</c:v>
                </c:pt>
                <c:pt idx="24">
                  <c:v>65.868025606626787</c:v>
                </c:pt>
                <c:pt idx="25">
                  <c:v>63.961008055050527</c:v>
                </c:pt>
                <c:pt idx="26">
                  <c:v>62.142685803840834</c:v>
                </c:pt>
                <c:pt idx="27">
                  <c:v>60.407464648441831</c:v>
                </c:pt>
                <c:pt idx="28">
                  <c:v>58.750187293699859</c:v>
                </c:pt>
                <c:pt idx="29">
                  <c:v>57.16609459507551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74.55445982877944</c:v>
                </c:pt>
                <c:pt idx="1">
                  <c:v>168.8385220651092</c:v>
                </c:pt>
                <c:pt idx="2">
                  <c:v>163.66903782280406</c:v>
                </c:pt>
                <c:pt idx="3">
                  <c:v>158.98542495497344</c:v>
                </c:pt>
                <c:pt idx="4">
                  <c:v>154.73164362708332</c:v>
                </c:pt>
                <c:pt idx="5">
                  <c:v>150.85696455460939</c:v>
                </c:pt>
                <c:pt idx="6">
                  <c:v>147.31619450641759</c:v>
                </c:pt>
                <c:pt idx="7">
                  <c:v>144.06953406645471</c:v>
                </c:pt>
                <c:pt idx="8">
                  <c:v>141.082213181752</c:v>
                </c:pt>
                <c:pt idx="9">
                  <c:v>138.32401315190626</c:v>
                </c:pt>
                <c:pt idx="10">
                  <c:v>135.098492986492</c:v>
                </c:pt>
                <c:pt idx="11">
                  <c:v>126.47605889311025</c:v>
                </c:pt>
                <c:pt idx="12">
                  <c:v>118.76362137595595</c:v>
                </c:pt>
                <c:pt idx="13">
                  <c:v>111.84470363347201</c:v>
                </c:pt>
                <c:pt idx="14">
                  <c:v>105.61897792111041</c:v>
                </c:pt>
                <c:pt idx="15">
                  <c:v>100</c:v>
                </c:pt>
                <c:pt idx="16">
                  <c:v>94.913256091996885</c:v>
                </c:pt>
                <c:pt idx="17">
                  <c:v>90.294480083210189</c:v>
                </c:pt>
                <c:pt idx="18">
                  <c:v>86.088202078892976</c:v>
                </c:pt>
                <c:pt idx="19">
                  <c:v>82.246497276073043</c:v>
                </c:pt>
                <c:pt idx="20">
                  <c:v>78.900505426306239</c:v>
                </c:pt>
                <c:pt idx="21">
                  <c:v>77.283670739272466</c:v>
                </c:pt>
                <c:pt idx="22">
                  <c:v>75.738113521284376</c:v>
                </c:pt>
                <c:pt idx="23">
                  <c:v>74.259380205424293</c:v>
                </c:pt>
                <c:pt idx="24">
                  <c:v>72.843352945309732</c:v>
                </c:pt>
                <c:pt idx="25">
                  <c:v>71.486223434695361</c:v>
                </c:pt>
                <c:pt idx="26">
                  <c:v>70.184468477063731</c:v>
                </c:pt>
                <c:pt idx="27">
                  <c:v>68.934827252664419</c:v>
                </c:pt>
                <c:pt idx="28">
                  <c:v>67.734280217720752</c:v>
                </c:pt>
                <c:pt idx="29">
                  <c:v>66.58002956283183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34.86104420176397</c:v>
                </c:pt>
                <c:pt idx="1">
                  <c:v>133.51249944647935</c:v>
                </c:pt>
                <c:pt idx="2">
                  <c:v>132.31573400504359</c:v>
                </c:pt>
                <c:pt idx="3">
                  <c:v>131.260837676124</c:v>
                </c:pt>
                <c:pt idx="4">
                  <c:v>130.33549823292202</c:v>
                </c:pt>
                <c:pt idx="5">
                  <c:v>129.52644799935612</c:v>
                </c:pt>
                <c:pt idx="6">
                  <c:v>128.82044642179119</c:v>
                </c:pt>
                <c:pt idx="7">
                  <c:v>128.2048947148028</c:v>
                </c:pt>
                <c:pt idx="8">
                  <c:v>127.66817923377478</c:v>
                </c:pt>
                <c:pt idx="9">
                  <c:v>127.19982696129068</c:v>
                </c:pt>
                <c:pt idx="10">
                  <c:v>126.16375642116684</c:v>
                </c:pt>
                <c:pt idx="11">
                  <c:v>119.86685544668767</c:v>
                </c:pt>
                <c:pt idx="12">
                  <c:v>114.16560128445603</c:v>
                </c:pt>
                <c:pt idx="13">
                  <c:v>108.99262814898523</c:v>
                </c:pt>
                <c:pt idx="14">
                  <c:v>104.28831099547138</c:v>
                </c:pt>
                <c:pt idx="15">
                  <c:v>100</c:v>
                </c:pt>
                <c:pt idx="16">
                  <c:v>96.081299207264848</c:v>
                </c:pt>
                <c:pt idx="17">
                  <c:v>92.491394376289136</c:v>
                </c:pt>
                <c:pt idx="18">
                  <c:v>89.194430126460489</c:v>
                </c:pt>
                <c:pt idx="19">
                  <c:v>86.158937494956461</c:v>
                </c:pt>
                <c:pt idx="20">
                  <c:v>83.540249365201973</c:v>
                </c:pt>
                <c:pt idx="21">
                  <c:v>82.679221841037091</c:v>
                </c:pt>
                <c:pt idx="22">
                  <c:v>81.841470299905993</c:v>
                </c:pt>
                <c:pt idx="23">
                  <c:v>81.026125511553502</c:v>
                </c:pt>
                <c:pt idx="24">
                  <c:v>80.23233419275752</c:v>
                </c:pt>
                <c:pt idx="25">
                  <c:v>79.459265512903116</c:v>
                </c:pt>
                <c:pt idx="26">
                  <c:v>78.706115779328087</c:v>
                </c:pt>
                <c:pt idx="27">
                  <c:v>77.972111635091508</c:v>
                </c:pt>
                <c:pt idx="28">
                  <c:v>77.256512051253523</c:v>
                </c:pt>
                <c:pt idx="29">
                  <c:v>76.5586093532019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7528294463326317</c:v>
                </c:pt>
                <c:pt idx="1">
                  <c:v>0.38408177639899199</c:v>
                </c:pt>
                <c:pt idx="2">
                  <c:v>0.39263619617122814</c:v>
                </c:pt>
                <c:pt idx="3">
                  <c:v>0.40095624827847154</c:v>
                </c:pt>
                <c:pt idx="4">
                  <c:v>0.40905143411254624</c:v>
                </c:pt>
                <c:pt idx="5">
                  <c:v>0.41693074832437899</c:v>
                </c:pt>
                <c:pt idx="6">
                  <c:v>0.42460271216221612</c:v>
                </c:pt>
                <c:pt idx="7">
                  <c:v>0.43207540421205742</c:v>
                </c:pt>
                <c:pt idx="8">
                  <c:v>0.43935648877344141</c:v>
                </c:pt>
                <c:pt idx="9">
                  <c:v>0.44645324208010673</c:v>
                </c:pt>
                <c:pt idx="10">
                  <c:v>0.45337257655410518</c:v>
                </c:pt>
                <c:pt idx="11">
                  <c:v>0.46012106326331398</c:v>
                </c:pt>
                <c:pt idx="12">
                  <c:v>0.46670495273571255</c:v>
                </c:pt>
                <c:pt idx="13">
                  <c:v>0.4731301942690172</c:v>
                </c:pt>
                <c:pt idx="14">
                  <c:v>0.47940245386105274</c:v>
                </c:pt>
                <c:pt idx="15">
                  <c:v>0.4855271308744521</c:v>
                </c:pt>
                <c:pt idx="16">
                  <c:v>0.49150937353870272</c:v>
                </c:pt>
                <c:pt idx="17">
                  <c:v>0.49735409338308539</c:v>
                </c:pt>
                <c:pt idx="18">
                  <c:v>0.50306597868555036</c:v>
                </c:pt>
                <c:pt idx="19">
                  <c:v>0.50864950701492617</c:v>
                </c:pt>
                <c:pt idx="20">
                  <c:v>0.51410895693698244</c:v>
                </c:pt>
                <c:pt idx="21">
                  <c:v>0.51944841894866411</c:v>
                </c:pt>
                <c:pt idx="22">
                  <c:v>0.524671805699222</c:v>
                </c:pt>
                <c:pt idx="23">
                  <c:v>0.52978286155191867</c:v>
                </c:pt>
                <c:pt idx="24">
                  <c:v>0.53478517153540883</c:v>
                </c:pt>
                <c:pt idx="25">
                  <c:v>0.5396821697297729</c:v>
                </c:pt>
                <c:pt idx="26">
                  <c:v>0.54447714712842121</c:v>
                </c:pt>
                <c:pt idx="27">
                  <c:v>0.54917325901369518</c:v>
                </c:pt>
                <c:pt idx="28">
                  <c:v>0.55377353188090239</c:v>
                </c:pt>
                <c:pt idx="29">
                  <c:v>0.558280869942711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Malard Brut 1er Cru 750ml (4.1%)</c:v>
                </c:pt>
                <c:pt idx="3">
                  <c:v>Champagne Heidsieck Monopole Silver Top 750ml (4.2%)</c:v>
                </c:pt>
                <c:pt idx="4">
                  <c:v>Champagne Canard-Duchêne Blanc Cuvée Léonie Brut 750ml (2.6%)</c:v>
                </c:pt>
                <c:pt idx="5">
                  <c:v>Champagne Laurent-Perrier Blanc La Cuvée 750ml (2.7%)</c:v>
                </c:pt>
                <c:pt idx="6">
                  <c:v>Champagne Nicolas Feuillatte Réserve Exclusive Rosé 750ml (0.7%)</c:v>
                </c:pt>
                <c:pt idx="7">
                  <c:v>Champagne Vranken Demoiselle Tête de Cuvée 750ml (1.4%)</c:v>
                </c:pt>
                <c:pt idx="8">
                  <c:v>Champagne Vranken Demoiselle Rosé Prestige 750ml (2.0%)</c:v>
                </c:pt>
                <c:pt idx="9">
                  <c:v>Champagne Ruinart Brut 750ml (7.3%)</c:v>
                </c:pt>
              </c:strCache>
            </c:strRef>
          </c:cat>
          <c:val>
            <c:numRef>
              <c:f>Sheet1!$B$2:$B$11</c:f>
              <c:numCache>
                <c:formatCode>General</c:formatCode>
                <c:ptCount val="10"/>
                <c:pt idx="0">
                  <c:v>0.19208231492746325</c:v>
                </c:pt>
                <c:pt idx="1">
                  <c:v>0.11654737925622254</c:v>
                </c:pt>
                <c:pt idx="2">
                  <c:v>6.106457952843735E-2</c:v>
                </c:pt>
                <c:pt idx="3">
                  <c:v>5.4389065916130255E-2</c:v>
                </c:pt>
                <c:pt idx="4">
                  <c:v>4.5567785278607248E-2</c:v>
                </c:pt>
                <c:pt idx="5">
                  <c:v>3.3086181463824103E-2</c:v>
                </c:pt>
                <c:pt idx="6">
                  <c:v>3.0455594603100263E-2</c:v>
                </c:pt>
                <c:pt idx="7">
                  <c:v>2.7654378847511034E-2</c:v>
                </c:pt>
                <c:pt idx="8">
                  <c:v>2.4833115651354262E-2</c:v>
                </c:pt>
                <c:pt idx="9">
                  <c:v>2.402835608179957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Laurent-Perrier Blanc La Cuvée 750ml (2.7%)</c:v>
                </c:pt>
                <c:pt idx="3">
                  <c:v>Champagne Malard Brut 1er Cru 750ml (4.1%)</c:v>
                </c:pt>
                <c:pt idx="4">
                  <c:v>Champagne Canard-Duchêne Blanc Cuvée Léonie Brut 750ml (2.6%)</c:v>
                </c:pt>
                <c:pt idx="5">
                  <c:v>Champagne Heidsieck Monopole Silver Top 750ml (4.2%)</c:v>
                </c:pt>
                <c:pt idx="6">
                  <c:v>Champagne Ruinart Brut 750ml (7.3%)</c:v>
                </c:pt>
                <c:pt idx="7">
                  <c:v>Champagne Nicolas Feuillatte Réserve Exclusive Rosé 750ml (0.7%)</c:v>
                </c:pt>
                <c:pt idx="8">
                  <c:v>Champagne Moët &amp; Chandon Réserve Impériale 750ml (1.1%)</c:v>
                </c:pt>
                <c:pt idx="9">
                  <c:v>Champagne Vranken Demoiselle Rosé Prestige 750ml (2.0%)</c:v>
                </c:pt>
              </c:strCache>
            </c:strRef>
          </c:cat>
          <c:val>
            <c:numRef>
              <c:f>Sheet1!$B$2:$B$11</c:f>
              <c:numCache>
                <c:formatCode>General</c:formatCode>
                <c:ptCount val="10"/>
                <c:pt idx="0">
                  <c:v>0.19106634278936527</c:v>
                </c:pt>
                <c:pt idx="1">
                  <c:v>9.2740729603518188E-2</c:v>
                </c:pt>
                <c:pt idx="2">
                  <c:v>4.4871188390363616E-2</c:v>
                </c:pt>
                <c:pt idx="3">
                  <c:v>4.1164273467691033E-2</c:v>
                </c:pt>
                <c:pt idx="4">
                  <c:v>3.8843870360741412E-2</c:v>
                </c:pt>
                <c:pt idx="5">
                  <c:v>3.7656122711715971E-2</c:v>
                </c:pt>
                <c:pt idx="6">
                  <c:v>3.497249160128324E-2</c:v>
                </c:pt>
                <c:pt idx="7">
                  <c:v>3.3491871451567609E-2</c:v>
                </c:pt>
                <c:pt idx="8">
                  <c:v>3.2131963421354083E-2</c:v>
                </c:pt>
                <c:pt idx="9">
                  <c:v>2.85856147116881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82.43991909334727</c:v>
                </c:pt>
                <c:pt idx="1">
                  <c:v>174.80235868203178</c:v>
                </c:pt>
                <c:pt idx="2">
                  <c:v>167.64566948902393</c:v>
                </c:pt>
                <c:pt idx="3">
                  <c:v>160.93285287626085</c:v>
                </c:pt>
                <c:pt idx="4">
                  <c:v>154.62982735798826</c:v>
                </c:pt>
                <c:pt idx="5">
                  <c:v>148.70530922862045</c:v>
                </c:pt>
                <c:pt idx="6">
                  <c:v>142.85737469921301</c:v>
                </c:pt>
                <c:pt idx="7">
                  <c:v>135.07421906024726</c:v>
                </c:pt>
                <c:pt idx="8">
                  <c:v>127.93143643893343</c:v>
                </c:pt>
                <c:pt idx="9">
                  <c:v>121.3733886105497</c:v>
                </c:pt>
                <c:pt idx="10">
                  <c:v>115.34799351273443</c:v>
                </c:pt>
                <c:pt idx="11">
                  <c:v>109.80680924926831</c:v>
                </c:pt>
                <c:pt idx="12">
                  <c:v>104.70478338677125</c:v>
                </c:pt>
                <c:pt idx="13">
                  <c:v>100</c:v>
                </c:pt>
                <c:pt idx="14">
                  <c:v>95.653569993159749</c:v>
                </c:pt>
                <c:pt idx="15">
                  <c:v>91.62965879912926</c:v>
                </c:pt>
                <c:pt idx="16">
                  <c:v>87.865778861840354</c:v>
                </c:pt>
                <c:pt idx="17">
                  <c:v>84.122287346769312</c:v>
                </c:pt>
                <c:pt idx="18">
                  <c:v>80.665787597768784</c:v>
                </c:pt>
                <c:pt idx="19">
                  <c:v>77.472780416814572</c:v>
                </c:pt>
                <c:pt idx="20">
                  <c:v>74.519981358286387</c:v>
                </c:pt>
                <c:pt idx="21">
                  <c:v>71.785020273551908</c:v>
                </c:pt>
                <c:pt idx="22">
                  <c:v>69.246912542465338</c:v>
                </c:pt>
                <c:pt idx="23">
                  <c:v>66.886314484213884</c:v>
                </c:pt>
                <c:pt idx="24">
                  <c:v>64.685615234701245</c:v>
                </c:pt>
                <c:pt idx="25">
                  <c:v>62.6289243155488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48.30952481222116</c:v>
                </c:pt>
                <c:pt idx="1">
                  <c:v>144.59385400210181</c:v>
                </c:pt>
                <c:pt idx="2">
                  <c:v>141.06867799114841</c:v>
                </c:pt>
                <c:pt idx="3">
                  <c:v>137.72226645922456</c:v>
                </c:pt>
                <c:pt idx="4">
                  <c:v>134.54341573771379</c:v>
                </c:pt>
                <c:pt idx="5">
                  <c:v>131.52153584123209</c:v>
                </c:pt>
                <c:pt idx="6">
                  <c:v>128.40109855499574</c:v>
                </c:pt>
                <c:pt idx="7">
                  <c:v>123.34890244176589</c:v>
                </c:pt>
                <c:pt idx="8">
                  <c:v>118.67014484692278</c:v>
                </c:pt>
                <c:pt idx="9">
                  <c:v>114.33924928106525</c:v>
                </c:pt>
                <c:pt idx="10">
                  <c:v>110.33100417769963</c:v>
                </c:pt>
                <c:pt idx="11">
                  <c:v>106.62086662716676</c:v>
                </c:pt>
                <c:pt idx="12">
                  <c:v>103.18495109355707</c:v>
                </c:pt>
                <c:pt idx="13">
                  <c:v>100</c:v>
                </c:pt>
                <c:pt idx="14">
                  <c:v>97.043481796507507</c:v>
                </c:pt>
                <c:pt idx="15">
                  <c:v>94.293823647102897</c:v>
                </c:pt>
                <c:pt idx="16">
                  <c:v>91.699399953932328</c:v>
                </c:pt>
                <c:pt idx="17">
                  <c:v>89.016407974875733</c:v>
                </c:pt>
                <c:pt idx="18">
                  <c:v>86.533683578989212</c:v>
                </c:pt>
                <c:pt idx="19">
                  <c:v>84.237904926091673</c:v>
                </c:pt>
                <c:pt idx="20">
                  <c:v>82.114677271529004</c:v>
                </c:pt>
                <c:pt idx="21">
                  <c:v>80.149320225354387</c:v>
                </c:pt>
                <c:pt idx="22">
                  <c:v>78.32745844192722</c:v>
                </c:pt>
                <c:pt idx="23">
                  <c:v>76.63540725483189</c:v>
                </c:pt>
                <c:pt idx="24">
                  <c:v>75.060392106638375</c:v>
                </c:pt>
                <c:pt idx="25">
                  <c:v>73.590654649147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0.5994067585259</c:v>
                </c:pt>
                <c:pt idx="1">
                  <c:v>102.41984673567211</c:v>
                </c:pt>
                <c:pt idx="2">
                  <c:v>104.0115350936582</c:v>
                </c:pt>
                <c:pt idx="3">
                  <c:v>105.40002028318102</c:v>
                </c:pt>
                <c:pt idx="4">
                  <c:v>106.60775512856351</c:v>
                </c:pt>
                <c:pt idx="5">
                  <c:v>107.6545137173043</c:v>
                </c:pt>
                <c:pt idx="6">
                  <c:v>108.35048457423247</c:v>
                </c:pt>
                <c:pt idx="7">
                  <c:v>107.10831703097861</c:v>
                </c:pt>
                <c:pt idx="8">
                  <c:v>105.85889215669792</c:v>
                </c:pt>
                <c:pt idx="9">
                  <c:v>104.6205430591272</c:v>
                </c:pt>
                <c:pt idx="10">
                  <c:v>103.40711127668378</c:v>
                </c:pt>
                <c:pt idx="11">
                  <c:v>102.22863854436139</c:v>
                </c:pt>
                <c:pt idx="12">
                  <c:v>101.09175279445151</c:v>
                </c:pt>
                <c:pt idx="13">
                  <c:v>100</c:v>
                </c:pt>
                <c:pt idx="14">
                  <c:v>98.954271866284998</c:v>
                </c:pt>
                <c:pt idx="15">
                  <c:v>97.953357673175205</c:v>
                </c:pt>
                <c:pt idx="16">
                  <c:v>96.961688430932824</c:v>
                </c:pt>
                <c:pt idx="17">
                  <c:v>95.733462609205006</c:v>
                </c:pt>
                <c:pt idx="18">
                  <c:v>94.583392358370787</c:v>
                </c:pt>
                <c:pt idx="19">
                  <c:v>93.512822714636883</c:v>
                </c:pt>
                <c:pt idx="20">
                  <c:v>92.520121807879477</c:v>
                </c:pt>
                <c:pt idx="21">
                  <c:v>91.601610570908335</c:v>
                </c:pt>
                <c:pt idx="22">
                  <c:v>90.752338064801535</c:v>
                </c:pt>
                <c:pt idx="23">
                  <c:v>89.966664074958288</c:v>
                </c:pt>
                <c:pt idx="24">
                  <c:v>89.238668980962203</c:v>
                </c:pt>
                <c:pt idx="25">
                  <c:v>88.5624351482253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29592160423001407</c:v>
                </c:pt>
                <c:pt idx="1">
                  <c:v>0.30872302960765025</c:v>
                </c:pt>
                <c:pt idx="2">
                  <c:v>0.32106726122179929</c:v>
                </c:pt>
                <c:pt idx="3">
                  <c:v>0.33297836190211844</c:v>
                </c:pt>
                <c:pt idx="4">
                  <c:v>0.34447873497277165</c:v>
                </c:pt>
                <c:pt idx="5">
                  <c:v>0.35558926488848747</c:v>
                </c:pt>
                <c:pt idx="6">
                  <c:v>0.36632944380701266</c:v>
                </c:pt>
                <c:pt idx="7">
                  <c:v>0.37671748571181574</c:v>
                </c:pt>
                <c:pt idx="8">
                  <c:v>0.38677042949065737</c:v>
                </c:pt>
                <c:pt idx="9">
                  <c:v>0.3965042321971548</c:v>
                </c:pt>
                <c:pt idx="10">
                  <c:v>0.4059338535690743</c:v>
                </c:pt>
                <c:pt idx="11">
                  <c:v>0.4150733327449348</c:v>
                </c:pt>
                <c:pt idx="12">
                  <c:v>0.42393585800637501</c:v>
                </c:pt>
                <c:pt idx="13">
                  <c:v>0.43253383027493669</c:v>
                </c:pt>
                <c:pt idx="14">
                  <c:v>0.4408789210061877</c:v>
                </c:pt>
                <c:pt idx="15">
                  <c:v>0.44898212504957619</c:v>
                </c:pt>
                <c:pt idx="16">
                  <c:v>0.45685380897743932</c:v>
                </c:pt>
                <c:pt idx="17">
                  <c:v>0.46450375532986993</c:v>
                </c:pt>
                <c:pt idx="18">
                  <c:v>0.47194120317251048</c:v>
                </c:pt>
                <c:pt idx="19">
                  <c:v>0.47917488532083241</c:v>
                </c:pt>
                <c:pt idx="20">
                  <c:v>0.48621306254622643</c:v>
                </c:pt>
                <c:pt idx="21">
                  <c:v>0.49306355504561011</c:v>
                </c:pt>
                <c:pt idx="22">
                  <c:v>0.49973377142658892</c:v>
                </c:pt>
                <c:pt idx="23">
                  <c:v>0.50623073543403585</c:v>
                </c:pt>
                <c:pt idx="24">
                  <c:v>0.51256111062077914</c:v>
                </c:pt>
                <c:pt idx="25">
                  <c:v>0.518731223144566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2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Prosecco Carlo V Cuvée Del Imperator 750ml (5.4%)</c:v>
                </c:pt>
                <c:pt idx="5">
                  <c:v>Champagne Louis Martin Brut 1er Cru 750ml (0.5%)</c:v>
                </c:pt>
                <c:pt idx="6">
                  <c:v>Champagne E.Nicolas Rosé 750ml (0.9%)</c:v>
                </c:pt>
                <c:pt idx="7">
                  <c:v>Champagne Vranken Demoiselle Rosé Prestige 750ml (2.0%)</c:v>
                </c:pt>
                <c:pt idx="8">
                  <c:v>Champagne Nicolas Feuillatte Réserve Exclusive Rosé 750ml (0.7%)</c:v>
                </c:pt>
                <c:pt idx="9">
                  <c:v>Champagne Vranken Demoiselle Tête de Cuvée 750ml (1.4%)</c:v>
                </c:pt>
              </c:strCache>
            </c:strRef>
          </c:cat>
          <c:val>
            <c:numRef>
              <c:f>Sheet1!$B$2:$B$11</c:f>
              <c:numCache>
                <c:formatCode>General</c:formatCode>
                <c:ptCount val="10"/>
                <c:pt idx="0">
                  <c:v>0.23317263736792068</c:v>
                </c:pt>
                <c:pt idx="1">
                  <c:v>0.13844114827869619</c:v>
                </c:pt>
                <c:pt idx="2">
                  <c:v>6.6011653009691806E-2</c:v>
                </c:pt>
                <c:pt idx="3">
                  <c:v>4.0155715888341499E-2</c:v>
                </c:pt>
                <c:pt idx="4">
                  <c:v>2.9579032405348538E-2</c:v>
                </c:pt>
                <c:pt idx="5">
                  <c:v>2.563461098311557E-2</c:v>
                </c:pt>
                <c:pt idx="6">
                  <c:v>2.1459835943880168E-2</c:v>
                </c:pt>
                <c:pt idx="7">
                  <c:v>2.1386911240079853E-2</c:v>
                </c:pt>
                <c:pt idx="8">
                  <c:v>2.113363307350721E-2</c:v>
                </c:pt>
                <c:pt idx="9">
                  <c:v>2.08524274277753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Nicolas Feuillatte Réserve Exclusive Rosé 750ml (0.7%)</c:v>
                </c:pt>
                <c:pt idx="5">
                  <c:v>Champagne Vranken Demoiselle Tête de Cuvée 750ml (1.4%)</c:v>
                </c:pt>
                <c:pt idx="6">
                  <c:v>Champagne Laurent-Perrier Blanc La Cuvée 750ml (2.7%)</c:v>
                </c:pt>
                <c:pt idx="7">
                  <c:v>Champagne Vranken Demoiselle Rosé Prestige 750ml (2.0%)</c:v>
                </c:pt>
                <c:pt idx="8">
                  <c:v>Champagne Ruinart Brut 750ml (7.3%)</c:v>
                </c:pt>
                <c:pt idx="9">
                  <c:v>Champagne Château de Bligny 750ml (1.3%)</c:v>
                </c:pt>
              </c:strCache>
            </c:strRef>
          </c:cat>
          <c:val>
            <c:numRef>
              <c:f>Sheet1!$B$2:$B$11</c:f>
              <c:numCache>
                <c:formatCode>General</c:formatCode>
                <c:ptCount val="10"/>
                <c:pt idx="0">
                  <c:v>0.14773296910882019</c:v>
                </c:pt>
                <c:pt idx="1">
                  <c:v>0.12175753082344601</c:v>
                </c:pt>
                <c:pt idx="2">
                  <c:v>0.11126323809914546</c:v>
                </c:pt>
                <c:pt idx="3">
                  <c:v>7.5624079031042957E-2</c:v>
                </c:pt>
                <c:pt idx="4">
                  <c:v>3.3305329670355314E-2</c:v>
                </c:pt>
                <c:pt idx="5">
                  <c:v>3.0761144093114302E-2</c:v>
                </c:pt>
                <c:pt idx="6">
                  <c:v>2.3822429831319516E-2</c:v>
                </c:pt>
                <c:pt idx="7">
                  <c:v>2.1407984966756614E-2</c:v>
                </c:pt>
                <c:pt idx="8">
                  <c:v>2.0973103659666516E-2</c:v>
                </c:pt>
                <c:pt idx="9">
                  <c:v>2.051853652081864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B$2:$B$61</c:f>
              <c:numCache>
                <c:formatCode>General</c:formatCode>
                <c:ptCount val="60"/>
                <c:pt idx="0">
                  <c:v>175.79703694670869</c:v>
                </c:pt>
                <c:pt idx="1">
                  <c:v>172.94102659923198</c:v>
                </c:pt>
                <c:pt idx="2">
                  <c:v>170.16312986192096</c:v>
                </c:pt>
                <c:pt idx="3">
                  <c:v>167.4600074042188</c:v>
                </c:pt>
                <c:pt idx="4">
                  <c:v>164.82852966646337</c:v>
                </c:pt>
                <c:pt idx="5">
                  <c:v>162.2657596967951</c:v>
                </c:pt>
                <c:pt idx="6">
                  <c:v>159.76893758589631</c:v>
                </c:pt>
                <c:pt idx="7">
                  <c:v>157.33546635634343</c:v>
                </c:pt>
                <c:pt idx="8">
                  <c:v>153.94605771692366</c:v>
                </c:pt>
                <c:pt idx="9">
                  <c:v>150.43107488749393</c:v>
                </c:pt>
                <c:pt idx="10">
                  <c:v>147.04615630762464</c:v>
                </c:pt>
                <c:pt idx="11">
                  <c:v>143.78503143823627</c:v>
                </c:pt>
                <c:pt idx="12">
                  <c:v>140.64179887687229</c:v>
                </c:pt>
                <c:pt idx="13">
                  <c:v>137.61090109414377</c:v>
                </c:pt>
                <c:pt idx="14">
                  <c:v>134.68710105833631</c:v>
                </c:pt>
                <c:pt idx="15">
                  <c:v>131.86546060711004</c:v>
                </c:pt>
                <c:pt idx="16">
                  <c:v>129.14132043362244</c:v>
                </c:pt>
                <c:pt idx="17">
                  <c:v>126.51028156301003</c:v>
                </c:pt>
                <c:pt idx="18">
                  <c:v>123.96818820377922</c:v>
                </c:pt>
                <c:pt idx="19">
                  <c:v>121.51111186698544</c:v>
                </c:pt>
                <c:pt idx="20">
                  <c:v>119.13533665409422</c:v>
                </c:pt>
                <c:pt idx="21">
                  <c:v>116.83734562197152</c:v>
                </c:pt>
                <c:pt idx="22">
                  <c:v>114.6138081405651</c:v>
                </c:pt>
                <c:pt idx="23">
                  <c:v>112.46156816546589</c:v>
                </c:pt>
                <c:pt idx="24">
                  <c:v>110.37763335371193</c:v>
                </c:pt>
                <c:pt idx="25">
                  <c:v>108.35916495691067</c:v>
                </c:pt>
                <c:pt idx="26">
                  <c:v>106.40346843104946</c:v>
                </c:pt>
                <c:pt idx="27">
                  <c:v>104.50798470724992</c:v>
                </c:pt>
                <c:pt idx="28">
                  <c:v>102.25535462540245</c:v>
                </c:pt>
                <c:pt idx="29">
                  <c:v>100</c:v>
                </c:pt>
                <c:pt idx="30">
                  <c:v>97.844809001362179</c:v>
                </c:pt>
                <c:pt idx="31">
                  <c:v>95.784024018521023</c:v>
                </c:pt>
                <c:pt idx="32">
                  <c:v>93.812279859309939</c:v>
                </c:pt>
                <c:pt idx="33">
                  <c:v>91.924571925399519</c:v>
                </c:pt>
                <c:pt idx="34">
                  <c:v>90.116227493247976</c:v>
                </c:pt>
                <c:pt idx="35">
                  <c:v>88.382879742144311</c:v>
                </c:pt>
                <c:pt idx="36">
                  <c:v>86.720444217657402</c:v>
                </c:pt>
                <c:pt idx="37">
                  <c:v>85.125097459172977</c:v>
                </c:pt>
                <c:pt idx="38">
                  <c:v>83.593257554866724</c:v>
                </c:pt>
                <c:pt idx="39">
                  <c:v>82.1215664172381</c:v>
                </c:pt>
                <c:pt idx="40">
                  <c:v>80.991305530490848</c:v>
                </c:pt>
                <c:pt idx="41">
                  <c:v>79.955781819439238</c:v>
                </c:pt>
                <c:pt idx="42">
                  <c:v>78.939859898060604</c:v>
                </c:pt>
                <c:pt idx="43">
                  <c:v>77.943065708228858</c:v>
                </c:pt>
                <c:pt idx="44">
                  <c:v>76.964938778670728</c:v>
                </c:pt>
                <c:pt idx="45">
                  <c:v>76.005031769684265</c:v>
                </c:pt>
                <c:pt idx="46">
                  <c:v>75.062910035751514</c:v>
                </c:pt>
                <c:pt idx="47">
                  <c:v>74.138151205219188</c:v>
                </c:pt>
                <c:pt idx="48">
                  <c:v>73.42137693754745</c:v>
                </c:pt>
                <c:pt idx="49">
                  <c:v>72.76396322224447</c:v>
                </c:pt>
                <c:pt idx="50">
                  <c:v>72.117337831348621</c:v>
                </c:pt>
                <c:pt idx="51">
                  <c:v>71.481252999237995</c:v>
                </c:pt>
                <c:pt idx="52">
                  <c:v>70.855468017126171</c:v>
                </c:pt>
                <c:pt idx="53">
                  <c:v>70.239748994366352</c:v>
                </c:pt>
                <c:pt idx="54">
                  <c:v>69.633868628908118</c:v>
                </c:pt>
                <c:pt idx="55">
                  <c:v>69.037605986537002</c:v>
                </c:pt>
                <c:pt idx="56">
                  <c:v>68.450746288529302</c:v>
                </c:pt>
                <c:pt idx="57">
                  <c:v>67.873080707384574</c:v>
                </c:pt>
                <c:pt idx="58">
                  <c:v>67.304406170298464</c:v>
                </c:pt>
                <c:pt idx="59">
                  <c:v>66.744525170064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C$2:$C$61</c:f>
              <c:numCache>
                <c:formatCode>General</c:formatCode>
                <c:ptCount val="60"/>
                <c:pt idx="0">
                  <c:v>139.57412256050588</c:v>
                </c:pt>
                <c:pt idx="1">
                  <c:v>138.53485993373405</c:v>
                </c:pt>
                <c:pt idx="2">
                  <c:v>137.51828543950907</c:v>
                </c:pt>
                <c:pt idx="3">
                  <c:v>136.52332946827758</c:v>
                </c:pt>
                <c:pt idx="4">
                  <c:v>135.54900111901742</c:v>
                </c:pt>
                <c:pt idx="5">
                  <c:v>134.59438129861857</c:v>
                </c:pt>
                <c:pt idx="6">
                  <c:v>133.65861644003874</c:v>
                </c:pt>
                <c:pt idx="7">
                  <c:v>132.7409127961742</c:v>
                </c:pt>
                <c:pt idx="8">
                  <c:v>130.97347187488694</c:v>
                </c:pt>
                <c:pt idx="9">
                  <c:v>129.04998543416468</c:v>
                </c:pt>
                <c:pt idx="10">
                  <c:v>127.18938369327546</c:v>
                </c:pt>
                <c:pt idx="11">
                  <c:v>125.38893787339778</c:v>
                </c:pt>
                <c:pt idx="12">
                  <c:v>123.64606868150778</c:v>
                </c:pt>
                <c:pt idx="13">
                  <c:v>121.95833671553783</c:v>
                </c:pt>
                <c:pt idx="14">
                  <c:v>120.3234335132035</c:v>
                </c:pt>
                <c:pt idx="15">
                  <c:v>118.73917320759084</c:v>
                </c:pt>
                <c:pt idx="16">
                  <c:v>117.2034847526412</c:v>
                </c:pt>
                <c:pt idx="17">
                  <c:v>115.71440468238983</c:v>
                </c:pt>
                <c:pt idx="18">
                  <c:v>114.27007036904482</c:v>
                </c:pt>
                <c:pt idx="19">
                  <c:v>112.86871374647041</c:v>
                </c:pt>
                <c:pt idx="20">
                  <c:v>111.50865546731848</c:v>
                </c:pt>
                <c:pt idx="21">
                  <c:v>110.18829946377353</c:v>
                </c:pt>
                <c:pt idx="22">
                  <c:v>108.90612788364295</c:v>
                </c:pt>
                <c:pt idx="23">
                  <c:v>107.66069637524858</c:v>
                </c:pt>
                <c:pt idx="24">
                  <c:v>106.4506296962704</c:v>
                </c:pt>
                <c:pt idx="25">
                  <c:v>105.27461762330752</c:v>
                </c:pt>
                <c:pt idx="26">
                  <c:v>104.13141114048901</c:v>
                </c:pt>
                <c:pt idx="27">
                  <c:v>103.01981888693656</c:v>
                </c:pt>
                <c:pt idx="28">
                  <c:v>101.52721363035822</c:v>
                </c:pt>
                <c:pt idx="29">
                  <c:v>100</c:v>
                </c:pt>
                <c:pt idx="30">
                  <c:v>98.541609283078429</c:v>
                </c:pt>
                <c:pt idx="31">
                  <c:v>97.148333751037214</c:v>
                </c:pt>
                <c:pt idx="32">
                  <c:v>95.816703347639375</c:v>
                </c:pt>
                <c:pt idx="33">
                  <c:v>94.543466832345985</c:v>
                </c:pt>
                <c:pt idx="34">
                  <c:v>93.325574791735775</c:v>
                </c:pt>
                <c:pt idx="35">
                  <c:v>92.160164298245419</c:v>
                </c:pt>
                <c:pt idx="36">
                  <c:v>91.044545024739605</c:v>
                </c:pt>
                <c:pt idx="37">
                  <c:v>89.976186648486674</c:v>
                </c:pt>
                <c:pt idx="38">
                  <c:v>88.952707399683206</c:v>
                </c:pt>
                <c:pt idx="39">
                  <c:v>87.971863628200921</c:v>
                </c:pt>
                <c:pt idx="40">
                  <c:v>87.337973355864747</c:v>
                </c:pt>
                <c:pt idx="41">
                  <c:v>86.790770711911776</c:v>
                </c:pt>
                <c:pt idx="42">
                  <c:v>86.250257751709739</c:v>
                </c:pt>
                <c:pt idx="43">
                  <c:v>85.716330659504621</c:v>
                </c:pt>
                <c:pt idx="44">
                  <c:v>85.188887216530716</c:v>
                </c:pt>
                <c:pt idx="45">
                  <c:v>84.667826774572291</c:v>
                </c:pt>
                <c:pt idx="46">
                  <c:v>84.153050230288102</c:v>
                </c:pt>
                <c:pt idx="47">
                  <c:v>83.644460000250248</c:v>
                </c:pt>
                <c:pt idx="48">
                  <c:v>83.358938998958692</c:v>
                </c:pt>
                <c:pt idx="49">
                  <c:v>83.131053355474023</c:v>
                </c:pt>
                <c:pt idx="50">
                  <c:v>82.906208926493179</c:v>
                </c:pt>
                <c:pt idx="51">
                  <c:v>82.684349346459882</c:v>
                </c:pt>
                <c:pt idx="52">
                  <c:v>82.465419418746862</c:v>
                </c:pt>
                <c:pt idx="53">
                  <c:v>82.249365086734656</c:v>
                </c:pt>
                <c:pt idx="54">
                  <c:v>82.036133405509261</c:v>
                </c:pt>
                <c:pt idx="55">
                  <c:v>81.825672514194025</c:v>
                </c:pt>
                <c:pt idx="56">
                  <c:v>81.61793160891618</c:v>
                </c:pt>
                <c:pt idx="57">
                  <c:v>81.412860916417642</c:v>
                </c:pt>
                <c:pt idx="58">
                  <c:v>81.210411668307117</c:v>
                </c:pt>
                <c:pt idx="59">
                  <c:v>81.0105360759567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D$2:$D$61</c:f>
              <c:numCache>
                <c:formatCode>General</c:formatCode>
                <c:ptCount val="60"/>
                <c:pt idx="0">
                  <c:v>88.115283187461046</c:v>
                </c:pt>
                <c:pt idx="1">
                  <c:v>89.658145065957356</c:v>
                </c:pt>
                <c:pt idx="2">
                  <c:v>91.14460674865316</c:v>
                </c:pt>
                <c:pt idx="3">
                  <c:v>92.576852550000453</c:v>
                </c:pt>
                <c:pt idx="4">
                  <c:v>93.956956629111644</c:v>
                </c:pt>
                <c:pt idx="5">
                  <c:v>95.286890950224475</c:v>
                </c:pt>
                <c:pt idx="6">
                  <c:v>96.568532437824672</c:v>
                </c:pt>
                <c:pt idx="7">
                  <c:v>97.803669429763502</c:v>
                </c:pt>
                <c:pt idx="8">
                  <c:v>98.3444248678354</c:v>
                </c:pt>
                <c:pt idx="9">
                  <c:v>98.686212841828009</c:v>
                </c:pt>
                <c:pt idx="10">
                  <c:v>98.994655483972522</c:v>
                </c:pt>
                <c:pt idx="11">
                  <c:v>99.272134356227824</c:v>
                </c:pt>
                <c:pt idx="12">
                  <c:v>99.52086084426368</c:v>
                </c:pt>
                <c:pt idx="13">
                  <c:v>99.742889589623388</c:v>
                </c:pt>
                <c:pt idx="14">
                  <c:v>99.940130715905795</c:v>
                </c:pt>
                <c:pt idx="15">
                  <c:v>100.11436096919044</c:v>
                </c:pt>
                <c:pt idx="16">
                  <c:v>100.26723388003028</c:v>
                </c:pt>
                <c:pt idx="17">
                  <c:v>100.40028904291853</c:v>
                </c:pt>
                <c:pt idx="18">
                  <c:v>100.51496059904888</c:v>
                </c:pt>
                <c:pt idx="19">
                  <c:v>100.6125849991988</c:v>
                </c:pt>
                <c:pt idx="20">
                  <c:v>100.69440811560403</c:v>
                </c:pt>
                <c:pt idx="21">
                  <c:v>100.76159176456602</c:v>
                </c:pt>
                <c:pt idx="22">
                  <c:v>100.81521969519831</c:v>
                </c:pt>
                <c:pt idx="23">
                  <c:v>100.85630309404326</c:v>
                </c:pt>
                <c:pt idx="24">
                  <c:v>100.8857856502264</c:v>
                </c:pt>
                <c:pt idx="25">
                  <c:v>100.90454822127619</c:v>
                </c:pt>
                <c:pt idx="26">
                  <c:v>100.91341313569625</c:v>
                </c:pt>
                <c:pt idx="27">
                  <c:v>100.91314816473923</c:v>
                </c:pt>
                <c:pt idx="28">
                  <c:v>100.49667902513846</c:v>
                </c:pt>
                <c:pt idx="29">
                  <c:v>100</c:v>
                </c:pt>
                <c:pt idx="30">
                  <c:v>99.527628241817126</c:v>
                </c:pt>
                <c:pt idx="31">
                  <c:v>99.078776191716514</c:v>
                </c:pt>
                <c:pt idx="32">
                  <c:v>98.652672859698825</c:v>
                </c:pt>
                <c:pt idx="33">
                  <c:v>98.248563556043734</c:v>
                </c:pt>
                <c:pt idx="34">
                  <c:v>97.865709711601767</c:v>
                </c:pt>
                <c:pt idx="35">
                  <c:v>97.503388765049905</c:v>
                </c:pt>
                <c:pt idx="36">
                  <c:v>97.160894098628816</c:v>
                </c:pt>
                <c:pt idx="37">
                  <c:v>96.837535006915175</c:v>
                </c:pt>
                <c:pt idx="38">
                  <c:v>96.532636685885592</c:v>
                </c:pt>
                <c:pt idx="39">
                  <c:v>96.245540231863984</c:v>
                </c:pt>
                <c:pt idx="40">
                  <c:v>96.313845531546917</c:v>
                </c:pt>
                <c:pt idx="41">
                  <c:v>96.457562065686133</c:v>
                </c:pt>
                <c:pt idx="42">
                  <c:v>96.589643403229104</c:v>
                </c:pt>
                <c:pt idx="43">
                  <c:v>96.710512725764559</c:v>
                </c:pt>
                <c:pt idx="44">
                  <c:v>96.820577693871272</c:v>
                </c:pt>
                <c:pt idx="45">
                  <c:v>96.920231034943001</c:v>
                </c:pt>
                <c:pt idx="46">
                  <c:v>97.009851107158568</c:v>
                </c:pt>
                <c:pt idx="47">
                  <c:v>97.089802440667057</c:v>
                </c:pt>
                <c:pt idx="48">
                  <c:v>97.413893593389389</c:v>
                </c:pt>
                <c:pt idx="49">
                  <c:v>97.7931085743393</c:v>
                </c:pt>
                <c:pt idx="50">
                  <c:v>98.164394830532046</c:v>
                </c:pt>
                <c:pt idx="51">
                  <c:v>98.52796748871107</c:v>
                </c:pt>
                <c:pt idx="52">
                  <c:v>98.884034478808076</c:v>
                </c:pt>
                <c:pt idx="53">
                  <c:v>99.232796803568675</c:v>
                </c:pt>
                <c:pt idx="54">
                  <c:v>99.574448796633263</c:v>
                </c:pt>
                <c:pt idx="55">
                  <c:v>99.909178369640287</c:v>
                </c:pt>
                <c:pt idx="56">
                  <c:v>100.23716724887244</c:v>
                </c:pt>
                <c:pt idx="57">
                  <c:v>100.55859120195794</c:v>
                </c:pt>
                <c:pt idx="58">
                  <c:v>100.87362025509235</c:v>
                </c:pt>
                <c:pt idx="59">
                  <c:v>101.182418901244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E$2:$E$61</c:f>
              <c:numCache>
                <c:formatCode>General</c:formatCode>
                <c:ptCount val="60"/>
                <c:pt idx="0">
                  <c:v>0.26302695125708592</c:v>
                </c:pt>
                <c:pt idx="1">
                  <c:v>0.26961883899181677</c:v>
                </c:pt>
                <c:pt idx="2">
                  <c:v>0.27609384928444264</c:v>
                </c:pt>
                <c:pt idx="3">
                  <c:v>0.28245506326261105</c:v>
                </c:pt>
                <c:pt idx="4">
                  <c:v>0.28870545469760556</c:v>
                </c:pt>
                <c:pt idx="5">
                  <c:v>0.2948478946397679</c:v>
                </c:pt>
                <c:pt idx="6">
                  <c:v>0.30088515581579728</c:v>
                </c:pt>
                <c:pt idx="7">
                  <c:v>0.30681991680208104</c:v>
                </c:pt>
                <c:pt idx="8">
                  <c:v>0.31265476598724851</c:v>
                </c:pt>
                <c:pt idx="9">
                  <c:v>0.31839220533626983</c:v>
                </c:pt>
                <c:pt idx="10">
                  <c:v>0.32403465396759218</c:v>
                </c:pt>
                <c:pt idx="11">
                  <c:v>0.32958445155406518</c:v>
                </c:pt>
                <c:pt idx="12">
                  <c:v>0.33504386155769633</c:v>
                </c:pt>
                <c:pt idx="13">
                  <c:v>0.34041507430763429</c:v>
                </c:pt>
                <c:pt idx="14">
                  <c:v>0.34570020993016931</c:v>
                </c:pt>
                <c:pt idx="15">
                  <c:v>0.35090132113899142</c:v>
                </c:pt>
                <c:pt idx="16">
                  <c:v>0.35602039589341572</c:v>
                </c:pt>
                <c:pt idx="17">
                  <c:v>0.36105935993180838</c:v>
                </c:pt>
                <c:pt idx="18">
                  <c:v>0.36602007918699631</c:v>
                </c:pt>
                <c:pt idx="19">
                  <c:v>0.37090436209002414</c:v>
                </c:pt>
                <c:pt idx="20">
                  <c:v>0.37571396176823496</c:v>
                </c:pt>
                <c:pt idx="21">
                  <c:v>0.3804505781432862</c:v>
                </c:pt>
                <c:pt idx="22">
                  <c:v>0.38511585993437597</c:v>
                </c:pt>
                <c:pt idx="23">
                  <c:v>0.38971140657163755</c:v>
                </c:pt>
                <c:pt idx="24">
                  <c:v>0.39423877002437041</c:v>
                </c:pt>
                <c:pt idx="25">
                  <c:v>0.39869945654849132</c:v>
                </c:pt>
                <c:pt idx="26">
                  <c:v>0.40309492835734739</c:v>
                </c:pt>
                <c:pt idx="27">
                  <c:v>0.40742660521977597</c:v>
                </c:pt>
                <c:pt idx="28">
                  <c:v>0.41169586598908586</c:v>
                </c:pt>
                <c:pt idx="29">
                  <c:v>0.41590405006641729</c:v>
                </c:pt>
                <c:pt idx="30">
                  <c:v>0.42005245880174097</c:v>
                </c:pt>
                <c:pt idx="31">
                  <c:v>0.42414235683557916</c:v>
                </c:pt>
                <c:pt idx="32">
                  <c:v>0.42817497338434957</c:v>
                </c:pt>
                <c:pt idx="33">
                  <c:v>0.43215150347208009</c:v>
                </c:pt>
                <c:pt idx="34">
                  <c:v>0.43607310911108521</c:v>
                </c:pt>
                <c:pt idx="35">
                  <c:v>0.43994092043405442</c:v>
                </c:pt>
                <c:pt idx="36">
                  <c:v>0.44375603677987152</c:v>
                </c:pt>
                <c:pt idx="37">
                  <c:v>0.4475195277353527</c:v>
                </c:pt>
                <c:pt idx="38">
                  <c:v>0.45123243413498065</c:v>
                </c:pt>
                <c:pt idx="39">
                  <c:v>0.45489576902059509</c:v>
                </c:pt>
                <c:pt idx="40">
                  <c:v>0.45851051856289887</c:v>
                </c:pt>
                <c:pt idx="41">
                  <c:v>0.46207764294654224</c:v>
                </c:pt>
                <c:pt idx="42">
                  <c:v>0.46559807722045238</c:v>
                </c:pt>
                <c:pt idx="43">
                  <c:v>0.46907273211498784</c:v>
                </c:pt>
                <c:pt idx="44">
                  <c:v>0.47250249482742335</c:v>
                </c:pt>
                <c:pt idx="45">
                  <c:v>0.47588822977718298</c:v>
                </c:pt>
                <c:pt idx="46">
                  <c:v>0.47923077933217545</c:v>
                </c:pt>
                <c:pt idx="47">
                  <c:v>0.48253096450751026</c:v>
                </c:pt>
                <c:pt idx="48">
                  <c:v>0.48578958563781555</c:v>
                </c:pt>
                <c:pt idx="49">
                  <c:v>0.48900742302431249</c:v>
                </c:pt>
                <c:pt idx="50">
                  <c:v>0.49218523755774329</c:v>
                </c:pt>
                <c:pt idx="51">
                  <c:v>0.49532377131820216</c:v>
                </c:pt>
                <c:pt idx="52">
                  <c:v>0.49842374815285706</c:v>
                </c:pt>
                <c:pt idx="53">
                  <c:v>0.5014858742325099</c:v>
                </c:pt>
                <c:pt idx="54">
                  <c:v>0.50451083858789525</c:v>
                </c:pt>
                <c:pt idx="55">
                  <c:v>0.50749931362656886</c:v>
                </c:pt>
                <c:pt idx="56">
                  <c:v>0.5104519556312056</c:v>
                </c:pt>
                <c:pt idx="57">
                  <c:v>0.51336940524007824</c:v>
                </c:pt>
                <c:pt idx="58">
                  <c:v>0.51625228791045685</c:v>
                </c:pt>
                <c:pt idx="59">
                  <c:v>0.519101214365636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Nicolas Feuillatte Réserve Exclusive Brut 750ml (3.0%)</c:v>
                </c:pt>
                <c:pt idx="3">
                  <c:v>Champagne Laurent-Perrier Blanc La Cuvée 750ml (2.7%)</c:v>
                </c:pt>
                <c:pt idx="4">
                  <c:v>Champagne Vranken Demoiselle Rosé Prestige 750ml (2.0%)</c:v>
                </c:pt>
                <c:pt idx="5">
                  <c:v>Champagne Deutz Brut Classique 750ml (3.4%)</c:v>
                </c:pt>
                <c:pt idx="6">
                  <c:v>Champagne Malard Brut 1er Cru 750ml (4.1%)</c:v>
                </c:pt>
                <c:pt idx="7">
                  <c:v>Champagne Heidsieck Monopole Silver Top 750ml (4.2%)</c:v>
                </c:pt>
                <c:pt idx="8">
                  <c:v>Champagne Canard-Duchêne Blanc Cuvée Léonie Brut 750ml (2.6%)</c:v>
                </c:pt>
                <c:pt idx="9">
                  <c:v>Champagne Veuve Clicquot Réserve Cuvée 750ml (1.7%)</c:v>
                </c:pt>
              </c:strCache>
            </c:strRef>
          </c:cat>
          <c:val>
            <c:numRef>
              <c:f>Sheet1!$B$2:$B$11</c:f>
              <c:numCache>
                <c:formatCode>General</c:formatCode>
                <c:ptCount val="10"/>
                <c:pt idx="0">
                  <c:v>7.8405067963357777E-2</c:v>
                </c:pt>
                <c:pt idx="1">
                  <c:v>7.3083512830438915E-2</c:v>
                </c:pt>
                <c:pt idx="2">
                  <c:v>5.7248967467551329E-2</c:v>
                </c:pt>
                <c:pt idx="3">
                  <c:v>4.0092025007222573E-2</c:v>
                </c:pt>
                <c:pt idx="4">
                  <c:v>3.8585383243054737E-2</c:v>
                </c:pt>
                <c:pt idx="5">
                  <c:v>3.5241960671857898E-2</c:v>
                </c:pt>
                <c:pt idx="6">
                  <c:v>3.0837561801137416E-2</c:v>
                </c:pt>
                <c:pt idx="7">
                  <c:v>2.9955091559488951E-2</c:v>
                </c:pt>
                <c:pt idx="8">
                  <c:v>2.7395147944926944E-2</c:v>
                </c:pt>
                <c:pt idx="9">
                  <c:v>2.54487564854450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Nicolas Feuillatte Réserve Exclusive Brut 750ml (3.0%)</c:v>
                </c:pt>
                <c:pt idx="3">
                  <c:v>Champagne Laurent-Perrier Blanc La Cuvée 750ml (2.7%)</c:v>
                </c:pt>
                <c:pt idx="4">
                  <c:v>Champagne Vranken Demoiselle Rosé Prestige 750ml (2.0%)</c:v>
                </c:pt>
                <c:pt idx="5">
                  <c:v>Champagne Malard Brut 1er Cru 750ml (4.1%)</c:v>
                </c:pt>
                <c:pt idx="6">
                  <c:v>Champagne Canard-Duchêne Blanc Cuvée Léonie Brut 750ml (2.6%)</c:v>
                </c:pt>
                <c:pt idx="7">
                  <c:v>Champagne Deutz Brut Classique 750ml (3.4%)</c:v>
                </c:pt>
                <c:pt idx="8">
                  <c:v>Champagne Heidsieck Monopole Silver Top 750ml (4.2%)</c:v>
                </c:pt>
                <c:pt idx="9">
                  <c:v>Champagne Veuve Clicquot Réserve Cuvée 750ml (1.7%)</c:v>
                </c:pt>
              </c:strCache>
            </c:strRef>
          </c:cat>
          <c:val>
            <c:numRef>
              <c:f>Sheet1!$B$2:$B$11</c:f>
              <c:numCache>
                <c:formatCode>General</c:formatCode>
                <c:ptCount val="10"/>
                <c:pt idx="0">
                  <c:v>9.8062061042165555E-2</c:v>
                </c:pt>
                <c:pt idx="1">
                  <c:v>7.2764631920800987E-2</c:v>
                </c:pt>
                <c:pt idx="2">
                  <c:v>5.1021266079649491E-2</c:v>
                </c:pt>
                <c:pt idx="3">
                  <c:v>3.7578702200503543E-2</c:v>
                </c:pt>
                <c:pt idx="4">
                  <c:v>3.2527499306074452E-2</c:v>
                </c:pt>
                <c:pt idx="5">
                  <c:v>3.0785849146419051E-2</c:v>
                </c:pt>
                <c:pt idx="6">
                  <c:v>3.0504884250764558E-2</c:v>
                </c:pt>
                <c:pt idx="7">
                  <c:v>2.7591885318113241E-2</c:v>
                </c:pt>
                <c:pt idx="8">
                  <c:v>2.6123185117189276E-2</c:v>
                </c:pt>
                <c:pt idx="9">
                  <c:v>2.27765095197090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B$2:$B$31</c:f>
              <c:numCache>
                <c:formatCode>General</c:formatCode>
                <c:ptCount val="30"/>
                <c:pt idx="0">
                  <c:v>193.53072906729031</c:v>
                </c:pt>
                <c:pt idx="1">
                  <c:v>183.29616618277012</c:v>
                </c:pt>
                <c:pt idx="2">
                  <c:v>173.92388197029527</c:v>
                </c:pt>
                <c:pt idx="3">
                  <c:v>165.32723527948571</c:v>
                </c:pt>
                <c:pt idx="4">
                  <c:v>157.42539054636575</c:v>
                </c:pt>
                <c:pt idx="5">
                  <c:v>150.14426232242354</c:v>
                </c:pt>
                <c:pt idx="6">
                  <c:v>143.41708784747456</c:v>
                </c:pt>
                <c:pt idx="7">
                  <c:v>137.18457408509593</c:v>
                </c:pt>
                <c:pt idx="8">
                  <c:v>131.39467239238354</c:v>
                </c:pt>
                <c:pt idx="9">
                  <c:v>126.00208092365288</c:v>
                </c:pt>
                <c:pt idx="10">
                  <c:v>120.78519580728371</c:v>
                </c:pt>
                <c:pt idx="11">
                  <c:v>115.95167293426837</c:v>
                </c:pt>
                <c:pt idx="12">
                  <c:v>111.48938717771004</c:v>
                </c:pt>
                <c:pt idx="13">
                  <c:v>107.3639570752155</c:v>
                </c:pt>
                <c:pt idx="14">
                  <c:v>103.54376043785602</c:v>
                </c:pt>
                <c:pt idx="15">
                  <c:v>100</c:v>
                </c:pt>
                <c:pt idx="16">
                  <c:v>96.706569798757059</c:v>
                </c:pt>
                <c:pt idx="17">
                  <c:v>93.639832558705777</c:v>
                </c:pt>
                <c:pt idx="18">
                  <c:v>90.778385379678355</c:v>
                </c:pt>
                <c:pt idx="19">
                  <c:v>88.102852901511625</c:v>
                </c:pt>
                <c:pt idx="20">
                  <c:v>82.431637879142158</c:v>
                </c:pt>
                <c:pt idx="21">
                  <c:v>76.990608339549382</c:v>
                </c:pt>
                <c:pt idx="22">
                  <c:v>72.083041759118132</c:v>
                </c:pt>
                <c:pt idx="23">
                  <c:v>67.644914988774644</c:v>
                </c:pt>
                <c:pt idx="24">
                  <c:v>63.620257757745314</c:v>
                </c:pt>
                <c:pt idx="25">
                  <c:v>59.960262124714262</c:v>
                </c:pt>
                <c:pt idx="26">
                  <c:v>56.622456551784104</c:v>
                </c:pt>
                <c:pt idx="27">
                  <c:v>53.569945802144645</c:v>
                </c:pt>
                <c:pt idx="28">
                  <c:v>50.770716547755278</c:v>
                </c:pt>
                <c:pt idx="29">
                  <c:v>48.1970067758821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C$2:$C$31</c:f>
              <c:numCache>
                <c:formatCode>General</c:formatCode>
                <c:ptCount val="30"/>
                <c:pt idx="0">
                  <c:v>155.48590350471525</c:v>
                </c:pt>
                <c:pt idx="1">
                  <c:v>149.66007983299846</c:v>
                </c:pt>
                <c:pt idx="2">
                  <c:v>144.28296754257622</c:v>
                </c:pt>
                <c:pt idx="3">
                  <c:v>139.31512803061619</c:v>
                </c:pt>
                <c:pt idx="4">
                  <c:v>134.717616973904</c:v>
                </c:pt>
                <c:pt idx="5">
                  <c:v>130.45317253647241</c:v>
                </c:pt>
                <c:pt idx="6">
                  <c:v>126.48715137863962</c:v>
                </c:pt>
                <c:pt idx="7">
                  <c:v>122.78813052261816</c:v>
                </c:pt>
                <c:pt idx="8">
                  <c:v>119.32818434448407</c:v>
                </c:pt>
                <c:pt idx="9">
                  <c:v>116.08289464041634</c:v>
                </c:pt>
                <c:pt idx="10">
                  <c:v>112.86057394575447</c:v>
                </c:pt>
                <c:pt idx="11">
                  <c:v>109.86505949820049</c:v>
                </c:pt>
                <c:pt idx="12">
                  <c:v>107.09970650856152</c:v>
                </c:pt>
                <c:pt idx="13">
                  <c:v>104.54556011371987</c:v>
                </c:pt>
                <c:pt idx="14">
                  <c:v>102.18460340076965</c:v>
                </c:pt>
                <c:pt idx="15">
                  <c:v>100</c:v>
                </c:pt>
                <c:pt idx="16">
                  <c:v>97.976140828377709</c:v>
                </c:pt>
                <c:pt idx="17">
                  <c:v>96.098589686654208</c:v>
                </c:pt>
                <c:pt idx="18">
                  <c:v>94.353999703209311</c:v>
                </c:pt>
                <c:pt idx="19">
                  <c:v>92.730040639321729</c:v>
                </c:pt>
                <c:pt idx="20">
                  <c:v>87.84750380061945</c:v>
                </c:pt>
                <c:pt idx="21">
                  <c:v>83.064291139265464</c:v>
                </c:pt>
                <c:pt idx="22">
                  <c:v>78.720208397948042</c:v>
                </c:pt>
                <c:pt idx="23">
                  <c:v>74.765576478512003</c:v>
                </c:pt>
                <c:pt idx="24">
                  <c:v>71.156353736133994</c:v>
                </c:pt>
                <c:pt idx="25">
                  <c:v>67.853656504974865</c:v>
                </c:pt>
                <c:pt idx="26">
                  <c:v>64.823283971505077</c:v>
                </c:pt>
                <c:pt idx="27">
                  <c:v>62.035254510052127</c:v>
                </c:pt>
                <c:pt idx="28">
                  <c:v>59.463359251272522</c:v>
                </c:pt>
                <c:pt idx="29">
                  <c:v>57.0847365634980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D$2:$D$31</c:f>
              <c:numCache>
                <c:formatCode>General</c:formatCode>
                <c:ptCount val="30"/>
                <c:pt idx="0">
                  <c:v>106.61508586459854</c:v>
                </c:pt>
                <c:pt idx="1">
                  <c:v>106.46486757367228</c:v>
                </c:pt>
                <c:pt idx="2">
                  <c:v>106.2284553907724</c:v>
                </c:pt>
                <c:pt idx="3">
                  <c:v>105.9277877085815</c:v>
                </c:pt>
                <c:pt idx="4">
                  <c:v>105.57832020982897</c:v>
                </c:pt>
                <c:pt idx="5">
                  <c:v>105.19055670733346</c:v>
                </c:pt>
                <c:pt idx="6">
                  <c:v>104.77147793344568</c:v>
                </c:pt>
                <c:pt idx="7">
                  <c:v>104.32574957611878</c:v>
                </c:pt>
                <c:pt idx="8">
                  <c:v>103.85666240433618</c:v>
                </c:pt>
                <c:pt idx="9">
                  <c:v>103.36680855913021</c:v>
                </c:pt>
                <c:pt idx="10">
                  <c:v>102.70344545933592</c:v>
                </c:pt>
                <c:pt idx="11">
                  <c:v>102.06514196721497</c:v>
                </c:pt>
                <c:pt idx="12">
                  <c:v>101.47529603722214</c:v>
                </c:pt>
                <c:pt idx="13">
                  <c:v>100.93492989112487</c:v>
                </c:pt>
                <c:pt idx="14">
                  <c:v>100.44362483959577</c:v>
                </c:pt>
                <c:pt idx="15">
                  <c:v>100</c:v>
                </c:pt>
                <c:pt idx="16">
                  <c:v>99.601997571043725</c:v>
                </c:pt>
                <c:pt idx="17">
                  <c:v>99.247049779768702</c:v>
                </c:pt>
                <c:pt idx="18">
                  <c:v>98.932193089908381</c:v>
                </c:pt>
                <c:pt idx="19">
                  <c:v>98.654171085563618</c:v>
                </c:pt>
                <c:pt idx="20">
                  <c:v>94.77179502291348</c:v>
                </c:pt>
                <c:pt idx="21">
                  <c:v>90.82135920097312</c:v>
                </c:pt>
                <c:pt idx="22">
                  <c:v>87.190378211874403</c:v>
                </c:pt>
                <c:pt idx="23">
                  <c:v>83.847410097022433</c:v>
                </c:pt>
                <c:pt idx="24">
                  <c:v>80.76356822958104</c:v>
                </c:pt>
                <c:pt idx="25">
                  <c:v>77.912569661913409</c:v>
                </c:pt>
                <c:pt idx="26">
                  <c:v>75.270709398920616</c:v>
                </c:pt>
                <c:pt idx="27">
                  <c:v>72.816775773452463</c:v>
                </c:pt>
                <c:pt idx="28">
                  <c:v>70.531920561332498</c:v>
                </c:pt>
                <c:pt idx="29">
                  <c:v>68.3994948954105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E$2:$E$31</c:f>
              <c:numCache>
                <c:formatCode>General</c:formatCode>
                <c:ptCount val="30"/>
                <c:pt idx="0">
                  <c:v>0.30262750153638196</c:v>
                </c:pt>
                <c:pt idx="1">
                  <c:v>0.31391184617171569</c:v>
                </c:pt>
                <c:pt idx="2">
                  <c:v>0.32483681677407689</c:v>
                </c:pt>
                <c:pt idx="3">
                  <c:v>0.33541931180896595</c:v>
                </c:pt>
                <c:pt idx="4">
                  <c:v>0.34567518662672891</c:v>
                </c:pt>
                <c:pt idx="5">
                  <c:v>0.35561933272662671</c:v>
                </c:pt>
                <c:pt idx="6">
                  <c:v>0.36526574990137767</c:v>
                </c:pt>
                <c:pt idx="7">
                  <c:v>0.37462761199722755</c:v>
                </c:pt>
                <c:pt idx="8">
                  <c:v>0.38371732693912836</c:v>
                </c:pt>
                <c:pt idx="9">
                  <c:v>0.39254659159616084</c:v>
                </c:pt>
                <c:pt idx="10">
                  <c:v>0.40112644199734498</c:v>
                </c:pt>
                <c:pt idx="11">
                  <c:v>0.40946729935114246</c:v>
                </c:pt>
                <c:pt idx="12">
                  <c:v>0.41757901227214328</c:v>
                </c:pt>
                <c:pt idx="13">
                  <c:v>0.4254708955746887</c:v>
                </c:pt>
                <c:pt idx="14">
                  <c:v>0.43315176595470634</c:v>
                </c:pt>
                <c:pt idx="15">
                  <c:v>0.44062997484712441</c:v>
                </c:pt>
                <c:pt idx="16">
                  <c:v>0.4479134387163024</c:v>
                </c:pt>
                <c:pt idx="17">
                  <c:v>0.45500966701043744</c:v>
                </c:pt>
                <c:pt idx="18">
                  <c:v>0.46192578798746226</c:v>
                </c:pt>
                <c:pt idx="19">
                  <c:v>0.46866857259914829</c:v>
                </c:pt>
                <c:pt idx="20">
                  <c:v>0.475244456601634</c:v>
                </c:pt>
                <c:pt idx="21">
                  <c:v>0.48165956104415686</c:v>
                </c:pt>
                <c:pt idx="22">
                  <c:v>0.48791971127309208</c:v>
                </c:pt>
                <c:pt idx="23">
                  <c:v>0.49403045457532258</c:v>
                </c:pt>
                <c:pt idx="24">
                  <c:v>0.49999707657325504</c:v>
                </c:pt>
                <c:pt idx="25">
                  <c:v>0.50582461647333365</c:v>
                </c:pt>
                <c:pt idx="26">
                  <c:v>0.51151788126050723</c:v>
                </c:pt>
                <c:pt idx="27">
                  <c:v>0.5170814589226882</c:v>
                </c:pt>
                <c:pt idx="28">
                  <c:v>0.52251973078166702</c:v>
                </c:pt>
                <c:pt idx="29">
                  <c:v>0.5278368830001339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Demoiselle (3.5%)</c:v>
                </c:pt>
                <c:pt idx="5">
                  <c:v>Vesselle (1.0%)</c:v>
                </c:pt>
                <c:pt idx="6">
                  <c:v>Canard-Duchêne (3.1%)</c:v>
                </c:pt>
                <c:pt idx="7">
                  <c:v>Ruinart (12.8%)</c:v>
                </c:pt>
                <c:pt idx="8">
                  <c:v>Besserat De Bellefon (2.0%)</c:v>
                </c:pt>
                <c:pt idx="9">
                  <c:v>Patriarche (2.6%)</c:v>
                </c:pt>
              </c:strCache>
            </c:strRef>
          </c:cat>
          <c:val>
            <c:numRef>
              <c:f>Sheet1!$B$2:$B$11</c:f>
              <c:numCache>
                <c:formatCode>General</c:formatCode>
                <c:ptCount val="10"/>
                <c:pt idx="0">
                  <c:v>0.2762993668508168</c:v>
                </c:pt>
                <c:pt idx="1">
                  <c:v>0.15871951028956008</c:v>
                </c:pt>
                <c:pt idx="2">
                  <c:v>5.089489191835541E-2</c:v>
                </c:pt>
                <c:pt idx="3">
                  <c:v>4.2221711779267486E-2</c:v>
                </c:pt>
                <c:pt idx="4">
                  <c:v>3.290520357725759E-2</c:v>
                </c:pt>
                <c:pt idx="5">
                  <c:v>3.0531665408965611E-2</c:v>
                </c:pt>
                <c:pt idx="6">
                  <c:v>2.9190275311373443E-2</c:v>
                </c:pt>
                <c:pt idx="7">
                  <c:v>2.7717621126628022E-2</c:v>
                </c:pt>
                <c:pt idx="8">
                  <c:v>2.7338794032933513E-2</c:v>
                </c:pt>
                <c:pt idx="9">
                  <c:v>2.693059931606307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Malard Brut 1er Cru 750ml (4.1%)</c:v>
                </c:pt>
                <c:pt idx="4">
                  <c:v>Champagne Canard-Duchêne Blanc Cuvée Léonie Brut 750ml (2.6%)</c:v>
                </c:pt>
                <c:pt idx="5">
                  <c:v>Champagne Vranken Demoiselle Rosé Prestige 750ml (2.0%)</c:v>
                </c:pt>
                <c:pt idx="6">
                  <c:v>Champagne Vranken Demoiselle Tête de Cuvée 750ml (1.4%)</c:v>
                </c:pt>
                <c:pt idx="7">
                  <c:v>Prosecco Carlo V Cuvée Del Imperator 750ml (5.4%)</c:v>
                </c:pt>
                <c:pt idx="8">
                  <c:v>Champagne Ruinart Brut 750ml (7.3%)</c:v>
                </c:pt>
                <c:pt idx="9">
                  <c:v>Prosecco Bottega 750ml (2.6%)</c:v>
                </c:pt>
              </c:strCache>
            </c:strRef>
          </c:cat>
          <c:val>
            <c:numRef>
              <c:f>Sheet1!$B$2:$B$11</c:f>
              <c:numCache>
                <c:formatCode>General</c:formatCode>
                <c:ptCount val="10"/>
                <c:pt idx="0">
                  <c:v>0.15022269846237546</c:v>
                </c:pt>
                <c:pt idx="1">
                  <c:v>0.12090724811416227</c:v>
                </c:pt>
                <c:pt idx="2">
                  <c:v>7.7694970472338185E-2</c:v>
                </c:pt>
                <c:pt idx="3">
                  <c:v>6.6777294963026076E-2</c:v>
                </c:pt>
                <c:pt idx="4">
                  <c:v>4.8768972264720351E-2</c:v>
                </c:pt>
                <c:pt idx="5">
                  <c:v>3.696701696106925E-2</c:v>
                </c:pt>
                <c:pt idx="6">
                  <c:v>3.1894907763077934E-2</c:v>
                </c:pt>
                <c:pt idx="7">
                  <c:v>3.1062889127098745E-2</c:v>
                </c:pt>
                <c:pt idx="8">
                  <c:v>2.4885692023494901E-2</c:v>
                </c:pt>
                <c:pt idx="9">
                  <c:v>2.39997612638779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Vranken Demoiselle Rosé Prestige 750ml (2.0%)</c:v>
                </c:pt>
                <c:pt idx="4">
                  <c:v>Champagne Canard-Duchêne Blanc Cuvée Léonie Brut 750ml (2.6%)</c:v>
                </c:pt>
                <c:pt idx="5">
                  <c:v>Champagne Vranken Demoiselle Tête de Cuvée 750ml (1.4%)</c:v>
                </c:pt>
                <c:pt idx="6">
                  <c:v>Champagne Malard Brut 1er Cru 750ml (4.1%)</c:v>
                </c:pt>
                <c:pt idx="7">
                  <c:v>Champagne Ruinart Brut 750ml (7.3%)</c:v>
                </c:pt>
                <c:pt idx="8">
                  <c:v>Champagne Laurent-Perrier Blanc La Cuvée 750ml (2.7%)</c:v>
                </c:pt>
                <c:pt idx="9">
                  <c:v>Prosecco Carlo V Cuvée Del Imperator 750ml (5.4%)</c:v>
                </c:pt>
              </c:strCache>
            </c:strRef>
          </c:cat>
          <c:val>
            <c:numRef>
              <c:f>Sheet1!$B$2:$B$11</c:f>
              <c:numCache>
                <c:formatCode>General</c:formatCode>
                <c:ptCount val="10"/>
                <c:pt idx="0">
                  <c:v>0.16052331922788846</c:v>
                </c:pt>
                <c:pt idx="1">
                  <c:v>8.366803719637847E-2</c:v>
                </c:pt>
                <c:pt idx="2">
                  <c:v>6.3556502174001828E-2</c:v>
                </c:pt>
                <c:pt idx="3">
                  <c:v>5.5301767686002534E-2</c:v>
                </c:pt>
                <c:pt idx="4">
                  <c:v>3.8834897231666422E-2</c:v>
                </c:pt>
                <c:pt idx="5">
                  <c:v>3.8734176490424668E-2</c:v>
                </c:pt>
                <c:pt idx="6">
                  <c:v>3.8546428243972815E-2</c:v>
                </c:pt>
                <c:pt idx="7">
                  <c:v>3.4477618969930228E-2</c:v>
                </c:pt>
                <c:pt idx="8">
                  <c:v>3.080422298354598E-2</c:v>
                </c:pt>
                <c:pt idx="9">
                  <c:v>2.66409803939169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Saint-Gall Tradition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95</c:v>
                </c:pt>
                <c:pt idx="1">
                  <c:v>30.95</c:v>
                </c:pt>
                <c:pt idx="2">
                  <c:v>33.950000000000003</c:v>
                </c:pt>
                <c:pt idx="3">
                  <c:v>37.950000000000003</c:v>
                </c:pt>
                <c:pt idx="4">
                  <c:v>39.950000000000003</c:v>
                </c:pt>
              </c:numCache>
            </c:numRef>
          </c:xVal>
          <c:yVal>
            <c:numRef>
              <c:f>Sheet1!$B$2:$B$6</c:f>
              <c:numCache>
                <c:formatCode>General</c:formatCode>
                <c:ptCount val="5"/>
                <c:pt idx="0">
                  <c:v>1.0494541825725965</c:v>
                </c:pt>
                <c:pt idx="1">
                  <c:v>0.34866376398153909</c:v>
                </c:pt>
                <c:pt idx="2">
                  <c:v>0</c:v>
                </c:pt>
                <c:pt idx="3">
                  <c:v>-0.25643909647076663</c:v>
                </c:pt>
                <c:pt idx="4">
                  <c:v>-0.338493233932768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0000000000003"/>
          <c:min val="26.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B$2:$B$27</c:f>
              <c:numCache>
                <c:formatCode>General</c:formatCode>
                <c:ptCount val="26"/>
                <c:pt idx="0">
                  <c:v>194.17722874412837</c:v>
                </c:pt>
                <c:pt idx="1">
                  <c:v>184.4081730640219</c:v>
                </c:pt>
                <c:pt idx="2">
                  <c:v>175.36894579500347</c:v>
                </c:pt>
                <c:pt idx="3">
                  <c:v>166.9901263965267</c:v>
                </c:pt>
                <c:pt idx="4">
                  <c:v>159.20956963962956</c:v>
                </c:pt>
                <c:pt idx="5">
                  <c:v>151.97170488623669</c:v>
                </c:pt>
                <c:pt idx="6">
                  <c:v>143.1336746815571</c:v>
                </c:pt>
                <c:pt idx="7">
                  <c:v>134.98609484742374</c:v>
                </c:pt>
                <c:pt idx="8">
                  <c:v>127.66087298962879</c:v>
                </c:pt>
                <c:pt idx="9">
                  <c:v>121.0468420613759</c:v>
                </c:pt>
                <c:pt idx="10">
                  <c:v>115.04886538862613</c:v>
                </c:pt>
                <c:pt idx="11">
                  <c:v>109.58590160048954</c:v>
                </c:pt>
                <c:pt idx="12">
                  <c:v>104.58909479593166</c:v>
                </c:pt>
                <c:pt idx="13">
                  <c:v>100</c:v>
                </c:pt>
                <c:pt idx="14">
                  <c:v>95.768995377826116</c:v>
                </c:pt>
                <c:pt idx="15">
                  <c:v>91.853896560815286</c:v>
                </c:pt>
                <c:pt idx="16">
                  <c:v>88.274756853835299</c:v>
                </c:pt>
                <c:pt idx="17">
                  <c:v>84.983808478470763</c:v>
                </c:pt>
                <c:pt idx="18">
                  <c:v>81.945136532962167</c:v>
                </c:pt>
                <c:pt idx="19">
                  <c:v>79.131188691500597</c:v>
                </c:pt>
                <c:pt idx="20">
                  <c:v>76.517917839649641</c:v>
                </c:pt>
                <c:pt idx="21">
                  <c:v>74.084310187672571</c:v>
                </c:pt>
                <c:pt idx="22">
                  <c:v>71.811975743405711</c:v>
                </c:pt>
                <c:pt idx="23">
                  <c:v>69.684794190542561</c:v>
                </c:pt>
                <c:pt idx="24">
                  <c:v>67.688609417128404</c:v>
                </c:pt>
                <c:pt idx="25">
                  <c:v>65.8109664115034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C$2:$C$27</c:f>
              <c:numCache>
                <c:formatCode>General</c:formatCode>
                <c:ptCount val="26"/>
                <c:pt idx="0">
                  <c:v>157.32572422809147</c:v>
                </c:pt>
                <c:pt idx="1">
                  <c:v>152.09265732926781</c:v>
                </c:pt>
                <c:pt idx="2">
                  <c:v>147.18969216460144</c:v>
                </c:pt>
                <c:pt idx="3">
                  <c:v>142.58902557402121</c:v>
                </c:pt>
                <c:pt idx="4">
                  <c:v>138.26520478685163</c:v>
                </c:pt>
                <c:pt idx="5">
                  <c:v>134.19502412963496</c:v>
                </c:pt>
                <c:pt idx="6">
                  <c:v>128.48008970200939</c:v>
                </c:pt>
                <c:pt idx="7">
                  <c:v>123.13832172012337</c:v>
                </c:pt>
                <c:pt idx="8">
                  <c:v>118.32169753999754</c:v>
                </c:pt>
                <c:pt idx="9">
                  <c:v>113.96132484209586</c:v>
                </c:pt>
                <c:pt idx="10">
                  <c:v>109.99721560082283</c:v>
                </c:pt>
                <c:pt idx="11">
                  <c:v>106.37755793717506</c:v>
                </c:pt>
                <c:pt idx="12">
                  <c:v>103.05784900789669</c:v>
                </c:pt>
                <c:pt idx="13">
                  <c:v>100</c:v>
                </c:pt>
                <c:pt idx="14">
                  <c:v>97.171478104697044</c:v>
                </c:pt>
                <c:pt idx="15">
                  <c:v>94.544519503376009</c:v>
                </c:pt>
                <c:pt idx="16">
                  <c:v>92.153613999319745</c:v>
                </c:pt>
                <c:pt idx="17">
                  <c:v>89.963203491081458</c:v>
                </c:pt>
                <c:pt idx="18">
                  <c:v>87.947372098491456</c:v>
                </c:pt>
                <c:pt idx="19">
                  <c:v>86.087178438336778</c:v>
                </c:pt>
                <c:pt idx="20">
                  <c:v>84.365942975495855</c:v>
                </c:pt>
                <c:pt idx="21">
                  <c:v>82.768974980257383</c:v>
                </c:pt>
                <c:pt idx="22">
                  <c:v>81.283329186188141</c:v>
                </c:pt>
                <c:pt idx="23">
                  <c:v>79.897590430071091</c:v>
                </c:pt>
                <c:pt idx="24">
                  <c:v>78.601684004966515</c:v>
                </c:pt>
                <c:pt idx="25">
                  <c:v>77.3867092467807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D$2:$D$27</c:f>
              <c:numCache>
                <c:formatCode>General</c:formatCode>
                <c:ptCount val="26"/>
                <c:pt idx="0">
                  <c:v>94.334379143048025</c:v>
                </c:pt>
                <c:pt idx="1">
                  <c:v>96.882244267201116</c:v>
                </c:pt>
                <c:pt idx="2">
                  <c:v>99.069621274067231</c:v>
                </c:pt>
                <c:pt idx="3">
                  <c:v>100.94114715885753</c:v>
                </c:pt>
                <c:pt idx="4">
                  <c:v>102.53516135074283</c:v>
                </c:pt>
                <c:pt idx="5">
                  <c:v>103.8846655032758</c:v>
                </c:pt>
                <c:pt idx="6">
                  <c:v>103.50448631048297</c:v>
                </c:pt>
                <c:pt idx="7">
                  <c:v>102.95176814197265</c:v>
                </c:pt>
                <c:pt idx="8">
                  <c:v>102.41425951760586</c:v>
                </c:pt>
                <c:pt idx="9">
                  <c:v>101.89596043592543</c:v>
                </c:pt>
                <c:pt idx="10">
                  <c:v>101.39741134398361</c:v>
                </c:pt>
                <c:pt idx="11">
                  <c:v>100.91708135854908</c:v>
                </c:pt>
                <c:pt idx="12">
                  <c:v>100.45232150296476</c:v>
                </c:pt>
                <c:pt idx="13">
                  <c:v>100</c:v>
                </c:pt>
                <c:pt idx="14">
                  <c:v>99.556910582047479</c:v>
                </c:pt>
                <c:pt idx="15">
                  <c:v>99.120022095013894</c:v>
                </c:pt>
                <c:pt idx="16">
                  <c:v>98.749252038307276</c:v>
                </c:pt>
                <c:pt idx="17">
                  <c:v>98.429139463858505</c:v>
                </c:pt>
                <c:pt idx="18">
                  <c:v>98.150862998015427</c:v>
                </c:pt>
                <c:pt idx="19">
                  <c:v>97.910266299453312</c:v>
                </c:pt>
                <c:pt idx="20">
                  <c:v>97.703309653114829</c:v>
                </c:pt>
                <c:pt idx="21">
                  <c:v>97.5261419702463</c:v>
                </c:pt>
                <c:pt idx="22">
                  <c:v>97.375145360191951</c:v>
                </c:pt>
                <c:pt idx="23">
                  <c:v>97.246959834655428</c:v>
                </c:pt>
                <c:pt idx="24">
                  <c:v>97.138493790188946</c:v>
                </c:pt>
                <c:pt idx="25">
                  <c:v>97.0469244738580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E$2:$E$27</c:f>
              <c:numCache>
                <c:formatCode>General</c:formatCode>
                <c:ptCount val="26"/>
                <c:pt idx="0">
                  <c:v>0.22413816995149907</c:v>
                </c:pt>
                <c:pt idx="1">
                  <c:v>0.23804250382333614</c:v>
                </c:pt>
                <c:pt idx="2">
                  <c:v>0.25145724847433348</c:v>
                </c:pt>
                <c:pt idx="3">
                  <c:v>0.26440781510972583</c:v>
                </c:pt>
                <c:pt idx="4">
                  <c:v>0.27691788628132896</c:v>
                </c:pt>
                <c:pt idx="5">
                  <c:v>0.28900956042378173</c:v>
                </c:pt>
                <c:pt idx="6">
                  <c:v>0.30070348212733788</c:v>
                </c:pt>
                <c:pt idx="7">
                  <c:v>0.31201895976281807</c:v>
                </c:pt>
                <c:pt idx="8">
                  <c:v>0.32297407186850541</c:v>
                </c:pt>
                <c:pt idx="9">
                  <c:v>0.33358576353200853</c:v>
                </c:pt>
                <c:pt idx="10">
                  <c:v>0.34386993384787262</c:v>
                </c:pt>
                <c:pt idx="11">
                  <c:v>0.35384151540033654</c:v>
                </c:pt>
                <c:pt idx="12">
                  <c:v>0.36351454660691834</c:v>
                </c:pt>
                <c:pt idx="13">
                  <c:v>0.3729022376599137</c:v>
                </c:pt>
                <c:pt idx="14">
                  <c:v>0.38201703071718235</c:v>
                </c:pt>
                <c:pt idx="15">
                  <c:v>0.39087065491894185</c:v>
                </c:pt>
                <c:pt idx="16">
                  <c:v>0.39947417674212082</c:v>
                </c:pt>
                <c:pt idx="17">
                  <c:v>0.40783804614682667</c:v>
                </c:pt>
                <c:pt idx="18">
                  <c:v>0.41597213891953499</c:v>
                </c:pt>
                <c:pt idx="19">
                  <c:v>0.4238857955737419</c:v>
                </c:pt>
                <c:pt idx="20">
                  <c:v>0.43158785713024272</c:v>
                </c:pt>
                <c:pt idx="21">
                  <c:v>0.43908669806519984</c:v>
                </c:pt>
                <c:pt idx="22">
                  <c:v>0.44639025668414245</c:v>
                </c:pt>
                <c:pt idx="23">
                  <c:v>0.45350606315349806</c:v>
                </c:pt>
                <c:pt idx="24">
                  <c:v>0.46044126539774294</c:v>
                </c:pt>
                <c:pt idx="25">
                  <c:v>0.467202653049400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3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Georges Vesselle Grand Cru Brut 750ml (1.0%)</c:v>
                </c:pt>
                <c:pt idx="5">
                  <c:v>Champagne Château de Bligny 750ml (1.3%)</c:v>
                </c:pt>
                <c:pt idx="6">
                  <c:v>Champagne Besserat de Bellefon Bleu Brut 750ml (1.7%)</c:v>
                </c:pt>
                <c:pt idx="7">
                  <c:v>Champagne Canard-Duchêne Blanc Cuvée Léonie Brut 750ml (2.6%)</c:v>
                </c:pt>
                <c:pt idx="8">
                  <c:v>Crémant de Bourgogne Patriarche Brut 750ml (1.8%)</c:v>
                </c:pt>
                <c:pt idx="9">
                  <c:v>Champagne Louis Martin Brut 1er Cru 750ml (0.5%)</c:v>
                </c:pt>
              </c:strCache>
            </c:strRef>
          </c:cat>
          <c:val>
            <c:numRef>
              <c:f>Sheet1!$B$2:$B$11</c:f>
              <c:numCache>
                <c:formatCode>General</c:formatCode>
                <c:ptCount val="10"/>
                <c:pt idx="0">
                  <c:v>0.23512329333996457</c:v>
                </c:pt>
                <c:pt idx="1">
                  <c:v>0.12788790974606726</c:v>
                </c:pt>
                <c:pt idx="2">
                  <c:v>4.2221711779267486E-2</c:v>
                </c:pt>
                <c:pt idx="3">
                  <c:v>3.9696580044066614E-2</c:v>
                </c:pt>
                <c:pt idx="4">
                  <c:v>3.0531665408965611E-2</c:v>
                </c:pt>
                <c:pt idx="5">
                  <c:v>2.5938929110652282E-2</c:v>
                </c:pt>
                <c:pt idx="6">
                  <c:v>2.5850786221199126E-2</c:v>
                </c:pt>
                <c:pt idx="7">
                  <c:v>2.5328250538502621E-2</c:v>
                </c:pt>
                <c:pt idx="8">
                  <c:v>1.890847835941074E-2</c:v>
                </c:pt>
                <c:pt idx="9">
                  <c:v>1.82551680653573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Malard Grand Cru Blanc de Blancs 750ml (0.8%)</c:v>
                </c:pt>
              </c:strCache>
            </c:strRef>
          </c:cat>
          <c:val>
            <c:numRef>
              <c:f>Sheet1!$B$2:$B$11</c:f>
              <c:numCache>
                <c:formatCode>General</c:formatCode>
                <c:ptCount val="10"/>
                <c:pt idx="0">
                  <c:v>0.15187780401549061</c:v>
                </c:pt>
                <c:pt idx="1">
                  <c:v>0.11979824426064554</c:v>
                </c:pt>
                <c:pt idx="2">
                  <c:v>6.2899791446867054E-2</c:v>
                </c:pt>
                <c:pt idx="3">
                  <c:v>4.7231318781860258E-2</c:v>
                </c:pt>
                <c:pt idx="4">
                  <c:v>4.2226220704112263E-2</c:v>
                </c:pt>
                <c:pt idx="5">
                  <c:v>3.7213879370618749E-2</c:v>
                </c:pt>
                <c:pt idx="6">
                  <c:v>3.4338144406000616E-2</c:v>
                </c:pt>
                <c:pt idx="7">
                  <c:v>3.3368348737053848E-2</c:v>
                </c:pt>
                <c:pt idx="8">
                  <c:v>2.1567059083625079E-2</c:v>
                </c:pt>
                <c:pt idx="9">
                  <c:v>2.145445500601555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Venoge Cordon Bleu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1.5</c:v>
                </c:pt>
                <c:pt idx="2">
                  <c:v>23.95</c:v>
                </c:pt>
                <c:pt idx="3">
                  <c:v>25.95</c:v>
                </c:pt>
                <c:pt idx="4">
                  <c:v>28.95</c:v>
                </c:pt>
              </c:numCache>
            </c:numRef>
          </c:xVal>
          <c:yVal>
            <c:numRef>
              <c:f>Sheet1!$B$2:$B$6</c:f>
              <c:numCache>
                <c:formatCode>General</c:formatCode>
                <c:ptCount val="5"/>
                <c:pt idx="0">
                  <c:v>0.40616579783468759</c:v>
                </c:pt>
                <c:pt idx="1">
                  <c:v>0.15263911265657068</c:v>
                </c:pt>
                <c:pt idx="2">
                  <c:v>0</c:v>
                </c:pt>
                <c:pt idx="3">
                  <c:v>-0.18610903912835547</c:v>
                </c:pt>
                <c:pt idx="4">
                  <c:v>-0.4528962349545900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0000000000003</c:v>
                </c:pt>
                <c:pt idx="1">
                  <c:v>39.950000000000003</c:v>
                </c:pt>
                <c:pt idx="2">
                  <c:v>42.95</c:v>
                </c:pt>
                <c:pt idx="3">
                  <c:v>47.95</c:v>
                </c:pt>
                <c:pt idx="4">
                  <c:v>49.95</c:v>
                </c:pt>
              </c:numCache>
            </c:numRef>
          </c:xVal>
          <c:yVal>
            <c:numRef>
              <c:f>Sheet1!$B$9:$B$13</c:f>
              <c:numCache>
                <c:formatCode>General</c:formatCode>
                <c:ptCount val="5"/>
                <c:pt idx="0">
                  <c:v>0.99011735969922976</c:v>
                </c:pt>
                <c:pt idx="1">
                  <c:v>0.34051002630618732</c:v>
                </c:pt>
                <c:pt idx="2">
                  <c:v>0</c:v>
                </c:pt>
                <c:pt idx="3">
                  <c:v>-0.23522732545278113</c:v>
                </c:pt>
                <c:pt idx="4">
                  <c:v>-0.28857357762950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18.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B$2:$B$21</c:f>
              <c:numCache>
                <c:formatCode>General</c:formatCode>
                <c:ptCount val="20"/>
                <c:pt idx="0">
                  <c:v>133.55538863002002</c:v>
                </c:pt>
                <c:pt idx="1">
                  <c:v>126.84955854395119</c:v>
                </c:pt>
                <c:pt idx="2">
                  <c:v>122.76918621821349</c:v>
                </c:pt>
                <c:pt idx="3">
                  <c:v>119.09898744478093</c:v>
                </c:pt>
                <c:pt idx="4">
                  <c:v>115.58087956922446</c:v>
                </c:pt>
                <c:pt idx="5">
                  <c:v>112.20658634764149</c:v>
                </c:pt>
                <c:pt idx="6">
                  <c:v>108.96836617374719</c:v>
                </c:pt>
                <c:pt idx="7">
                  <c:v>105.85897575459231</c:v>
                </c:pt>
                <c:pt idx="8">
                  <c:v>102.87163599124409</c:v>
                </c:pt>
                <c:pt idx="9">
                  <c:v>100</c:v>
                </c:pt>
                <c:pt idx="10">
                  <c:v>97.238123196950752</c:v>
                </c:pt>
                <c:pt idx="11">
                  <c:v>94.580435359525978</c:v>
                </c:pt>
                <c:pt idx="12">
                  <c:v>88.066390768300209</c:v>
                </c:pt>
                <c:pt idx="13">
                  <c:v>81.801801102476858</c:v>
                </c:pt>
                <c:pt idx="14">
                  <c:v>76.166360204821316</c:v>
                </c:pt>
                <c:pt idx="15">
                  <c:v>71.079664391960932</c:v>
                </c:pt>
                <c:pt idx="16">
                  <c:v>66.47317180769349</c:v>
                </c:pt>
                <c:pt idx="17">
                  <c:v>62.288331965887402</c:v>
                </c:pt>
                <c:pt idx="18">
                  <c:v>58.475008902019901</c:v>
                </c:pt>
                <c:pt idx="19">
                  <c:v>54.9901571555796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C$2:$C$21</c:f>
              <c:numCache>
                <c:formatCode>General</c:formatCode>
                <c:ptCount val="20"/>
                <c:pt idx="0">
                  <c:v>108.42975344058077</c:v>
                </c:pt>
                <c:pt idx="1">
                  <c:v>105.63762295699549</c:v>
                </c:pt>
                <c:pt idx="2">
                  <c:v>104.8056889146342</c:v>
                </c:pt>
                <c:pt idx="3">
                  <c:v>104.16186835021837</c:v>
                </c:pt>
                <c:pt idx="4">
                  <c:v>103.50085969699485</c:v>
                </c:pt>
                <c:pt idx="5">
                  <c:v>102.82461320509945</c:v>
                </c:pt>
                <c:pt idx="6">
                  <c:v>102.13488825689423</c:v>
                </c:pt>
                <c:pt idx="7">
                  <c:v>101.43327446626114</c:v>
                </c:pt>
                <c:pt idx="8">
                  <c:v>100.72121037414735</c:v>
                </c:pt>
                <c:pt idx="9">
                  <c:v>100</c:v>
                </c:pt>
                <c:pt idx="10">
                  <c:v>99.270827484653466</c:v>
                </c:pt>
                <c:pt idx="11">
                  <c:v>98.53477003752802</c:v>
                </c:pt>
                <c:pt idx="12">
                  <c:v>93.592292565536056</c:v>
                </c:pt>
                <c:pt idx="13">
                  <c:v>88.647595900538676</c:v>
                </c:pt>
                <c:pt idx="14">
                  <c:v>84.135446725739286</c:v>
                </c:pt>
                <c:pt idx="15">
                  <c:v>80.004887601106205</c:v>
                </c:pt>
                <c:pt idx="16">
                  <c:v>76.211821731228568</c:v>
                </c:pt>
                <c:pt idx="17">
                  <c:v>72.71807215796052</c:v>
                </c:pt>
                <c:pt idx="18">
                  <c:v>69.490554698243983</c:v>
                </c:pt>
                <c:pt idx="19">
                  <c:v>66.5005583745535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D$2:$D$21</c:f>
              <c:numCache>
                <c:formatCode>General</c:formatCode>
                <c:ptCount val="20"/>
                <c:pt idx="0">
                  <c:v>82.219609582987289</c:v>
                </c:pt>
                <c:pt idx="1">
                  <c:v>83.508932596428636</c:v>
                </c:pt>
                <c:pt idx="2">
                  <c:v>86.06600995976774</c:v>
                </c:pt>
                <c:pt idx="3">
                  <c:v>88.579618330553032</c:v>
                </c:pt>
                <c:pt idx="4">
                  <c:v>90.899340835490108</c:v>
                </c:pt>
                <c:pt idx="5">
                  <c:v>93.037801908961114</c:v>
                </c:pt>
                <c:pt idx="6">
                  <c:v>95.006678251871136</c:v>
                </c:pt>
                <c:pt idx="7">
                  <c:v>96.816779778447042</c:v>
                </c:pt>
                <c:pt idx="8">
                  <c:v>98.478123365654781</c:v>
                </c:pt>
                <c:pt idx="9">
                  <c:v>100</c:v>
                </c:pt>
                <c:pt idx="10">
                  <c:v>101.39103588116991</c:v>
                </c:pt>
                <c:pt idx="11">
                  <c:v>102.65924800563127</c:v>
                </c:pt>
                <c:pt idx="12">
                  <c:v>99.349990839466713</c:v>
                </c:pt>
                <c:pt idx="13">
                  <c:v>95.776391570553571</c:v>
                </c:pt>
                <c:pt idx="14">
                  <c:v>92.43118684923985</c:v>
                </c:pt>
                <c:pt idx="15">
                  <c:v>89.293979732798462</c:v>
                </c:pt>
                <c:pt idx="16">
                  <c:v>86.34604558384757</c:v>
                </c:pt>
                <c:pt idx="17">
                  <c:v>83.570355550488742</c:v>
                </c:pt>
                <c:pt idx="18">
                  <c:v>80.951527203226121</c:v>
                </c:pt>
                <c:pt idx="19">
                  <c:v>78.47573191272077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E$2:$E$21</c:f>
              <c:numCache>
                <c:formatCode>General</c:formatCode>
                <c:ptCount val="20"/>
                <c:pt idx="0">
                  <c:v>0.3715061751846771</c:v>
                </c:pt>
                <c:pt idx="1">
                  <c:v>0.38729747731571557</c:v>
                </c:pt>
                <c:pt idx="2">
                  <c:v>0.40231469600895775</c:v>
                </c:pt>
                <c:pt idx="3">
                  <c:v>0.416613387491997</c:v>
                </c:pt>
                <c:pt idx="4">
                  <c:v>0.43024391582162319</c:v>
                </c:pt>
                <c:pt idx="5">
                  <c:v>0.44325204559738535</c:v>
                </c:pt>
                <c:pt idx="6">
                  <c:v>0.45567945529387205</c:v>
                </c:pt>
                <c:pt idx="7">
                  <c:v>0.46756418334422428</c:v>
                </c:pt>
                <c:pt idx="8">
                  <c:v>0.47894101703345027</c:v>
                </c:pt>
                <c:pt idx="9">
                  <c:v>0.48984183257668362</c:v>
                </c:pt>
                <c:pt idx="10">
                  <c:v>0.50029589338453839</c:v>
                </c:pt>
                <c:pt idx="11">
                  <c:v>0.51033011239288095</c:v>
                </c:pt>
                <c:pt idx="12">
                  <c:v>0.51996928340876913</c:v>
                </c:pt>
                <c:pt idx="13">
                  <c:v>0.52923628565956515</c:v>
                </c:pt>
                <c:pt idx="14">
                  <c:v>0.53815226509783087</c:v>
                </c:pt>
                <c:pt idx="15">
                  <c:v>0.54673679548634713</c:v>
                </c:pt>
                <c:pt idx="16">
                  <c:v>0.55500802184608522</c:v>
                </c:pt>
                <c:pt idx="17">
                  <c:v>0.56298278847966798</c:v>
                </c:pt>
                <c:pt idx="18">
                  <c:v>0.57067675347122315</c:v>
                </c:pt>
                <c:pt idx="19">
                  <c:v>0.578104491300440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Crémant Saumur Bouvet Cuvée Saphir Brut 750ml (1.5%)</c:v>
                </c:pt>
              </c:strCache>
            </c:strRef>
          </c:cat>
          <c:val>
            <c:numRef>
              <c:f>Sheet1!$B$2:$B$11</c:f>
              <c:numCache>
                <c:formatCode>General</c:formatCode>
                <c:ptCount val="10"/>
                <c:pt idx="0">
                  <c:v>0.21615542094112081</c:v>
                </c:pt>
                <c:pt idx="1">
                  <c:v>6.6415045791858307E-2</c:v>
                </c:pt>
                <c:pt idx="2">
                  <c:v>5.6700909897540279E-2</c:v>
                </c:pt>
                <c:pt idx="3">
                  <c:v>3.3288155191023933E-2</c:v>
                </c:pt>
                <c:pt idx="4">
                  <c:v>3.2077817692197023E-2</c:v>
                </c:pt>
                <c:pt idx="5">
                  <c:v>2.7444615364038617E-2</c:v>
                </c:pt>
                <c:pt idx="6">
                  <c:v>2.6400384493574333E-2</c:v>
                </c:pt>
                <c:pt idx="7">
                  <c:v>2.6305232946978462E-2</c:v>
                </c:pt>
                <c:pt idx="8">
                  <c:v>2.3638839402036739E-2</c:v>
                </c:pt>
                <c:pt idx="9">
                  <c:v>2.355885021965773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Mousseux Château Moncontour Brut Vouvray 750ml (1.5%)</c:v>
                </c:pt>
              </c:strCache>
            </c:strRef>
          </c:cat>
          <c:val>
            <c:numRef>
              <c:f>Sheet1!$B$2:$B$11</c:f>
              <c:numCache>
                <c:formatCode>General</c:formatCode>
                <c:ptCount val="10"/>
                <c:pt idx="0">
                  <c:v>0.2646227145058942</c:v>
                </c:pt>
                <c:pt idx="1">
                  <c:v>8.1515529278834695E-2</c:v>
                </c:pt>
                <c:pt idx="2">
                  <c:v>4.9636933379934481E-2</c:v>
                </c:pt>
                <c:pt idx="3">
                  <c:v>2.9751489849533894E-2</c:v>
                </c:pt>
                <c:pt idx="4">
                  <c:v>2.8248875615938768E-2</c:v>
                </c:pt>
                <c:pt idx="5">
                  <c:v>2.8178096887792332E-2</c:v>
                </c:pt>
                <c:pt idx="6">
                  <c:v>2.5550284351898305E-2</c:v>
                </c:pt>
                <c:pt idx="7">
                  <c:v>2.2340478377712827E-2</c:v>
                </c:pt>
                <c:pt idx="8">
                  <c:v>2.1455836888648567E-2</c:v>
                </c:pt>
                <c:pt idx="9">
                  <c:v>2.062552168180637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Vesselle (1.0%)</c:v>
                </c:pt>
                <c:pt idx="8">
                  <c:v>De Bligny (1.3%)</c:v>
                </c:pt>
                <c:pt idx="9">
                  <c:v>Ruinart (12.8%)</c:v>
                </c:pt>
              </c:strCache>
            </c:strRef>
          </c:cat>
          <c:val>
            <c:numRef>
              <c:f>Sheet1!$B$2:$B$11</c:f>
              <c:numCache>
                <c:formatCode>General</c:formatCode>
                <c:ptCount val="10"/>
                <c:pt idx="0">
                  <c:v>0.19007395338006844</c:v>
                </c:pt>
                <c:pt idx="1">
                  <c:v>0.1636199358504572</c:v>
                </c:pt>
                <c:pt idx="2">
                  <c:v>6.2899791446867054E-2</c:v>
                </c:pt>
                <c:pt idx="3">
                  <c:v>5.9663302032576485E-2</c:v>
                </c:pt>
                <c:pt idx="4">
                  <c:v>4.6118800803450162E-2</c:v>
                </c:pt>
                <c:pt idx="5">
                  <c:v>3.8802108071762563E-2</c:v>
                </c:pt>
                <c:pt idx="6">
                  <c:v>3.8723257621589652E-2</c:v>
                </c:pt>
                <c:pt idx="7">
                  <c:v>3.4338144406000616E-2</c:v>
                </c:pt>
                <c:pt idx="8">
                  <c:v>3.3368348737053848E-2</c:v>
                </c:pt>
                <c:pt idx="9">
                  <c:v>2.964746658312585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183.39834885297194</c:v>
                </c:pt>
                <c:pt idx="1">
                  <c:v>174.08101950948532</c:v>
                </c:pt>
                <c:pt idx="2">
                  <c:v>165.75565253863408</c:v>
                </c:pt>
                <c:pt idx="3">
                  <c:v>158.31410485782024</c:v>
                </c:pt>
                <c:pt idx="4">
                  <c:v>151.65312171589375</c:v>
                </c:pt>
                <c:pt idx="5">
                  <c:v>145.67652499378914</c:v>
                </c:pt>
                <c:pt idx="6">
                  <c:v>140.29688170158525</c:v>
                </c:pt>
                <c:pt idx="7">
                  <c:v>135.43635416255177</c:v>
                </c:pt>
                <c:pt idx="8">
                  <c:v>131.02677950378475</c:v>
                </c:pt>
                <c:pt idx="9">
                  <c:v>127.00918301042401</c:v>
                </c:pt>
                <c:pt idx="10">
                  <c:v>122.95563595146133</c:v>
                </c:pt>
                <c:pt idx="11">
                  <c:v>116.13944144801837</c:v>
                </c:pt>
                <c:pt idx="12">
                  <c:v>110.11929187490807</c:v>
                </c:pt>
                <c:pt idx="13">
                  <c:v>104.77302248839464</c:v>
                </c:pt>
                <c:pt idx="14">
                  <c:v>100</c:v>
                </c:pt>
                <c:pt idx="15">
                  <c:v>95.717081277990019</c:v>
                </c:pt>
                <c:pt idx="16">
                  <c:v>91.855330222714372</c:v>
                </c:pt>
                <c:pt idx="17">
                  <c:v>88.357364246157189</c:v>
                </c:pt>
                <c:pt idx="18">
                  <c:v>85.175214976181806</c:v>
                </c:pt>
                <c:pt idx="19">
                  <c:v>82.268604890716787</c:v>
                </c:pt>
                <c:pt idx="20">
                  <c:v>79.681722685685287</c:v>
                </c:pt>
                <c:pt idx="21">
                  <c:v>77.947277778961578</c:v>
                </c:pt>
                <c:pt idx="22">
                  <c:v>76.297443775245384</c:v>
                </c:pt>
                <c:pt idx="23">
                  <c:v>74.726627120538353</c:v>
                </c:pt>
                <c:pt idx="24">
                  <c:v>73.229655863602332</c:v>
                </c:pt>
                <c:pt idx="25">
                  <c:v>71.801745645864457</c:v>
                </c:pt>
                <c:pt idx="26">
                  <c:v>70.438468674871586</c:v>
                </c:pt>
                <c:pt idx="27">
                  <c:v>69.135725347340909</c:v>
                </c:pt>
                <c:pt idx="28">
                  <c:v>67.889718243005859</c:v>
                </c:pt>
                <c:pt idx="29">
                  <c:v>66.6969282542896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52.91742885548058</c:v>
                </c:pt>
                <c:pt idx="1">
                  <c:v>147.21352703426876</c:v>
                </c:pt>
                <c:pt idx="2">
                  <c:v>142.13964811963251</c:v>
                </c:pt>
                <c:pt idx="3">
                  <c:v>137.63694526614543</c:v>
                </c:pt>
                <c:pt idx="4">
                  <c:v>133.64578154888892</c:v>
                </c:pt>
                <c:pt idx="5">
                  <c:v>130.10796685182899</c:v>
                </c:pt>
                <c:pt idx="6">
                  <c:v>126.96868123728396</c:v>
                </c:pt>
                <c:pt idx="7">
                  <c:v>124.17776800533389</c:v>
                </c:pt>
                <c:pt idx="8">
                  <c:v>121.69037265757649</c:v>
                </c:pt>
                <c:pt idx="9">
                  <c:v>119.4670560182084</c:v>
                </c:pt>
                <c:pt idx="10">
                  <c:v>117.11417207662453</c:v>
                </c:pt>
                <c:pt idx="11">
                  <c:v>112.00103524181604</c:v>
                </c:pt>
                <c:pt idx="12">
                  <c:v>107.50326396203617</c:v>
                </c:pt>
                <c:pt idx="13">
                  <c:v>103.52846904762309</c:v>
                </c:pt>
                <c:pt idx="14">
                  <c:v>100</c:v>
                </c:pt>
                <c:pt idx="15">
                  <c:v>96.854131063854496</c:v>
                </c:pt>
                <c:pt idx="16">
                  <c:v>94.037736507626704</c:v>
                </c:pt>
                <c:pt idx="17">
                  <c:v>91.506384676491876</c:v>
                </c:pt>
                <c:pt idx="18">
                  <c:v>89.222782077280968</c:v>
                </c:pt>
                <c:pt idx="19">
                  <c:v>87.155505966020669</c:v>
                </c:pt>
                <c:pt idx="20">
                  <c:v>85.36168794044741</c:v>
                </c:pt>
                <c:pt idx="21">
                  <c:v>84.429570535650527</c:v>
                </c:pt>
                <c:pt idx="22">
                  <c:v>83.548920405035403</c:v>
                </c:pt>
                <c:pt idx="23">
                  <c:v>82.716557790602806</c:v>
                </c:pt>
                <c:pt idx="24">
                  <c:v>81.92950930630488</c:v>
                </c:pt>
                <c:pt idx="25">
                  <c:v>81.184994461253112</c:v>
                </c:pt>
                <c:pt idx="26">
                  <c:v>80.480413176469526</c:v>
                </c:pt>
                <c:pt idx="27">
                  <c:v>79.813334156535632</c:v>
                </c:pt>
                <c:pt idx="28">
                  <c:v>79.181484010257435</c:v>
                </c:pt>
                <c:pt idx="29">
                  <c:v>78.5827370397597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16.15491685036451</c:v>
                </c:pt>
                <c:pt idx="1">
                  <c:v>114.81289455866128</c:v>
                </c:pt>
                <c:pt idx="2">
                  <c:v>113.66305572376278</c:v>
                </c:pt>
                <c:pt idx="3">
                  <c:v>112.70634840540295</c:v>
                </c:pt>
                <c:pt idx="4">
                  <c:v>111.93599993517837</c:v>
                </c:pt>
                <c:pt idx="5">
                  <c:v>111.33982953724552</c:v>
                </c:pt>
                <c:pt idx="6">
                  <c:v>110.90249391477587</c:v>
                </c:pt>
                <c:pt idx="7">
                  <c:v>110.60732672372855</c:v>
                </c:pt>
                <c:pt idx="8">
                  <c:v>110.43766205256895</c:v>
                </c:pt>
                <c:pt idx="9">
                  <c:v>110.37767839047832</c:v>
                </c:pt>
                <c:pt idx="10">
                  <c:v>110.07507296283225</c:v>
                </c:pt>
                <c:pt idx="11">
                  <c:v>107.01455640639692</c:v>
                </c:pt>
                <c:pt idx="12">
                  <c:v>104.35136401913287</c:v>
                </c:pt>
                <c:pt idx="13">
                  <c:v>102.02907442690932</c:v>
                </c:pt>
                <c:pt idx="14">
                  <c:v>100</c:v>
                </c:pt>
                <c:pt idx="15">
                  <c:v>98.22385920026349</c:v>
                </c:pt>
                <c:pt idx="16">
                  <c:v>96.666611778128612</c:v>
                </c:pt>
                <c:pt idx="17">
                  <c:v>95.299457141340611</c:v>
                </c:pt>
                <c:pt idx="18">
                  <c:v>94.097983851972273</c:v>
                </c:pt>
                <c:pt idx="19">
                  <c:v>93.041453356360094</c:v>
                </c:pt>
                <c:pt idx="20">
                  <c:v>92.202646677741413</c:v>
                </c:pt>
                <c:pt idx="21">
                  <c:v>92.237053302840366</c:v>
                </c:pt>
                <c:pt idx="22">
                  <c:v>92.282949812665123</c:v>
                </c:pt>
                <c:pt idx="23">
                  <c:v>92.340071963775827</c:v>
                </c:pt>
                <c:pt idx="24">
                  <c:v>92.408101562486678</c:v>
                </c:pt>
                <c:pt idx="25">
                  <c:v>92.486677864733821</c:v>
                </c:pt>
                <c:pt idx="26">
                  <c:v>92.575407552909354</c:v>
                </c:pt>
                <c:pt idx="27">
                  <c:v>92.673873388970392</c:v>
                </c:pt>
                <c:pt idx="28">
                  <c:v>92.781641648540727</c:v>
                </c:pt>
                <c:pt idx="29">
                  <c:v>92.8982684433617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4547587293242388</c:v>
                </c:pt>
                <c:pt idx="1">
                  <c:v>0.35469452260943196</c:v>
                </c:pt>
                <c:pt idx="2">
                  <c:v>0.36365709868430096</c:v>
                </c:pt>
                <c:pt idx="3">
                  <c:v>0.37237412472972165</c:v>
                </c:pt>
                <c:pt idx="4">
                  <c:v>0.38085555547661726</c:v>
                </c:pt>
                <c:pt idx="5">
                  <c:v>0.38911081473692888</c:v>
                </c:pt>
                <c:pt idx="6">
                  <c:v>0.39714883033249576</c:v>
                </c:pt>
                <c:pt idx="7">
                  <c:v>0.40497806630220351</c:v>
                </c:pt>
                <c:pt idx="8">
                  <c:v>0.41260655263166246</c:v>
                </c:pt>
                <c:pt idx="9">
                  <c:v>0.42004191272493258</c:v>
                </c:pt>
                <c:pt idx="10">
                  <c:v>0.42729138881587087</c:v>
                </c:pt>
                <c:pt idx="11">
                  <c:v>0.4343618654971565</c:v>
                </c:pt>
                <c:pt idx="12">
                  <c:v>0.44125989152767897</c:v>
                </c:pt>
                <c:pt idx="13">
                  <c:v>0.44799170006348998</c:v>
                </c:pt>
                <c:pt idx="14">
                  <c:v>0.4545632274436866</c:v>
                </c:pt>
                <c:pt idx="15">
                  <c:v>0.46098013065023141</c:v>
                </c:pt>
                <c:pt idx="16">
                  <c:v>0.46724780354964734</c:v>
                </c:pt>
                <c:pt idx="17">
                  <c:v>0.47337139201459388</c:v>
                </c:pt>
                <c:pt idx="18">
                  <c:v>0.47935580801442806</c:v>
                </c:pt>
                <c:pt idx="19">
                  <c:v>0.48520574275583905</c:v>
                </c:pt>
                <c:pt idx="20">
                  <c:v>0.49092567894744077</c:v>
                </c:pt>
                <c:pt idx="21">
                  <c:v>0.49651990225571058</c:v>
                </c:pt>
                <c:pt idx="22">
                  <c:v>0.5019925120138008</c:v>
                </c:pt>
                <c:pt idx="23">
                  <c:v>0.50734743123945891</c:v>
                </c:pt>
                <c:pt idx="24">
                  <c:v>0.51258841601350724</c:v>
                </c:pt>
                <c:pt idx="25">
                  <c:v>0.51771906426599634</c:v>
                </c:pt>
                <c:pt idx="26">
                  <c:v>0.52274282401322558</c:v>
                </c:pt>
                <c:pt idx="27">
                  <c:v>0.52766300108525444</c:v>
                </c:pt>
                <c:pt idx="28">
                  <c:v>0.53248276638030279</c:v>
                </c:pt>
                <c:pt idx="29">
                  <c:v>0.537205162679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2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Besserat de Bellefon Bleu Brut 750ml (1.7%)</c:v>
                </c:pt>
                <c:pt idx="2">
                  <c:v>Champagne E.Nicolas Brut 750ml (11.6%)</c:v>
                </c:pt>
                <c:pt idx="3">
                  <c:v>Champagne Malard Brut 1er Cru 750ml (4.1%)</c:v>
                </c:pt>
                <c:pt idx="4">
                  <c:v>Champagne Deutz Brut Classique 750ml (3.4%)</c:v>
                </c:pt>
                <c:pt idx="5">
                  <c:v>Champagne Nicolas Feuillatte Réserve Exclusive Brut 750ml (3.0%)</c:v>
                </c:pt>
                <c:pt idx="6">
                  <c:v>Champagne Georges Vesselle Grand Cru Brut 750ml (1.0%)</c:v>
                </c:pt>
                <c:pt idx="7">
                  <c:v>Champagne Laurent-Perrier Blanc La Cuvée 750ml (2.7%)</c:v>
                </c:pt>
                <c:pt idx="8">
                  <c:v>Champagne Canard-Duchêne Blanc Cuvée Léonie Brut 750ml (2.6%)</c:v>
                </c:pt>
                <c:pt idx="9">
                  <c:v>Champagne Château de Bligny 750ml (1.3%)</c:v>
                </c:pt>
              </c:strCache>
            </c:strRef>
          </c:cat>
          <c:val>
            <c:numRef>
              <c:f>Sheet1!$B$2:$B$11</c:f>
              <c:numCache>
                <c:formatCode>General</c:formatCode>
                <c:ptCount val="10"/>
                <c:pt idx="0">
                  <c:v>0.14023140168634687</c:v>
                </c:pt>
                <c:pt idx="1">
                  <c:v>7.3189190561017456E-2</c:v>
                </c:pt>
                <c:pt idx="2">
                  <c:v>7.1398736766935658E-2</c:v>
                </c:pt>
                <c:pt idx="3">
                  <c:v>6.1859726771693331E-2</c:v>
                </c:pt>
                <c:pt idx="4">
                  <c:v>5.2780184684916479E-2</c:v>
                </c:pt>
                <c:pt idx="5">
                  <c:v>5.0174227960154194E-2</c:v>
                </c:pt>
                <c:pt idx="6">
                  <c:v>3.7464337338162859E-2</c:v>
                </c:pt>
                <c:pt idx="7">
                  <c:v>3.6648635008163732E-2</c:v>
                </c:pt>
                <c:pt idx="8">
                  <c:v>2.7887986938367203E-2</c:v>
                </c:pt>
                <c:pt idx="9">
                  <c:v>2.281217364445904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Besserat de Bellefon Bleu Brut 750ml (1.7%)</c:v>
                </c:pt>
                <c:pt idx="3">
                  <c:v>Champagne Laurent-Perrier Blanc La Cuvée 750ml (2.7%)</c:v>
                </c:pt>
                <c:pt idx="4">
                  <c:v>Champagne E.Nicolas Brut 750ml (11.6%)</c:v>
                </c:pt>
                <c:pt idx="5">
                  <c:v>Champagne Malard Brut 1er Cru 750ml (4.1%)</c:v>
                </c:pt>
                <c:pt idx="6">
                  <c:v>Champagne Nicolas Feuillatte Réserve Exclusive Brut 750ml (3.0%)</c:v>
                </c:pt>
                <c:pt idx="7">
                  <c:v>Champagne Georges Vesselle Grand Cru Brut 750ml (1.0%)</c:v>
                </c:pt>
                <c:pt idx="8">
                  <c:v>Champagne Ruinart Brut 750ml (7.3%)</c:v>
                </c:pt>
                <c:pt idx="9">
                  <c:v>Champagne Taittinger Prestige Brut 750ml (1.6%)</c:v>
                </c:pt>
              </c:strCache>
            </c:strRef>
          </c:cat>
          <c:val>
            <c:numRef>
              <c:f>Sheet1!$B$2:$B$11</c:f>
              <c:numCache>
                <c:formatCode>General</c:formatCode>
                <c:ptCount val="10"/>
                <c:pt idx="0">
                  <c:v>0.10970278388403669</c:v>
                </c:pt>
                <c:pt idx="1">
                  <c:v>8.5834349697777937E-2</c:v>
                </c:pt>
                <c:pt idx="2">
                  <c:v>7.3461134294915131E-2</c:v>
                </c:pt>
                <c:pt idx="3">
                  <c:v>5.2227413060966621E-2</c:v>
                </c:pt>
                <c:pt idx="4">
                  <c:v>5.1362600896388652E-2</c:v>
                </c:pt>
                <c:pt idx="5">
                  <c:v>3.53716090152408E-2</c:v>
                </c:pt>
                <c:pt idx="6">
                  <c:v>3.3646839902621836E-2</c:v>
                </c:pt>
                <c:pt idx="7">
                  <c:v>3.0932862395276983E-2</c:v>
                </c:pt>
                <c:pt idx="8">
                  <c:v>2.9885551228790261E-2</c:v>
                </c:pt>
                <c:pt idx="9">
                  <c:v>2.49151504895493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eorges Vesselle Grand Cru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6.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0000000000003</c:v>
                </c:pt>
                <c:pt idx="3">
                  <c:v>34.950000000000003</c:v>
                </c:pt>
                <c:pt idx="4">
                  <c:v>39.950000000000003</c:v>
                </c:pt>
              </c:numCache>
            </c:numRef>
          </c:xVal>
          <c:yVal>
            <c:numRef>
              <c:f>Sheet1!$B$2:$B$6</c:f>
              <c:numCache>
                <c:formatCode>General</c:formatCode>
                <c:ptCount val="5"/>
                <c:pt idx="0">
                  <c:v>1.436275590442226</c:v>
                </c:pt>
                <c:pt idx="1">
                  <c:v>0.57038902462361507</c:v>
                </c:pt>
                <c:pt idx="2">
                  <c:v>0</c:v>
                </c:pt>
                <c:pt idx="3">
                  <c:v>-0.21790160275027359</c:v>
                </c:pt>
                <c:pt idx="4">
                  <c:v>-0.5302900834713580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0000000000003"/>
          <c:min val="25.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B$2:$B$29</c:f>
              <c:numCache>
                <c:formatCode>General</c:formatCode>
                <c:ptCount val="28"/>
                <c:pt idx="0">
                  <c:v>242.84438914848394</c:v>
                </c:pt>
                <c:pt idx="1">
                  <c:v>228.81158465585233</c:v>
                </c:pt>
                <c:pt idx="2">
                  <c:v>215.89668316284104</c:v>
                </c:pt>
                <c:pt idx="3">
                  <c:v>204.00876111194387</c:v>
                </c:pt>
                <c:pt idx="4">
                  <c:v>193.05979283436508</c:v>
                </c:pt>
                <c:pt idx="5">
                  <c:v>182.96622736626298</c:v>
                </c:pt>
                <c:pt idx="6">
                  <c:v>173.65002211051825</c:v>
                </c:pt>
                <c:pt idx="7">
                  <c:v>165.03919451241083</c:v>
                </c:pt>
                <c:pt idx="8">
                  <c:v>156.54445871181426</c:v>
                </c:pt>
                <c:pt idx="9">
                  <c:v>144.35639052502472</c:v>
                </c:pt>
                <c:pt idx="10">
                  <c:v>133.43360128171025</c:v>
                </c:pt>
                <c:pt idx="11">
                  <c:v>123.64842474192181</c:v>
                </c:pt>
                <c:pt idx="12">
                  <c:v>114.88401248514973</c:v>
                </c:pt>
                <c:pt idx="13">
                  <c:v>107.03373699376715</c:v>
                </c:pt>
                <c:pt idx="14">
                  <c:v>100</c:v>
                </c:pt>
                <c:pt idx="15">
                  <c:v>93.693183660966994</c:v>
                </c:pt>
                <c:pt idx="16">
                  <c:v>88.031024704684114</c:v>
                </c:pt>
                <c:pt idx="17">
                  <c:v>82.938365297221722</c:v>
                </c:pt>
                <c:pt idx="18">
                  <c:v>78.303180265579883</c:v>
                </c:pt>
                <c:pt idx="19">
                  <c:v>73.726569848291675</c:v>
                </c:pt>
                <c:pt idx="20">
                  <c:v>69.565153798211412</c:v>
                </c:pt>
                <c:pt idx="21">
                  <c:v>65.776391539361001</c:v>
                </c:pt>
                <c:pt idx="22">
                  <c:v>62.322043820697473</c:v>
                </c:pt>
                <c:pt idx="23">
                  <c:v>59.167750757585857</c:v>
                </c:pt>
                <c:pt idx="24">
                  <c:v>56.282636663242428</c:v>
                </c:pt>
                <c:pt idx="25">
                  <c:v>53.638951251125221</c:v>
                </c:pt>
                <c:pt idx="26">
                  <c:v>51.211750649527197</c:v>
                </c:pt>
                <c:pt idx="27">
                  <c:v>48.978617216157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C$2:$C$29</c:f>
              <c:numCache>
                <c:formatCode>General</c:formatCode>
                <c:ptCount val="28"/>
                <c:pt idx="0">
                  <c:v>191.89597504846873</c:v>
                </c:pt>
                <c:pt idx="1">
                  <c:v>184.21547862315279</c:v>
                </c:pt>
                <c:pt idx="2">
                  <c:v>177.03703383954044</c:v>
                </c:pt>
                <c:pt idx="3">
                  <c:v>170.33381774159284</c:v>
                </c:pt>
                <c:pt idx="4">
                  <c:v>164.0762337842296</c:v>
                </c:pt>
                <c:pt idx="5">
                  <c:v>158.23345786345314</c:v>
                </c:pt>
                <c:pt idx="6">
                  <c:v>152.77465165068344</c:v>
                </c:pt>
                <c:pt idx="7">
                  <c:v>147.66984179314866</c:v>
                </c:pt>
                <c:pt idx="8">
                  <c:v>142.41458226553684</c:v>
                </c:pt>
                <c:pt idx="9">
                  <c:v>133.49418833433376</c:v>
                </c:pt>
                <c:pt idx="10">
                  <c:v>125.39869427219577</c:v>
                </c:pt>
                <c:pt idx="11">
                  <c:v>118.06253757736873</c:v>
                </c:pt>
                <c:pt idx="12">
                  <c:v>111.42316112457374</c:v>
                </c:pt>
                <c:pt idx="13">
                  <c:v>105.42119511142083</c:v>
                </c:pt>
                <c:pt idx="14">
                  <c:v>100</c:v>
                </c:pt>
                <c:pt idx="15">
                  <c:v>95.105253784631984</c:v>
                </c:pt>
                <c:pt idx="16">
                  <c:v>90.684885394453246</c:v>
                </c:pt>
                <c:pt idx="17">
                  <c:v>86.689349472456485</c:v>
                </c:pt>
                <c:pt idx="18">
                  <c:v>83.025446780135553</c:v>
                </c:pt>
                <c:pt idx="19">
                  <c:v>79.284415978593501</c:v>
                </c:pt>
                <c:pt idx="20">
                  <c:v>75.858502494208992</c:v>
                </c:pt>
                <c:pt idx="21">
                  <c:v>72.719346541942656</c:v>
                </c:pt>
                <c:pt idx="22">
                  <c:v>69.840870481890022</c:v>
                </c:pt>
                <c:pt idx="23">
                  <c:v>67.19911730104667</c:v>
                </c:pt>
                <c:pt idx="24">
                  <c:v>64.772083278978499</c:v>
                </c:pt>
                <c:pt idx="25">
                  <c:v>62.539558486644211</c:v>
                </c:pt>
                <c:pt idx="26">
                  <c:v>60.482982746178529</c:v>
                </c:pt>
                <c:pt idx="27">
                  <c:v>58.5853198300089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D$2:$D$29</c:f>
              <c:numCache>
                <c:formatCode>General</c:formatCode>
                <c:ptCount val="28"/>
                <c:pt idx="0">
                  <c:v>132.03124488875036</c:v>
                </c:pt>
                <c:pt idx="1">
                  <c:v>131.8596388440391</c:v>
                </c:pt>
                <c:pt idx="2">
                  <c:v>131.45392993516899</c:v>
                </c:pt>
                <c:pt idx="3">
                  <c:v>130.865103768013</c:v>
                </c:pt>
                <c:pt idx="4">
                  <c:v>130.13424512303399</c:v>
                </c:pt>
                <c:pt idx="5">
                  <c:v>129.29412448765794</c:v>
                </c:pt>
                <c:pt idx="6">
                  <c:v>128.37069142869601</c:v>
                </c:pt>
                <c:pt idx="7">
                  <c:v>127.38439809289844</c:v>
                </c:pt>
                <c:pt idx="8">
                  <c:v>125.93017390089219</c:v>
                </c:pt>
                <c:pt idx="9">
                  <c:v>120.83076458795736</c:v>
                </c:pt>
                <c:pt idx="10">
                  <c:v>116.03716192895357</c:v>
                </c:pt>
                <c:pt idx="11">
                  <c:v>111.55790386810507</c:v>
                </c:pt>
                <c:pt idx="12">
                  <c:v>107.39499646294182</c:v>
                </c:pt>
                <c:pt idx="13">
                  <c:v>103.54509939344511</c:v>
                </c:pt>
                <c:pt idx="14">
                  <c:v>100</c:v>
                </c:pt>
                <c:pt idx="15">
                  <c:v>96.747001761633271</c:v>
                </c:pt>
                <c:pt idx="16">
                  <c:v>93.769558206462477</c:v>
                </c:pt>
                <c:pt idx="17">
                  <c:v>91.048197985824558</c:v>
                </c:pt>
                <c:pt idx="18">
                  <c:v>88.511977101859543</c:v>
                </c:pt>
                <c:pt idx="19">
                  <c:v>85.741719974764948</c:v>
                </c:pt>
                <c:pt idx="20">
                  <c:v>83.169515452523399</c:v>
                </c:pt>
                <c:pt idx="21">
                  <c:v>80.783715344728463</c:v>
                </c:pt>
                <c:pt idx="22">
                  <c:v>78.572548120250005</c:v>
                </c:pt>
                <c:pt idx="23">
                  <c:v>76.524274152473211</c:v>
                </c:pt>
                <c:pt idx="24">
                  <c:v>74.627293966956017</c:v>
                </c:pt>
                <c:pt idx="25">
                  <c:v>72.870228619881445</c:v>
                </c:pt>
                <c:pt idx="26">
                  <c:v>71.241985292795647</c:v>
                </c:pt>
                <c:pt idx="27">
                  <c:v>69.7318157459456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E$2:$E$29</c:f>
              <c:numCache>
                <c:formatCode>General</c:formatCode>
                <c:ptCount val="28"/>
                <c:pt idx="0">
                  <c:v>0.32078210451800271</c:v>
                </c:pt>
                <c:pt idx="1">
                  <c:v>0.33359753650822904</c:v>
                </c:pt>
                <c:pt idx="2">
                  <c:v>0.3459383228691878</c:v>
                </c:pt>
                <c:pt idx="3">
                  <c:v>0.35783035336247526</c:v>
                </c:pt>
                <c:pt idx="4">
                  <c:v>0.36929766848100248</c:v>
                </c:pt>
                <c:pt idx="5">
                  <c:v>0.38036262166554635</c:v>
                </c:pt>
                <c:pt idx="6">
                  <c:v>0.39104602474027833</c:v>
                </c:pt>
                <c:pt idx="7">
                  <c:v>0.40136727855823967</c:v>
                </c:pt>
                <c:pt idx="8">
                  <c:v>0.41134449058226896</c:v>
                </c:pt>
                <c:pt idx="9">
                  <c:v>0.4209945809005925</c:v>
                </c:pt>
                <c:pt idx="10">
                  <c:v>0.43033337798284099</c:v>
                </c:pt>
                <c:pt idx="11">
                  <c:v>0.43937570531644665</c:v>
                </c:pt>
                <c:pt idx="12">
                  <c:v>0.44813545992087717</c:v>
                </c:pt>
                <c:pt idx="13">
                  <c:v>0.45662568361440209</c:v>
                </c:pt>
                <c:pt idx="14">
                  <c:v>0.46485862780206266</c:v>
                </c:pt>
                <c:pt idx="15">
                  <c:v>0.47284581246173352</c:v>
                </c:pt>
                <c:pt idx="16">
                  <c:v>0.4805980799255315</c:v>
                </c:pt>
                <c:pt idx="17">
                  <c:v>0.48812564398458169</c:v>
                </c:pt>
                <c:pt idx="18">
                  <c:v>0.49543813478480192</c:v>
                </c:pt>
                <c:pt idx="19">
                  <c:v>0.50254463992867793</c:v>
                </c:pt>
                <c:pt idx="20">
                  <c:v>0.50945374215189076</c:v>
                </c:pt>
                <c:pt idx="21">
                  <c:v>0.51617355390323472</c:v>
                </c:pt>
                <c:pt idx="22">
                  <c:v>0.52271174912075868</c:v>
                </c:pt>
                <c:pt idx="23">
                  <c:v>0.52907559246581526</c:v>
                </c:pt>
                <c:pt idx="24">
                  <c:v>0.53527196624915963</c:v>
                </c:pt>
                <c:pt idx="25">
                  <c:v>0.54130739525891081</c:v>
                </c:pt>
                <c:pt idx="26">
                  <c:v>0.5471880696786684</c:v>
                </c:pt>
                <c:pt idx="27">
                  <c:v>0.552919866265014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9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Louis Martin Brut 1er Cru 750ml (0.5%)</c:v>
                </c:pt>
                <c:pt idx="4">
                  <c:v>Champagne Nicolas Feuillatte Réserve Exclusive Brut 750ml (3.0%)</c:v>
                </c:pt>
                <c:pt idx="5">
                  <c:v>Prosecco Carlo V Cuvée Del Imperator 750ml (5.4%)</c:v>
                </c:pt>
                <c:pt idx="6">
                  <c:v>Champagne Besserat de Bellefon Bleu Brut 750ml (1.7%)</c:v>
                </c:pt>
                <c:pt idx="7">
                  <c:v>Champagne E.Nicolas Rosé 750ml (0.9%)</c:v>
                </c:pt>
                <c:pt idx="8">
                  <c:v>Crémant de Bourgogne Patriarche Brut 750ml (1.8%)</c:v>
                </c:pt>
                <c:pt idx="9">
                  <c:v>Champagne Château de Bligny 750ml (1.3%)</c:v>
                </c:pt>
              </c:strCache>
            </c:strRef>
          </c:cat>
          <c:val>
            <c:numRef>
              <c:f>Sheet1!$B$2:$B$11</c:f>
              <c:numCache>
                <c:formatCode>General</c:formatCode>
                <c:ptCount val="10"/>
                <c:pt idx="0">
                  <c:v>0.28615077051776239</c:v>
                </c:pt>
                <c:pt idx="1">
                  <c:v>0.14915285838509501</c:v>
                </c:pt>
                <c:pt idx="2">
                  <c:v>3.9700101858460513E-2</c:v>
                </c:pt>
                <c:pt idx="3">
                  <c:v>3.5950932436315704E-2</c:v>
                </c:pt>
                <c:pt idx="4">
                  <c:v>3.4719456823683319E-2</c:v>
                </c:pt>
                <c:pt idx="5">
                  <c:v>2.7109232036605181E-2</c:v>
                </c:pt>
                <c:pt idx="6">
                  <c:v>2.6486957087346694E-2</c:v>
                </c:pt>
                <c:pt idx="7">
                  <c:v>2.0362010962755372E-2</c:v>
                </c:pt>
                <c:pt idx="8">
                  <c:v>1.8675173845705662E-2</c:v>
                </c:pt>
                <c:pt idx="9">
                  <c:v>1.787575324475324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Louis Martin Brut 1er Cru 750ml (0.5%)</c:v>
                </c:pt>
                <c:pt idx="6">
                  <c:v>Champagne Christophe Lefèvre Cuvée Prestige 750ml (0.4%)</c:v>
                </c:pt>
                <c:pt idx="7">
                  <c:v>Champagne Château de Bligny 750ml (1.3%)</c:v>
                </c:pt>
                <c:pt idx="8">
                  <c:v>Champagne Canard-Duchêne Blanc Cuvée Léonie Brut 750ml (2.6%)</c:v>
                </c:pt>
                <c:pt idx="9">
                  <c:v>Champagne De Saint-Gall Tradition 1er Cru 750ml (0.8%)</c:v>
                </c:pt>
              </c:strCache>
            </c:strRef>
          </c:cat>
          <c:val>
            <c:numRef>
              <c:f>Sheet1!$B$2:$B$11</c:f>
              <c:numCache>
                <c:formatCode>General</c:formatCode>
                <c:ptCount val="10"/>
                <c:pt idx="0">
                  <c:v>0.20511632804636465</c:v>
                </c:pt>
                <c:pt idx="1">
                  <c:v>0.13408376682973139</c:v>
                </c:pt>
                <c:pt idx="2">
                  <c:v>5.7799524468732162E-2</c:v>
                </c:pt>
                <c:pt idx="3">
                  <c:v>4.5899392372245378E-2</c:v>
                </c:pt>
                <c:pt idx="4">
                  <c:v>3.7171700152457396E-2</c:v>
                </c:pt>
                <c:pt idx="5">
                  <c:v>3.3601213184393991E-2</c:v>
                </c:pt>
                <c:pt idx="6">
                  <c:v>3.0318967589769895E-2</c:v>
                </c:pt>
                <c:pt idx="7">
                  <c:v>2.6036489751515117E-2</c:v>
                </c:pt>
                <c:pt idx="8">
                  <c:v>2.3322374966825217E-2</c:v>
                </c:pt>
                <c:pt idx="9">
                  <c:v>2.11689028878835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ranken Demoiselle Rosé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0000000000003</c:v>
                </c:pt>
                <c:pt idx="2">
                  <c:v>39.950000000000003</c:v>
                </c:pt>
                <c:pt idx="3">
                  <c:v>42.95</c:v>
                </c:pt>
                <c:pt idx="4">
                  <c:v>47.95</c:v>
                </c:pt>
              </c:numCache>
            </c:numRef>
          </c:xVal>
          <c:yVal>
            <c:numRef>
              <c:f>Sheet1!$B$2:$B$6</c:f>
              <c:numCache>
                <c:formatCode>General</c:formatCode>
                <c:ptCount val="5"/>
                <c:pt idx="0">
                  <c:v>0.57540044883918595</c:v>
                </c:pt>
                <c:pt idx="1">
                  <c:v>0.24528064742841943</c:v>
                </c:pt>
                <c:pt idx="2">
                  <c:v>0</c:v>
                </c:pt>
                <c:pt idx="3">
                  <c:v>-0.23905985552416864</c:v>
                </c:pt>
                <c:pt idx="4">
                  <c:v>-0.4204853705045710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Vranken Demoiselle Tête d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5.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0000000000003</c:v>
                </c:pt>
                <c:pt idx="2">
                  <c:v>39.950000000000003</c:v>
                </c:pt>
                <c:pt idx="3">
                  <c:v>42.95</c:v>
                </c:pt>
                <c:pt idx="4">
                  <c:v>47.95</c:v>
                </c:pt>
              </c:numCache>
            </c:numRef>
          </c:xVal>
          <c:yVal>
            <c:numRef>
              <c:f>Sheet1!$B$9:$B$13</c:f>
              <c:numCache>
                <c:formatCode>General</c:formatCode>
                <c:ptCount val="5"/>
                <c:pt idx="0">
                  <c:v>1.1283378226834524</c:v>
                </c:pt>
                <c:pt idx="1">
                  <c:v>0.59566882876040195</c:v>
                </c:pt>
                <c:pt idx="2">
                  <c:v>0</c:v>
                </c:pt>
                <c:pt idx="3">
                  <c:v>-0.37691006097898477</c:v>
                </c:pt>
                <c:pt idx="4">
                  <c:v>-0.6039435390884290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1.67360080606178</c:v>
                </c:pt>
                <c:pt idx="1">
                  <c:v>145.65026556612912</c:v>
                </c:pt>
                <c:pt idx="2">
                  <c:v>139.98607677825726</c:v>
                </c:pt>
                <c:pt idx="3">
                  <c:v>134.65382451782267</c:v>
                </c:pt>
                <c:pt idx="4">
                  <c:v>129.62895283405783</c:v>
                </c:pt>
                <c:pt idx="5">
                  <c:v>124.88919298672067</c:v>
                </c:pt>
                <c:pt idx="6">
                  <c:v>121.6839004244558</c:v>
                </c:pt>
                <c:pt idx="7">
                  <c:v>118.78340300343362</c:v>
                </c:pt>
                <c:pt idx="8">
                  <c:v>116.02932050106361</c:v>
                </c:pt>
                <c:pt idx="9">
                  <c:v>113.41000430284518</c:v>
                </c:pt>
                <c:pt idx="10">
                  <c:v>110.91490485479993</c:v>
                </c:pt>
                <c:pt idx="11">
                  <c:v>108.53449209482211</c:v>
                </c:pt>
                <c:pt idx="12">
                  <c:v>106.26017039891158</c:v>
                </c:pt>
                <c:pt idx="13">
                  <c:v>104.08419171322009</c:v>
                </c:pt>
                <c:pt idx="14">
                  <c:v>101.99957006015852</c:v>
                </c:pt>
                <c:pt idx="15">
                  <c:v>100</c:v>
                </c:pt>
                <c:pt idx="16">
                  <c:v>95.507739429475663</c:v>
                </c:pt>
                <c:pt idx="17">
                  <c:v>91.066140584650029</c:v>
                </c:pt>
                <c:pt idx="18">
                  <c:v>86.945165192451725</c:v>
                </c:pt>
                <c:pt idx="19">
                  <c:v>83.117115109724637</c:v>
                </c:pt>
                <c:pt idx="20">
                  <c:v>79.556879903158318</c:v>
                </c:pt>
                <c:pt idx="21">
                  <c:v>76.241708233268753</c:v>
                </c:pt>
                <c:pt idx="22">
                  <c:v>73.150999581951211</c:v>
                </c:pt>
                <c:pt idx="23">
                  <c:v>70.266109164022751</c:v>
                </c:pt>
                <c:pt idx="24">
                  <c:v>67.570163524403043</c:v>
                </c:pt>
                <c:pt idx="25">
                  <c:v>65.047886582482164</c:v>
                </c:pt>
                <c:pt idx="26">
                  <c:v>63.660757117473196</c:v>
                </c:pt>
                <c:pt idx="27">
                  <c:v>62.431563371851261</c:v>
                </c:pt>
                <c:pt idx="28">
                  <c:v>61.24452982583464</c:v>
                </c:pt>
                <c:pt idx="29">
                  <c:v>60.097832956308764</c:v>
                </c:pt>
                <c:pt idx="30">
                  <c:v>58.989743230694067</c:v>
                </c:pt>
                <c:pt idx="31">
                  <c:v>57.9186194049708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3.74322018223542</c:v>
                </c:pt>
                <c:pt idx="1">
                  <c:v>120.61151513575258</c:v>
                </c:pt>
                <c:pt idx="2">
                  <c:v>117.63558823681264</c:v>
                </c:pt>
                <c:pt idx="3">
                  <c:v>114.80519447563981</c:v>
                </c:pt>
                <c:pt idx="4">
                  <c:v>112.11108391631861</c:v>
                </c:pt>
                <c:pt idx="5">
                  <c:v>109.54483850583769</c:v>
                </c:pt>
                <c:pt idx="6">
                  <c:v>108.22674058389549</c:v>
                </c:pt>
                <c:pt idx="7">
                  <c:v>107.10516004588959</c:v>
                </c:pt>
                <c:pt idx="8">
                  <c:v>106.04660934239509</c:v>
                </c:pt>
                <c:pt idx="9">
                  <c:v>105.04562676064833</c:v>
                </c:pt>
                <c:pt idx="10">
                  <c:v>104.0972210210886</c:v>
                </c:pt>
                <c:pt idx="11">
                  <c:v>103.19686111262962</c:v>
                </c:pt>
                <c:pt idx="12">
                  <c:v>102.340455302802</c:v>
                </c:pt>
                <c:pt idx="13">
                  <c:v>101.52432240137681</c:v>
                </c:pt>
                <c:pt idx="14">
                  <c:v>100.74515823564461</c:v>
                </c:pt>
                <c:pt idx="15">
                  <c:v>100</c:v>
                </c:pt>
                <c:pt idx="16">
                  <c:v>96.689747991218383</c:v>
                </c:pt>
                <c:pt idx="17">
                  <c:v>93.321652716492181</c:v>
                </c:pt>
                <c:pt idx="18">
                  <c:v>90.176608849530879</c:v>
                </c:pt>
                <c:pt idx="19">
                  <c:v>87.237326654574488</c:v>
                </c:pt>
                <c:pt idx="20">
                  <c:v>84.487919605672701</c:v>
                </c:pt>
                <c:pt idx="21">
                  <c:v>81.913813470672594</c:v>
                </c:pt>
                <c:pt idx="22">
                  <c:v>79.501661575662851</c:v>
                </c:pt>
                <c:pt idx="23">
                  <c:v>77.239259982821267</c:v>
                </c:pt>
                <c:pt idx="24">
                  <c:v>75.115460795489966</c:v>
                </c:pt>
                <c:pt idx="25">
                  <c:v>73.120084109265662</c:v>
                </c:pt>
                <c:pt idx="26">
                  <c:v>72.349081520395956</c:v>
                </c:pt>
                <c:pt idx="27">
                  <c:v>71.724946368855015</c:v>
                </c:pt>
                <c:pt idx="28">
                  <c:v>71.119451519110854</c:v>
                </c:pt>
                <c:pt idx="29">
                  <c:v>70.532010179628514</c:v>
                </c:pt>
                <c:pt idx="30">
                  <c:v>69.962057840446974</c:v>
                </c:pt>
                <c:pt idx="31">
                  <c:v>69.40905116005794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2.296738062286281</c:v>
                </c:pt>
                <c:pt idx="1">
                  <c:v>83.469979299196382</c:v>
                </c:pt>
                <c:pt idx="2">
                  <c:v>84.492643431942128</c:v>
                </c:pt>
                <c:pt idx="3">
                  <c:v>85.380332746806076</c:v>
                </c:pt>
                <c:pt idx="4">
                  <c:v>86.147094322741495</c:v>
                </c:pt>
                <c:pt idx="5">
                  <c:v>86.805569759061697</c:v>
                </c:pt>
                <c:pt idx="6">
                  <c:v>88.288317226022244</c:v>
                </c:pt>
                <c:pt idx="7">
                  <c:v>89.806020685570871</c:v>
                </c:pt>
                <c:pt idx="8">
                  <c:v>91.261990568396413</c:v>
                </c:pt>
                <c:pt idx="9">
                  <c:v>92.660103831107833</c:v>
                </c:pt>
                <c:pt idx="10">
                  <c:v>94.003748069316529</c:v>
                </c:pt>
                <c:pt idx="11">
                  <c:v>95.295919227803722</c:v>
                </c:pt>
                <c:pt idx="12">
                  <c:v>96.5392997691944</c:v>
                </c:pt>
                <c:pt idx="13">
                  <c:v>97.736319577344872</c:v>
                </c:pt>
                <c:pt idx="14">
                  <c:v>98.889202299220742</c:v>
                </c:pt>
                <c:pt idx="15">
                  <c:v>100</c:v>
                </c:pt>
                <c:pt idx="16">
                  <c:v>98.420145760857991</c:v>
                </c:pt>
                <c:pt idx="17">
                  <c:v>96.620069637889358</c:v>
                </c:pt>
                <c:pt idx="18">
                  <c:v>94.899064565493447</c:v>
                </c:pt>
                <c:pt idx="19">
                  <c:v>93.255385107018256</c:v>
                </c:pt>
                <c:pt idx="20">
                  <c:v>91.686889581906684</c:v>
                </c:pt>
                <c:pt idx="21">
                  <c:v>90.191164168487887</c:v>
                </c:pt>
                <c:pt idx="22">
                  <c:v>88.765629864423374</c:v>
                </c:pt>
                <c:pt idx="23">
                  <c:v>87.407627741123207</c:v>
                </c:pt>
                <c:pt idx="24">
                  <c:v>86.114482122341769</c:v>
                </c:pt>
                <c:pt idx="25">
                  <c:v>84.883543656718672</c:v>
                </c:pt>
                <c:pt idx="26">
                  <c:v>85.014690580537902</c:v>
                </c:pt>
                <c:pt idx="27">
                  <c:v>85.276968135289238</c:v>
                </c:pt>
                <c:pt idx="28">
                  <c:v>85.523153185641789</c:v>
                </c:pt>
                <c:pt idx="29">
                  <c:v>85.754500609612293</c:v>
                </c:pt>
                <c:pt idx="30">
                  <c:v>85.972179842318624</c:v>
                </c:pt>
                <c:pt idx="31">
                  <c:v>86.17728072269903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745896844328069</c:v>
                </c:pt>
                <c:pt idx="1">
                  <c:v>0.28561415731376721</c:v>
                </c:pt>
                <c:pt idx="2">
                  <c:v>0.29630855615637558</c:v>
                </c:pt>
                <c:pt idx="3">
                  <c:v>0.3066874860065763</c:v>
                </c:pt>
                <c:pt idx="4">
                  <c:v>0.31676470277973656</c:v>
                </c:pt>
                <c:pt idx="5">
                  <c:v>0.32655317408661727</c:v>
                </c:pt>
                <c:pt idx="6">
                  <c:v>0.33606513490460288</c:v>
                </c:pt>
                <c:pt idx="7">
                  <c:v>0.34531213859673926</c:v>
                </c:pt>
                <c:pt idx="8">
                  <c:v>0.35430510372590501</c:v>
                </c:pt>
                <c:pt idx="9">
                  <c:v>0.36305435706295225</c:v>
                </c:pt>
                <c:pt idx="10">
                  <c:v>0.37156967314499834</c:v>
                </c:pt>
                <c:pt idx="11">
                  <c:v>0.37986031070245224</c:v>
                </c:pt>
                <c:pt idx="12">
                  <c:v>0.38793504624018077</c:v>
                </c:pt>
                <c:pt idx="13">
                  <c:v>0.39580220502886732</c:v>
                </c:pt>
                <c:pt idx="14">
                  <c:v>0.40346968973662284</c:v>
                </c:pt>
                <c:pt idx="15">
                  <c:v>0.41094500690784319</c:v>
                </c:pt>
                <c:pt idx="16">
                  <c:v>0.4182352914758154</c:v>
                </c:pt>
                <c:pt idx="17">
                  <c:v>0.42534732947733356</c:v>
                </c:pt>
                <c:pt idx="18">
                  <c:v>0.43228757912132704</c:v>
                </c:pt>
                <c:pt idx="19">
                  <c:v>0.43906219034899624</c:v>
                </c:pt>
                <c:pt idx="20">
                  <c:v>0.44567702300997503</c:v>
                </c:pt>
                <c:pt idx="21">
                  <c:v>0.45213766376743453</c:v>
                </c:pt>
                <c:pt idx="22">
                  <c:v>0.45844944183462999</c:v>
                </c:pt>
                <c:pt idx="23">
                  <c:v>0.46461744363605789</c:v>
                </c:pt>
                <c:pt idx="24">
                  <c:v>0.47064652647799415</c:v>
                </c:pt>
                <c:pt idx="25">
                  <c:v>0.47654133130563348</c:v>
                </c:pt>
                <c:pt idx="26">
                  <c:v>0.48230629461724533</c:v>
                </c:pt>
                <c:pt idx="27">
                  <c:v>0.48794565959962849</c:v>
                </c:pt>
                <c:pt idx="28">
                  <c:v>0.49346348654359784</c:v>
                </c:pt>
                <c:pt idx="29">
                  <c:v>0.49886366259323961</c:v>
                </c:pt>
                <c:pt idx="30">
                  <c:v>0.50414991087812111</c:v>
                </c:pt>
                <c:pt idx="31">
                  <c:v>0.50932579907354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Vranken Demoiselle Tête de Cuvée 750ml (1.4%)</c:v>
                </c:pt>
                <c:pt idx="4">
                  <c:v>Champagne Heidsieck Monopole Silver Top 750ml (4.2%)</c:v>
                </c:pt>
                <c:pt idx="5">
                  <c:v>Champagne Ruinart Brut 750ml (7.3%)</c:v>
                </c:pt>
                <c:pt idx="6">
                  <c:v>Champagne Canard-Duchêne Blanc Cuvée Léonie Brut 750ml (2.6%)</c:v>
                </c:pt>
                <c:pt idx="7">
                  <c:v>Prosecco Carlo V Cuvée Del Imperator 750ml (5.4%)</c:v>
                </c:pt>
                <c:pt idx="8">
                  <c:v>Champagne Laurent-Perrier Blanc La Cuvée 750ml (2.7%)</c:v>
                </c:pt>
                <c:pt idx="9">
                  <c:v>Champagne Nicolas Feuillatte Réserve Exclusive Rosé 750ml (0.7%)</c:v>
                </c:pt>
              </c:strCache>
            </c:strRef>
          </c:cat>
          <c:val>
            <c:numRef>
              <c:f>Sheet1!$B$2:$B$11</c:f>
              <c:numCache>
                <c:formatCode>General</c:formatCode>
                <c:ptCount val="10"/>
                <c:pt idx="0">
                  <c:v>7.9056698928491292E-2</c:v>
                </c:pt>
                <c:pt idx="1">
                  <c:v>7.2097863108802313E-2</c:v>
                </c:pt>
                <c:pt idx="2">
                  <c:v>5.9957076203849755E-2</c:v>
                </c:pt>
                <c:pt idx="3">
                  <c:v>5.1562497146891852E-2</c:v>
                </c:pt>
                <c:pt idx="4">
                  <c:v>4.9534493194756481E-2</c:v>
                </c:pt>
                <c:pt idx="5">
                  <c:v>3.8753698876669934E-2</c:v>
                </c:pt>
                <c:pt idx="6">
                  <c:v>3.6019547211096799E-2</c:v>
                </c:pt>
                <c:pt idx="7">
                  <c:v>3.1626031475809287E-2</c:v>
                </c:pt>
                <c:pt idx="8">
                  <c:v>3.1073131616467995E-2</c:v>
                </c:pt>
                <c:pt idx="9">
                  <c:v>2.4231164328928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Malard (6.0%)</c:v>
                </c:pt>
                <c:pt idx="3">
                  <c:v>Besserat De Bellefon (2.0%)</c:v>
                </c:pt>
                <c:pt idx="4">
                  <c:v>Nicolas Feuillatte (4.5%)</c:v>
                </c:pt>
                <c:pt idx="5">
                  <c:v>Deutz (4.8%)</c:v>
                </c:pt>
                <c:pt idx="6">
                  <c:v>Demoiselle (3.5%)</c:v>
                </c:pt>
                <c:pt idx="7">
                  <c:v>Vesselle (1.0%)</c:v>
                </c:pt>
                <c:pt idx="8">
                  <c:v>Laurent Perrier (3.9%)</c:v>
                </c:pt>
                <c:pt idx="9">
                  <c:v>Ruinart (12.8%)</c:v>
                </c:pt>
              </c:strCache>
            </c:strRef>
          </c:cat>
          <c:val>
            <c:numRef>
              <c:f>Sheet1!$B$2:$B$11</c:f>
              <c:numCache>
                <c:formatCode>General</c:formatCode>
                <c:ptCount val="10"/>
                <c:pt idx="0">
                  <c:v>0.12382547277961234</c:v>
                </c:pt>
                <c:pt idx="1">
                  <c:v>0.12166875515479203</c:v>
                </c:pt>
                <c:pt idx="2">
                  <c:v>9.197154762224323E-2</c:v>
                </c:pt>
                <c:pt idx="3">
                  <c:v>6.5411644131251778E-2</c:v>
                </c:pt>
                <c:pt idx="4">
                  <c:v>6.1873565999110994E-2</c:v>
                </c:pt>
                <c:pt idx="5">
                  <c:v>5.8002225834523913E-2</c:v>
                </c:pt>
                <c:pt idx="6">
                  <c:v>3.9100795961033358E-2</c:v>
                </c:pt>
                <c:pt idx="7">
                  <c:v>3.4877461079109141E-2</c:v>
                </c:pt>
                <c:pt idx="8">
                  <c:v>3.4827428489294258E-2</c:v>
                </c:pt>
                <c:pt idx="9">
                  <c:v>3.16237501124931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Vranken Demoiselle Tête de Cuvée 750ml (1.4%)</c:v>
                </c:pt>
                <c:pt idx="3">
                  <c:v>Champagne Ruinart Brut 750ml (7.3%)</c:v>
                </c:pt>
                <c:pt idx="4">
                  <c:v>Champagne Malard Brut 1er Cru 750ml (4.1%)</c:v>
                </c:pt>
                <c:pt idx="5">
                  <c:v>Champagne Laurent-Perrier Blanc La Cuvée 750ml (2.7%)</c:v>
                </c:pt>
                <c:pt idx="6">
                  <c:v>Champagne Heidsieck Monopole Silver Top 750ml (4.2%)</c:v>
                </c:pt>
                <c:pt idx="7">
                  <c:v>Prosecco Carlo V Cuvée Del Imperator 750ml (5.4%)</c:v>
                </c:pt>
                <c:pt idx="8">
                  <c:v>Champagne Nicolas Feuillatte Réserve Exclusive Rosé 750ml (0.7%)</c:v>
                </c:pt>
                <c:pt idx="9">
                  <c:v>Champagne Canard-Duchêne Blanc Cuvée Léonie Brut 750ml (2.6%)</c:v>
                </c:pt>
              </c:strCache>
            </c:strRef>
          </c:cat>
          <c:val>
            <c:numRef>
              <c:f>Sheet1!$B$2:$B$11</c:f>
              <c:numCache>
                <c:formatCode>General</c:formatCode>
                <c:ptCount val="10"/>
                <c:pt idx="0">
                  <c:v>6.2842051048536116E-2</c:v>
                </c:pt>
                <c:pt idx="1">
                  <c:v>5.8012528258140177E-2</c:v>
                </c:pt>
                <c:pt idx="2">
                  <c:v>5.5000233011647214E-2</c:v>
                </c:pt>
                <c:pt idx="3">
                  <c:v>4.4820200840287844E-2</c:v>
                </c:pt>
                <c:pt idx="4">
                  <c:v>4.3215717667264078E-2</c:v>
                </c:pt>
                <c:pt idx="5">
                  <c:v>3.9357725139397226E-2</c:v>
                </c:pt>
                <c:pt idx="6">
                  <c:v>3.5315456046672133E-2</c:v>
                </c:pt>
                <c:pt idx="7">
                  <c:v>3.1267725527596428E-2</c:v>
                </c:pt>
                <c:pt idx="8">
                  <c:v>2.8387146071178114E-2</c:v>
                </c:pt>
                <c:pt idx="9">
                  <c:v>2.67704099846984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3.30344952204783</c:v>
                </c:pt>
                <c:pt idx="1">
                  <c:v>193.39012829351967</c:v>
                </c:pt>
                <c:pt idx="2">
                  <c:v>184.23907781677295</c:v>
                </c:pt>
                <c:pt idx="3">
                  <c:v>175.76904869894108</c:v>
                </c:pt>
                <c:pt idx="4">
                  <c:v>167.90832955438907</c:v>
                </c:pt>
                <c:pt idx="5">
                  <c:v>160.59406888717913</c:v>
                </c:pt>
                <c:pt idx="6">
                  <c:v>152.14974087581584</c:v>
                </c:pt>
                <c:pt idx="7">
                  <c:v>144.22733292575032</c:v>
                </c:pt>
                <c:pt idx="8">
                  <c:v>136.96138925208015</c:v>
                </c:pt>
                <c:pt idx="9">
                  <c:v>130.29382229608996</c:v>
                </c:pt>
                <c:pt idx="10">
                  <c:v>124.16912313662824</c:v>
                </c:pt>
                <c:pt idx="11">
                  <c:v>118.53510215354328</c:v>
                </c:pt>
                <c:pt idx="12">
                  <c:v>113.34339105643278</c:v>
                </c:pt>
                <c:pt idx="13">
                  <c:v>108.54971112650816</c:v>
                </c:pt>
                <c:pt idx="14">
                  <c:v>104.1139371162805</c:v>
                </c:pt>
                <c:pt idx="15">
                  <c:v>100</c:v>
                </c:pt>
                <c:pt idx="16">
                  <c:v>92.1442021350868</c:v>
                </c:pt>
                <c:pt idx="17">
                  <c:v>84.739062021153913</c:v>
                </c:pt>
                <c:pt idx="18">
                  <c:v>78.151759203062284</c:v>
                </c:pt>
                <c:pt idx="19">
                  <c:v>72.279118755831135</c:v>
                </c:pt>
                <c:pt idx="20">
                  <c:v>67.030999043108338</c:v>
                </c:pt>
                <c:pt idx="21">
                  <c:v>62.328872443766748</c:v>
                </c:pt>
                <c:pt idx="22">
                  <c:v>58.104500584260229</c:v>
                </c:pt>
                <c:pt idx="23">
                  <c:v>54.29871037685929</c:v>
                </c:pt>
                <c:pt idx="24">
                  <c:v>50.860272463683728</c:v>
                </c:pt>
                <c:pt idx="25">
                  <c:v>47.744882204995974</c:v>
                </c:pt>
                <c:pt idx="26">
                  <c:v>46.063589179115603</c:v>
                </c:pt>
                <c:pt idx="27">
                  <c:v>44.596150018712741</c:v>
                </c:pt>
                <c:pt idx="28">
                  <c:v>43.200408330739506</c:v>
                </c:pt>
                <c:pt idx="29">
                  <c:v>41.871875938095073</c:v>
                </c:pt>
                <c:pt idx="30">
                  <c:v>40.606399324214443</c:v>
                </c:pt>
                <c:pt idx="31">
                  <c:v>39.4001318593287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5.72562998024978</c:v>
                </c:pt>
                <c:pt idx="1">
                  <c:v>160.01128068508024</c:v>
                </c:pt>
                <c:pt idx="2">
                  <c:v>154.69684044465964</c:v>
                </c:pt>
                <c:pt idx="3">
                  <c:v>149.74056880023352</c:v>
                </c:pt>
                <c:pt idx="4">
                  <c:v>145.10509280363459</c:v>
                </c:pt>
                <c:pt idx="5">
                  <c:v>140.75737259833716</c:v>
                </c:pt>
                <c:pt idx="6">
                  <c:v>135.22696044985898</c:v>
                </c:pt>
                <c:pt idx="7">
                  <c:v>129.96151207997301</c:v>
                </c:pt>
                <c:pt idx="8">
                  <c:v>125.10262434100763</c:v>
                </c:pt>
                <c:pt idx="9">
                  <c:v>120.62024992352178</c:v>
                </c:pt>
                <c:pt idx="10">
                  <c:v>116.48401410408475</c:v>
                </c:pt>
                <c:pt idx="11">
                  <c:v>112.66405539335732</c:v>
                </c:pt>
                <c:pt idx="12">
                  <c:v>109.13169420997536</c:v>
                </c:pt>
                <c:pt idx="13">
                  <c:v>105.85991379425086</c:v>
                </c:pt>
                <c:pt idx="14">
                  <c:v>102.82366211233247</c:v>
                </c:pt>
                <c:pt idx="15">
                  <c:v>100</c:v>
                </c:pt>
                <c:pt idx="16">
                  <c:v>93.2917445053873</c:v>
                </c:pt>
                <c:pt idx="17">
                  <c:v>86.851012012763178</c:v>
                </c:pt>
                <c:pt idx="18">
                  <c:v>81.074641933179123</c:v>
                </c:pt>
                <c:pt idx="19">
                  <c:v>75.884669358024126</c:v>
                </c:pt>
                <c:pt idx="20">
                  <c:v>71.21190544734651</c:v>
                </c:pt>
                <c:pt idx="21">
                  <c:v>66.995201672638686</c:v>
                </c:pt>
                <c:pt idx="22">
                  <c:v>63.180717102423337</c:v>
                </c:pt>
                <c:pt idx="23">
                  <c:v>59.721202211105428</c:v>
                </c:pt>
                <c:pt idx="24">
                  <c:v>56.5753084925392</c:v>
                </c:pt>
                <c:pt idx="25">
                  <c:v>53.706931993922645</c:v>
                </c:pt>
                <c:pt idx="26">
                  <c:v>52.390221650961756</c:v>
                </c:pt>
                <c:pt idx="27">
                  <c:v>51.277400544931325</c:v>
                </c:pt>
                <c:pt idx="28">
                  <c:v>50.211412956084764</c:v>
                </c:pt>
                <c:pt idx="29">
                  <c:v>49.189653233357703</c:v>
                </c:pt>
                <c:pt idx="30">
                  <c:v>48.209691229120253</c:v>
                </c:pt>
                <c:pt idx="31">
                  <c:v>47.2692595677259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05.23824328217857</c:v>
                </c:pt>
                <c:pt idx="1">
                  <c:v>106.32559494162193</c:v>
                </c:pt>
                <c:pt idx="2">
                  <c:v>107.21898406749789</c:v>
                </c:pt>
                <c:pt idx="3">
                  <c:v>107.94205195384947</c:v>
                </c:pt>
                <c:pt idx="4">
                  <c:v>108.51415299569065</c:v>
                </c:pt>
                <c:pt idx="5">
                  <c:v>108.95142821598844</c:v>
                </c:pt>
                <c:pt idx="6">
                  <c:v>108.11528178501293</c:v>
                </c:pt>
                <c:pt idx="7">
                  <c:v>107.12369451189939</c:v>
                </c:pt>
                <c:pt idx="8">
                  <c:v>106.13127515142264</c:v>
                </c:pt>
                <c:pt idx="9">
                  <c:v>105.15447402573754</c:v>
                </c:pt>
                <c:pt idx="10">
                  <c:v>104.2044337398281</c:v>
                </c:pt>
                <c:pt idx="11">
                  <c:v>103.28804918363875</c:v>
                </c:pt>
                <c:pt idx="12">
                  <c:v>102.40895482723373</c:v>
                </c:pt>
                <c:pt idx="13">
                  <c:v>101.56839012815178</c:v>
                </c:pt>
                <c:pt idx="14">
                  <c:v>100.76591892319502</c:v>
                </c:pt>
                <c:pt idx="15">
                  <c:v>100</c:v>
                </c:pt>
                <c:pt idx="16">
                  <c:v>95.107306534751103</c:v>
                </c:pt>
                <c:pt idx="17">
                  <c:v>90.189012895549652</c:v>
                </c:pt>
                <c:pt idx="18">
                  <c:v>85.691196829206234</c:v>
                </c:pt>
                <c:pt idx="19">
                  <c:v>81.576310324120016</c:v>
                </c:pt>
                <c:pt idx="20">
                  <c:v>77.808662942533118</c:v>
                </c:pt>
                <c:pt idx="21">
                  <c:v>74.354824281310229</c:v>
                </c:pt>
                <c:pt idx="22">
                  <c:v>71.183868372195064</c:v>
                </c:pt>
                <c:pt idx="23">
                  <c:v>68.267489215739801</c:v>
                </c:pt>
                <c:pt idx="24">
                  <c:v>65.580012203346755</c:v>
                </c:pt>
                <c:pt idx="25">
                  <c:v>63.098324662034202</c:v>
                </c:pt>
                <c:pt idx="26">
                  <c:v>62.357652468843703</c:v>
                </c:pt>
                <c:pt idx="27">
                  <c:v>61.80522604519674</c:v>
                </c:pt>
                <c:pt idx="28">
                  <c:v>61.26009218863171</c:v>
                </c:pt>
                <c:pt idx="29">
                  <c:v>60.722658919042892</c:v>
                </c:pt>
                <c:pt idx="30">
                  <c:v>60.193253033530048</c:v>
                </c:pt>
                <c:pt idx="31">
                  <c:v>59.6721318514409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484133302476369</c:v>
                </c:pt>
                <c:pt idx="1">
                  <c:v>0.25983562006150251</c:v>
                </c:pt>
                <c:pt idx="2">
                  <c:v>0.27091592515040219</c:v>
                </c:pt>
                <c:pt idx="3">
                  <c:v>0.28166937758181204</c:v>
                </c:pt>
                <c:pt idx="4">
                  <c:v>0.29211022965184386</c:v>
                </c:pt>
                <c:pt idx="5">
                  <c:v>0.30225191690611547</c:v>
                </c:pt>
                <c:pt idx="6">
                  <c:v>0.31210711581987094</c:v>
                </c:pt>
                <c:pt idx="7">
                  <c:v>0.32168779665803432</c:v>
                </c:pt>
                <c:pt idx="8">
                  <c:v>0.33100527197866558</c:v>
                </c:pt>
                <c:pt idx="9">
                  <c:v>0.34007024119304702</c:v>
                </c:pt>
                <c:pt idx="10">
                  <c:v>0.34889283155142869</c:v>
                </c:pt>
                <c:pt idx="11">
                  <c:v>0.35748263588452334</c:v>
                </c:pt>
                <c:pt idx="12">
                  <c:v>0.36584874739644363</c:v>
                </c:pt>
                <c:pt idx="13">
                  <c:v>0.37399979177438136</c:v>
                </c:pt>
                <c:pt idx="14">
                  <c:v>0.38194395685338656</c:v>
                </c:pt>
                <c:pt idx="15">
                  <c:v>0.38968902005071254</c:v>
                </c:pt>
                <c:pt idx="16">
                  <c:v>0.39724237376295629</c:v>
                </c:pt>
                <c:pt idx="17">
                  <c:v>0.40461104890032856</c:v>
                </c:pt>
                <c:pt idx="18">
                  <c:v>0.41180173671554188</c:v>
                </c:pt>
                <c:pt idx="19">
                  <c:v>0.41882080906977154</c:v>
                </c:pt>
                <c:pt idx="20">
                  <c:v>0.42567433726470366</c:v>
                </c:pt>
                <c:pt idx="21">
                  <c:v>0.4323681095576557</c:v>
                </c:pt>
                <c:pt idx="22">
                  <c:v>0.43890764746597777</c:v>
                </c:pt>
                <c:pt idx="23">
                  <c:v>0.44529822095725347</c:v>
                </c:pt>
                <c:pt idx="24">
                  <c:v>0.45154486261314042</c:v>
                </c:pt>
                <c:pt idx="25">
                  <c:v>0.45765238084684712</c:v>
                </c:pt>
                <c:pt idx="26">
                  <c:v>0.46362537224721212</c:v>
                </c:pt>
                <c:pt idx="27">
                  <c:v>0.46946823311597885</c:v>
                </c:pt>
                <c:pt idx="28">
                  <c:v>0.47518517025912566</c:v>
                </c:pt>
                <c:pt idx="29">
                  <c:v>0.48078021108791963</c:v>
                </c:pt>
                <c:pt idx="30">
                  <c:v>0.48625721308066316</c:v>
                </c:pt>
                <c:pt idx="31">
                  <c:v>0.49161987265184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4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Canard-Duchêne Blanc Cuvée Léonie Brut 750ml (2.6%)</c:v>
                </c:pt>
                <c:pt idx="3">
                  <c:v>Champagne Nicolas Feuillatte Réserve Exclusive Brut 750ml (3.0%)</c:v>
                </c:pt>
                <c:pt idx="4">
                  <c:v>Champagne E.Nicolas Brut 750ml (11.6%)</c:v>
                </c:pt>
                <c:pt idx="5">
                  <c:v>Champagne Vranken Demoiselle Rosé Prestige 750ml (2.0%)</c:v>
                </c:pt>
                <c:pt idx="6">
                  <c:v>Champagne Laurent-Perrier Blanc La Cuvée 750ml (2.7%)</c:v>
                </c:pt>
                <c:pt idx="7">
                  <c:v>Champagne Besserat de Bellefon Bleu Brut 750ml (1.7%)</c:v>
                </c:pt>
                <c:pt idx="8">
                  <c:v>Prosecco Carlo V Cuvée Del Imperator 750ml (5.4%)</c:v>
                </c:pt>
                <c:pt idx="9">
                  <c:v>Champagne Château de Bligny 750ml (1.3%)</c:v>
                </c:pt>
              </c:strCache>
            </c:strRef>
          </c:cat>
          <c:val>
            <c:numRef>
              <c:f>Sheet1!$B$2:$B$11</c:f>
              <c:numCache>
                <c:formatCode>General</c:formatCode>
                <c:ptCount val="10"/>
                <c:pt idx="0">
                  <c:v>0.13947439436138437</c:v>
                </c:pt>
                <c:pt idx="1">
                  <c:v>0.11531499710410956</c:v>
                </c:pt>
                <c:pt idx="2">
                  <c:v>8.6418007074072184E-2</c:v>
                </c:pt>
                <c:pt idx="3">
                  <c:v>7.815637730349928E-2</c:v>
                </c:pt>
                <c:pt idx="4">
                  <c:v>6.8425432991911977E-2</c:v>
                </c:pt>
                <c:pt idx="5">
                  <c:v>3.1064599255840434E-2</c:v>
                </c:pt>
                <c:pt idx="6">
                  <c:v>2.5120715682893893E-2</c:v>
                </c:pt>
                <c:pt idx="7">
                  <c:v>2.4275239545081234E-2</c:v>
                </c:pt>
                <c:pt idx="8">
                  <c:v>2.1684065640568906E-2</c:v>
                </c:pt>
                <c:pt idx="9">
                  <c:v>2.13090475959077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Canard-Duchêne Blanc Cuvée Léonie Brut 750ml (2.6%)</c:v>
                </c:pt>
                <c:pt idx="4">
                  <c:v>Champagne E.Nicolas Brut 750ml (11.6%)</c:v>
                </c:pt>
                <c:pt idx="5">
                  <c:v>Champagne Vranken Demoiselle Rosé Prestige 750ml (2.0%)</c:v>
                </c:pt>
                <c:pt idx="6">
                  <c:v>Champagne Laurent-Perrier Blanc La Cuvée 750ml (2.7%)</c:v>
                </c:pt>
                <c:pt idx="7">
                  <c:v>Champagne Ruinart Brut 750ml (7.3%)</c:v>
                </c:pt>
                <c:pt idx="8">
                  <c:v>Champagne Besserat de Bellefon Bleu Brut 750ml (1.7%)</c:v>
                </c:pt>
                <c:pt idx="9">
                  <c:v>Prosecco Carlo V Cuvée Del Imperator 750ml (5.4%)</c:v>
                </c:pt>
              </c:strCache>
            </c:strRef>
          </c:cat>
          <c:val>
            <c:numRef>
              <c:f>Sheet1!$B$2:$B$11</c:f>
              <c:numCache>
                <c:formatCode>General</c:formatCode>
                <c:ptCount val="10"/>
                <c:pt idx="0">
                  <c:v>9.239358776789211E-2</c:v>
                </c:pt>
                <c:pt idx="1">
                  <c:v>7.2672742447005653E-2</c:v>
                </c:pt>
                <c:pt idx="2">
                  <c:v>6.776154923543011E-2</c:v>
                </c:pt>
                <c:pt idx="3">
                  <c:v>6.6710480646380313E-2</c:v>
                </c:pt>
                <c:pt idx="4">
                  <c:v>6.1428519009181802E-2</c:v>
                </c:pt>
                <c:pt idx="5">
                  <c:v>4.7909630205100855E-2</c:v>
                </c:pt>
                <c:pt idx="6">
                  <c:v>4.56080323336173E-2</c:v>
                </c:pt>
                <c:pt idx="7">
                  <c:v>3.2369798887174943E-2</c:v>
                </c:pt>
                <c:pt idx="8">
                  <c:v>2.4279153413805037E-2</c:v>
                </c:pt>
                <c:pt idx="9">
                  <c:v>2.33305146436974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idsieck Monopole Silver Top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0000000000003</c:v>
                </c:pt>
                <c:pt idx="3">
                  <c:v>39.950000000000003</c:v>
                </c:pt>
                <c:pt idx="4">
                  <c:v>42.95</c:v>
                </c:pt>
              </c:numCache>
            </c:numRef>
          </c:xVal>
          <c:yVal>
            <c:numRef>
              <c:f>Sheet1!$B$2:$B$6</c:f>
              <c:numCache>
                <c:formatCode>General</c:formatCode>
                <c:ptCount val="5"/>
                <c:pt idx="0">
                  <c:v>0.65835451229312525</c:v>
                </c:pt>
                <c:pt idx="1">
                  <c:v>0.23893001997646743</c:v>
                </c:pt>
                <c:pt idx="2">
                  <c:v>0</c:v>
                </c:pt>
                <c:pt idx="3">
                  <c:v>-0.38124929931320739</c:v>
                </c:pt>
                <c:pt idx="4">
                  <c:v>-0.6460305085295905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159.85891714933197</c:v>
                </c:pt>
                <c:pt idx="1">
                  <c:v>154.88783072708813</c:v>
                </c:pt>
                <c:pt idx="2">
                  <c:v>150.10648455638398</c:v>
                </c:pt>
                <c:pt idx="3">
                  <c:v>145.50480522125255</c:v>
                </c:pt>
                <c:pt idx="4">
                  <c:v>139.70642000849787</c:v>
                </c:pt>
                <c:pt idx="5">
                  <c:v>134.06641257577368</c:v>
                </c:pt>
                <c:pt idx="6">
                  <c:v>128.74934246222139</c:v>
                </c:pt>
                <c:pt idx="7">
                  <c:v>123.75697277658509</c:v>
                </c:pt>
                <c:pt idx="8">
                  <c:v>119.08511757131714</c:v>
                </c:pt>
                <c:pt idx="9">
                  <c:v>114.72303693168951</c:v>
                </c:pt>
                <c:pt idx="10">
                  <c:v>110.65439345059104</c:v>
                </c:pt>
                <c:pt idx="11">
                  <c:v>106.85905045242623</c:v>
                </c:pt>
                <c:pt idx="12">
                  <c:v>103.31500369251654</c:v>
                </c:pt>
                <c:pt idx="13">
                  <c:v>100</c:v>
                </c:pt>
                <c:pt idx="14">
                  <c:v>95.343483782010154</c:v>
                </c:pt>
                <c:pt idx="15">
                  <c:v>90.76503128031554</c:v>
                </c:pt>
                <c:pt idx="16">
                  <c:v>86.428489921856226</c:v>
                </c:pt>
                <c:pt idx="17">
                  <c:v>82.322270184920185</c:v>
                </c:pt>
                <c:pt idx="18">
                  <c:v>78.434699379172898</c:v>
                </c:pt>
                <c:pt idx="19">
                  <c:v>74.754278544363601</c:v>
                </c:pt>
                <c:pt idx="20">
                  <c:v>71.269940743242756</c:v>
                </c:pt>
                <c:pt idx="21">
                  <c:v>67.971255831488477</c:v>
                </c:pt>
                <c:pt idx="22">
                  <c:v>64.848547244686131</c:v>
                </c:pt>
                <c:pt idx="23">
                  <c:v>61.892916573048304</c:v>
                </c:pt>
                <c:pt idx="24">
                  <c:v>56.663643060873213</c:v>
                </c:pt>
                <c:pt idx="25">
                  <c:v>51.618501079135292</c:v>
                </c:pt>
                <c:pt idx="26">
                  <c:v>47.013849565003305</c:v>
                </c:pt>
                <c:pt idx="27">
                  <c:v>42.820585358293968</c:v>
                </c:pt>
                <c:pt idx="28">
                  <c:v>39.010950477079696</c:v>
                </c:pt>
                <c:pt idx="29">
                  <c:v>35.5582558410803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31.42983652833018</c:v>
                </c:pt>
                <c:pt idx="1">
                  <c:v>129.44089594983404</c:v>
                </c:pt>
                <c:pt idx="2">
                  <c:v>127.48120873544049</c:v>
                </c:pt>
                <c:pt idx="3">
                  <c:v>125.54951389126046</c:v>
                </c:pt>
                <c:pt idx="4">
                  <c:v>122.44754384071106</c:v>
                </c:pt>
                <c:pt idx="5">
                  <c:v>119.33261317269464</c:v>
                </c:pt>
                <c:pt idx="6">
                  <c:v>116.35921478509333</c:v>
                </c:pt>
                <c:pt idx="7">
                  <c:v>113.54152941187475</c:v>
                </c:pt>
                <c:pt idx="8">
                  <c:v>110.88834305397499</c:v>
                </c:pt>
                <c:pt idx="9">
                  <c:v>108.40209176505253</c:v>
                </c:pt>
                <c:pt idx="10">
                  <c:v>106.07934436044768</c:v>
                </c:pt>
                <c:pt idx="11">
                  <c:v>103.91217071657522</c:v>
                </c:pt>
                <c:pt idx="12">
                  <c:v>101.8897801269173</c:v>
                </c:pt>
                <c:pt idx="13">
                  <c:v>100</c:v>
                </c:pt>
                <c:pt idx="14">
                  <c:v>96.653605612989125</c:v>
                </c:pt>
                <c:pt idx="15">
                  <c:v>93.261096085997593</c:v>
                </c:pt>
                <c:pt idx="16">
                  <c:v>89.996647117372646</c:v>
                </c:pt>
                <c:pt idx="17">
                  <c:v>86.857623318358236</c:v>
                </c:pt>
                <c:pt idx="18">
                  <c:v>83.840722547015062</c:v>
                </c:pt>
                <c:pt idx="19">
                  <c:v>80.942238998604893</c:v>
                </c:pt>
                <c:pt idx="20">
                  <c:v>78.158349629199094</c:v>
                </c:pt>
                <c:pt idx="21">
                  <c:v>75.485363421309444</c:v>
                </c:pt>
                <c:pt idx="22">
                  <c:v>72.919890011740378</c:v>
                </c:pt>
                <c:pt idx="23">
                  <c:v>70.458914608667868</c:v>
                </c:pt>
                <c:pt idx="24">
                  <c:v>65.299758316366535</c:v>
                </c:pt>
                <c:pt idx="25">
                  <c:v>60.210780883237938</c:v>
                </c:pt>
                <c:pt idx="26">
                  <c:v>55.501444738204455</c:v>
                </c:pt>
                <c:pt idx="27">
                  <c:v>51.155068375613986</c:v>
                </c:pt>
                <c:pt idx="28">
                  <c:v>47.15506726088713</c:v>
                </c:pt>
                <c:pt idx="29">
                  <c:v>43.4846936901964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84.961816899538192</c:v>
                </c:pt>
                <c:pt idx="1">
                  <c:v>87.901941348125064</c:v>
                </c:pt>
                <c:pt idx="2">
                  <c:v>90.598269511375833</c:v>
                </c:pt>
                <c:pt idx="3">
                  <c:v>93.064873148559201</c:v>
                </c:pt>
                <c:pt idx="4">
                  <c:v>94.391245380400818</c:v>
                </c:pt>
                <c:pt idx="5">
                  <c:v>95.412384302203535</c:v>
                </c:pt>
                <c:pt idx="6">
                  <c:v>96.268458178025455</c:v>
                </c:pt>
                <c:pt idx="7">
                  <c:v>96.995764845102812</c:v>
                </c:pt>
                <c:pt idx="8">
                  <c:v>97.625979274087754</c:v>
                </c:pt>
                <c:pt idx="9">
                  <c:v>98.184563842163826</c:v>
                </c:pt>
                <c:pt idx="10">
                  <c:v>98.690440368896077</c:v>
                </c:pt>
                <c:pt idx="11">
                  <c:v>99.156650056017511</c:v>
                </c:pt>
                <c:pt idx="12">
                  <c:v>99.591530940199277</c:v>
                </c:pt>
                <c:pt idx="13">
                  <c:v>100</c:v>
                </c:pt>
                <c:pt idx="14">
                  <c:v>98.779662955268321</c:v>
                </c:pt>
                <c:pt idx="15">
                  <c:v>97.307374768804564</c:v>
                </c:pt>
                <c:pt idx="16">
                  <c:v>95.773138300490544</c:v>
                </c:pt>
                <c:pt idx="17">
                  <c:v>94.189848716097345</c:v>
                </c:pt>
                <c:pt idx="18">
                  <c:v>92.568632280329027</c:v>
                </c:pt>
                <c:pt idx="19">
                  <c:v>90.919143820319675</c:v>
                </c:pt>
                <c:pt idx="20">
                  <c:v>89.249921486849431</c:v>
                </c:pt>
                <c:pt idx="21">
                  <c:v>87.568728414082187</c:v>
                </c:pt>
                <c:pt idx="22">
                  <c:v>85.882822137655353</c:v>
                </c:pt>
                <c:pt idx="23">
                  <c:v>84.199123821229676</c:v>
                </c:pt>
                <c:pt idx="24">
                  <c:v>79.127377831994551</c:v>
                </c:pt>
                <c:pt idx="25">
                  <c:v>73.942470541186395</c:v>
                </c:pt>
                <c:pt idx="26">
                  <c:v>69.040778477010448</c:v>
                </c:pt>
                <c:pt idx="27">
                  <c:v>64.426140018309312</c:v>
                </c:pt>
                <c:pt idx="28">
                  <c:v>60.100270413956181</c:v>
                </c:pt>
                <c:pt idx="29">
                  <c:v>56.062568595225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596293607811847</c:v>
                </c:pt>
                <c:pt idx="1">
                  <c:v>0.27243854139050683</c:v>
                </c:pt>
                <c:pt idx="2">
                  <c:v>0.28481203558454593</c:v>
                </c:pt>
                <c:pt idx="3">
                  <c:v>0.29677170054132601</c:v>
                </c:pt>
                <c:pt idx="4">
                  <c:v>0.30833795546663328</c:v>
                </c:pt>
                <c:pt idx="5">
                  <c:v>0.31952989793481046</c:v>
                </c:pt>
                <c:pt idx="6">
                  <c:v>0.33036540911419265</c:v>
                </c:pt>
                <c:pt idx="7">
                  <c:v>0.34086124909672882</c:v>
                </c:pt>
                <c:pt idx="8">
                  <c:v>0.35103314340079167</c:v>
                </c:pt>
                <c:pt idx="9">
                  <c:v>0.36089586158618991</c:v>
                </c:pt>
                <c:pt idx="10">
                  <c:v>0.37046328880795343</c:v>
                </c:pt>
                <c:pt idx="11">
                  <c:v>0.37974849103792468</c:v>
                </c:pt>
                <c:pt idx="12">
                  <c:v>0.38876377459841999</c:v>
                </c:pt>
                <c:pt idx="13">
                  <c:v>0.39752074057838532</c:v>
                </c:pt>
                <c:pt idx="14">
                  <c:v>0.40603033463801269</c:v>
                </c:pt>
                <c:pt idx="15">
                  <c:v>0.4143028926514109</c:v>
                </c:pt>
                <c:pt idx="16">
                  <c:v>0.42234818258751783</c:v>
                </c:pt>
                <c:pt idx="17">
                  <c:v>0.43017544298606097</c:v>
                </c:pt>
                <c:pt idx="18">
                  <c:v>0.43779341834720992</c:v>
                </c:pt>
                <c:pt idx="19">
                  <c:v>0.44521039171993793</c:v>
                </c:pt>
                <c:pt idx="20">
                  <c:v>0.45243421474441786</c:v>
                </c:pt>
                <c:pt idx="21">
                  <c:v>0.45947233537752319</c:v>
                </c:pt>
                <c:pt idx="22">
                  <c:v>0.46633182350725</c:v>
                </c:pt>
                <c:pt idx="23">
                  <c:v>0.47301939464124415</c:v>
                </c:pt>
                <c:pt idx="24">
                  <c:v>0.4795414318362784</c:v>
                </c:pt>
                <c:pt idx="25">
                  <c:v>0.48590400601920919</c:v>
                </c:pt>
                <c:pt idx="26">
                  <c:v>0.49211289483540216</c:v>
                </c:pt>
                <c:pt idx="27">
                  <c:v>0.49817360014762879</c:v>
                </c:pt>
                <c:pt idx="28">
                  <c:v>0.50409136429683121</c:v>
                </c:pt>
                <c:pt idx="29">
                  <c:v>0.509871185225772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3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Canard-Duchêne Blanc Cuvée Léonie Brut 750ml (2.6%)</c:v>
                </c:pt>
                <c:pt idx="4">
                  <c:v>Prosecco Carlo V Cuvée Del Imperator 750ml (5.4%)</c:v>
                </c:pt>
                <c:pt idx="5">
                  <c:v>Champagne Besserat de Bellefon Bleu Brut 750ml (1.7%)</c:v>
                </c:pt>
                <c:pt idx="6">
                  <c:v>Prosecco Bottega 750ml (2.6%)</c:v>
                </c:pt>
                <c:pt idx="7">
                  <c:v>Champagne Vranken Demoiselle Tête de Cuvée 750ml (1.4%)</c:v>
                </c:pt>
                <c:pt idx="8">
                  <c:v>Champagne Château de Bligny 750ml (1.3%)</c:v>
                </c:pt>
                <c:pt idx="9">
                  <c:v>Champagne Louis Martin Brut 1er Cru 750ml (0.5%)</c:v>
                </c:pt>
              </c:strCache>
            </c:strRef>
          </c:cat>
          <c:val>
            <c:numRef>
              <c:f>Sheet1!$B$2:$B$11</c:f>
              <c:numCache>
                <c:formatCode>General</c:formatCode>
                <c:ptCount val="10"/>
                <c:pt idx="0">
                  <c:v>0.14917974920315838</c:v>
                </c:pt>
                <c:pt idx="1">
                  <c:v>0.14148420111499579</c:v>
                </c:pt>
                <c:pt idx="2">
                  <c:v>6.8413677994921512E-2</c:v>
                </c:pt>
                <c:pt idx="3">
                  <c:v>6.1138165721567946E-2</c:v>
                </c:pt>
                <c:pt idx="4">
                  <c:v>5.8472590827571141E-2</c:v>
                </c:pt>
                <c:pt idx="5">
                  <c:v>2.950001204920923E-2</c:v>
                </c:pt>
                <c:pt idx="6">
                  <c:v>2.5460199085349598E-2</c:v>
                </c:pt>
                <c:pt idx="7">
                  <c:v>2.4886333173742906E-2</c:v>
                </c:pt>
                <c:pt idx="8">
                  <c:v>2.463396629287902E-2</c:v>
                </c:pt>
                <c:pt idx="9">
                  <c:v>2.382740937136232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Malard Brut 1er Cru 750ml (4.1%)</c:v>
                </c:pt>
                <c:pt idx="2">
                  <c:v>Champagne Nicolas Feuillatte Réserve Exclusive Brut 750ml (3.0%)</c:v>
                </c:pt>
                <c:pt idx="3">
                  <c:v>Champagne E.Nicolas Brut 750ml (11.6%)</c:v>
                </c:pt>
                <c:pt idx="4">
                  <c:v>Champagne Piper-Heidsieck Essential by Nicolas 750ml (0.4%)</c:v>
                </c:pt>
                <c:pt idx="5">
                  <c:v>Champagne Besserat de Bellefon Bleu Brut 750ml (1.7%)</c:v>
                </c:pt>
                <c:pt idx="6">
                  <c:v>Prosecco Carlo V Cuvée Del Imperator 750ml (5.4%)</c:v>
                </c:pt>
                <c:pt idx="7">
                  <c:v>Champagne Vranken Demoiselle Tête de Cuvée 750ml (1.4%)</c:v>
                </c:pt>
                <c:pt idx="8">
                  <c:v>Champagne Ayala Brut Majeur 750ml (1.7%)</c:v>
                </c:pt>
                <c:pt idx="9">
                  <c:v>Champagne Laurent-Perrier Blanc La Cuvée 750ml (2.7%)</c:v>
                </c:pt>
              </c:strCache>
            </c:strRef>
          </c:cat>
          <c:val>
            <c:numRef>
              <c:f>Sheet1!$B$2:$B$11</c:f>
              <c:numCache>
                <c:formatCode>General</c:formatCode>
                <c:ptCount val="10"/>
                <c:pt idx="0">
                  <c:v>0.11440066447101595</c:v>
                </c:pt>
                <c:pt idx="1">
                  <c:v>9.8626417181293433E-2</c:v>
                </c:pt>
                <c:pt idx="2">
                  <c:v>8.7326977012744902E-2</c:v>
                </c:pt>
                <c:pt idx="3">
                  <c:v>6.897926154163804E-2</c:v>
                </c:pt>
                <c:pt idx="4">
                  <c:v>5.5666564454537944E-2</c:v>
                </c:pt>
                <c:pt idx="5">
                  <c:v>4.4264037378033083E-2</c:v>
                </c:pt>
                <c:pt idx="6">
                  <c:v>3.8460835509131631E-2</c:v>
                </c:pt>
                <c:pt idx="7">
                  <c:v>3.7767779861289805E-2</c:v>
                </c:pt>
                <c:pt idx="8">
                  <c:v>3.3348072681553396E-2</c:v>
                </c:pt>
                <c:pt idx="9">
                  <c:v>3.102796960252816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mmery Brut Silve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7.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0000000000003</c:v>
                </c:pt>
                <c:pt idx="1">
                  <c:v>39.950000000000003</c:v>
                </c:pt>
                <c:pt idx="2">
                  <c:v>44.95</c:v>
                </c:pt>
                <c:pt idx="3">
                  <c:v>49.95</c:v>
                </c:pt>
                <c:pt idx="4">
                  <c:v>54.95</c:v>
                </c:pt>
              </c:numCache>
            </c:numRef>
          </c:xVal>
          <c:yVal>
            <c:numRef>
              <c:f>Sheet1!$B$2:$B$6</c:f>
              <c:numCache>
                <c:formatCode>General</c:formatCode>
                <c:ptCount val="5"/>
                <c:pt idx="0">
                  <c:v>1.7515889094051298</c:v>
                </c:pt>
                <c:pt idx="1">
                  <c:v>0.85295621070646122</c:v>
                </c:pt>
                <c:pt idx="2">
                  <c:v>0</c:v>
                </c:pt>
                <c:pt idx="3">
                  <c:v>-0.25983207175123352</c:v>
                </c:pt>
                <c:pt idx="4">
                  <c:v>-0.5284212887476793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34.95000000000000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63.35445579984042</c:v>
                </c:pt>
                <c:pt idx="1">
                  <c:v>251.43977556609846</c:v>
                </c:pt>
                <c:pt idx="2">
                  <c:v>240.54225653046751</c:v>
                </c:pt>
                <c:pt idx="3">
                  <c:v>230.55840978325119</c:v>
                </c:pt>
                <c:pt idx="4">
                  <c:v>221.39375634292179</c:v>
                </c:pt>
                <c:pt idx="5">
                  <c:v>212.96290346891476</c:v>
                </c:pt>
                <c:pt idx="6">
                  <c:v>205.18923888469223</c:v>
                </c:pt>
                <c:pt idx="7">
                  <c:v>198.00439069316897</c:v>
                </c:pt>
                <c:pt idx="8">
                  <c:v>191.34756155181663</c:v>
                </c:pt>
                <c:pt idx="9">
                  <c:v>185.16481328923066</c:v>
                </c:pt>
                <c:pt idx="10">
                  <c:v>172.67562473804051</c:v>
                </c:pt>
                <c:pt idx="11">
                  <c:v>160.82152914242457</c:v>
                </c:pt>
                <c:pt idx="12">
                  <c:v>150.22064308597757</c:v>
                </c:pt>
                <c:pt idx="13">
                  <c:v>140.71103674787074</c:v>
                </c:pt>
                <c:pt idx="14">
                  <c:v>132.15350060216915</c:v>
                </c:pt>
                <c:pt idx="15">
                  <c:v>124.42840394833176</c:v>
                </c:pt>
                <c:pt idx="16">
                  <c:v>117.4329325194291</c:v>
                </c:pt>
                <c:pt idx="17">
                  <c:v>111.07867995887155</c:v>
                </c:pt>
                <c:pt idx="18">
                  <c:v>105.28955930963313</c:v>
                </c:pt>
                <c:pt idx="19">
                  <c:v>100</c:v>
                </c:pt>
                <c:pt idx="20">
                  <c:v>96.582648583163547</c:v>
                </c:pt>
                <c:pt idx="21">
                  <c:v>93.507305748632319</c:v>
                </c:pt>
                <c:pt idx="22">
                  <c:v>90.591682442296076</c:v>
                </c:pt>
                <c:pt idx="23">
                  <c:v>87.825395062043881</c:v>
                </c:pt>
                <c:pt idx="24">
                  <c:v>85.198827367226016</c:v>
                </c:pt>
                <c:pt idx="25">
                  <c:v>82.703069086526995</c:v>
                </c:pt>
                <c:pt idx="26">
                  <c:v>80.329859574702283</c:v>
                </c:pt>
                <c:pt idx="27">
                  <c:v>78.071536088248067</c:v>
                </c:pt>
                <c:pt idx="28">
                  <c:v>75.920986283456898</c:v>
                </c:pt>
                <c:pt idx="29">
                  <c:v>73.871604583373326</c:v>
                </c:pt>
                <c:pt idx="30">
                  <c:v>70.30615578041656</c:v>
                </c:pt>
                <c:pt idx="31">
                  <c:v>66.85421997436444</c:v>
                </c:pt>
                <c:pt idx="32">
                  <c:v>63.675716186341113</c:v>
                </c:pt>
                <c:pt idx="33">
                  <c:v>60.742898370813549</c:v>
                </c:pt>
                <c:pt idx="34">
                  <c:v>58.030775719941516</c:v>
                </c:pt>
                <c:pt idx="35">
                  <c:v>55.516917848288507</c:v>
                </c:pt>
                <c:pt idx="36">
                  <c:v>53.181263571966376</c:v>
                </c:pt>
                <c:pt idx="37">
                  <c:v>51.00593197197859</c:v>
                </c:pt>
                <c:pt idx="38">
                  <c:v>48.975035023234248</c:v>
                </c:pt>
                <c:pt idx="39">
                  <c:v>47.0744926587646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208.00462353067419</c:v>
                </c:pt>
                <c:pt idx="1">
                  <c:v>201.35584666355038</c:v>
                </c:pt>
                <c:pt idx="2">
                  <c:v>195.27283989451379</c:v>
                </c:pt>
                <c:pt idx="3">
                  <c:v>189.70351162675473</c:v>
                </c:pt>
                <c:pt idx="4">
                  <c:v>184.59884456940739</c:v>
                </c:pt>
                <c:pt idx="5">
                  <c:v>179.91343016391076</c:v>
                </c:pt>
                <c:pt idx="6">
                  <c:v>175.6056863382336</c:v>
                </c:pt>
                <c:pt idx="7">
                  <c:v>171.63785638107282</c:v>
                </c:pt>
                <c:pt idx="8">
                  <c:v>167.9758653575694</c:v>
                </c:pt>
                <c:pt idx="9">
                  <c:v>164.58909135924753</c:v>
                </c:pt>
                <c:pt idx="10">
                  <c:v>155.40377645012262</c:v>
                </c:pt>
                <c:pt idx="11">
                  <c:v>146.52164930725345</c:v>
                </c:pt>
                <c:pt idx="12">
                  <c:v>138.53224267233887</c:v>
                </c:pt>
                <c:pt idx="13">
                  <c:v>131.32606624427046</c:v>
                </c:pt>
                <c:pt idx="14">
                  <c:v>124.8079288559933</c:v>
                </c:pt>
                <c:pt idx="15">
                  <c:v>118.89518775590517</c:v>
                </c:pt>
                <c:pt idx="16">
                  <c:v>113.5161581599708</c:v>
                </c:pt>
                <c:pt idx="17">
                  <c:v>108.60868693957401</c:v>
                </c:pt>
                <c:pt idx="18">
                  <c:v>104.11888382073803</c:v>
                </c:pt>
                <c:pt idx="19">
                  <c:v>100</c:v>
                </c:pt>
                <c:pt idx="20">
                  <c:v>97.653773915506321</c:v>
                </c:pt>
                <c:pt idx="21">
                  <c:v>95.581226403057457</c:v>
                </c:pt>
                <c:pt idx="22">
                  <c:v>93.605678798567922</c:v>
                </c:pt>
                <c:pt idx="23">
                  <c:v>91.721571820169416</c:v>
                </c:pt>
                <c:pt idx="24">
                  <c:v>89.923699601617386</c:v>
                </c:pt>
                <c:pt idx="25">
                  <c:v>88.207186189163494</c:v>
                </c:pt>
                <c:pt idx="26">
                  <c:v>86.567463474917446</c:v>
                </c:pt>
                <c:pt idx="27">
                  <c:v>85.000250479361469</c:v>
                </c:pt>
                <c:pt idx="28">
                  <c:v>83.501533895821581</c:v>
                </c:pt>
                <c:pt idx="29">
                  <c:v>82.067549823674725</c:v>
                </c:pt>
                <c:pt idx="30">
                  <c:v>78.888441417002468</c:v>
                </c:pt>
                <c:pt idx="31">
                  <c:v>75.758953218453712</c:v>
                </c:pt>
                <c:pt idx="32">
                  <c:v>72.865667674675919</c:v>
                </c:pt>
                <c:pt idx="33">
                  <c:v>70.185617042717581</c:v>
                </c:pt>
                <c:pt idx="34">
                  <c:v>67.697822248152278</c:v>
                </c:pt>
                <c:pt idx="35">
                  <c:v>65.383214461869201</c:v>
                </c:pt>
                <c:pt idx="36">
                  <c:v>63.224548431527381</c:v>
                </c:pt>
                <c:pt idx="37">
                  <c:v>61.206306186734082</c:v>
                </c:pt>
                <c:pt idx="38">
                  <c:v>59.314590351365645</c:v>
                </c:pt>
                <c:pt idx="39">
                  <c:v>57.5370081840282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39.14174153242163</c:v>
                </c:pt>
                <c:pt idx="1">
                  <c:v>139.08843319110687</c:v>
                </c:pt>
                <c:pt idx="2">
                  <c:v>139.03149579916004</c:v>
                </c:pt>
                <c:pt idx="3">
                  <c:v>138.98429461950249</c:v>
                </c:pt>
                <c:pt idx="4">
                  <c:v>138.95557387103781</c:v>
                </c:pt>
                <c:pt idx="5">
                  <c:v>138.9506248323332</c:v>
                </c:pt>
                <c:pt idx="6">
                  <c:v>138.97220652684695</c:v>
                </c:pt>
                <c:pt idx="7">
                  <c:v>139.02125635431454</c:v>
                </c:pt>
                <c:pt idx="8">
                  <c:v>139.09742887460891</c:v>
                </c:pt>
                <c:pt idx="9">
                  <c:v>139.19949816484757</c:v>
                </c:pt>
                <c:pt idx="10">
                  <c:v>134.09712578917549</c:v>
                </c:pt>
                <c:pt idx="11">
                  <c:v>128.88365872524136</c:v>
                </c:pt>
                <c:pt idx="12">
                  <c:v>124.11710131427942</c:v>
                </c:pt>
                <c:pt idx="13">
                  <c:v>119.75297123628235</c:v>
                </c:pt>
                <c:pt idx="14">
                  <c:v>115.75060743887518</c:v>
                </c:pt>
                <c:pt idx="15">
                  <c:v>112.07316064630039</c:v>
                </c:pt>
                <c:pt idx="16">
                  <c:v>108.68746681239261</c:v>
                </c:pt>
                <c:pt idx="17">
                  <c:v>105.56384543149863</c:v>
                </c:pt>
                <c:pt idx="18">
                  <c:v>102.67585118280067</c:v>
                </c:pt>
                <c:pt idx="19">
                  <c:v>100</c:v>
                </c:pt>
                <c:pt idx="20">
                  <c:v>98.980216349312528</c:v>
                </c:pt>
                <c:pt idx="21">
                  <c:v>98.149756653658329</c:v>
                </c:pt>
                <c:pt idx="22">
                  <c:v>97.33822649211578</c:v>
                </c:pt>
                <c:pt idx="23">
                  <c:v>96.546105845565236</c:v>
                </c:pt>
                <c:pt idx="24">
                  <c:v>95.773706251059266</c:v>
                </c:pt>
                <c:pt idx="25">
                  <c:v>95.021195510615584</c:v>
                </c:pt>
                <c:pt idx="26">
                  <c:v>94.288619182213253</c:v>
                </c:pt>
                <c:pt idx="27">
                  <c:v>93.575919215016427</c:v>
                </c:pt>
                <c:pt idx="28">
                  <c:v>92.882950046301133</c:v>
                </c:pt>
                <c:pt idx="29">
                  <c:v>92.209492452569577</c:v>
                </c:pt>
                <c:pt idx="30">
                  <c:v>89.504236684919789</c:v>
                </c:pt>
                <c:pt idx="31">
                  <c:v>86.769290665790649</c:v>
                </c:pt>
                <c:pt idx="32">
                  <c:v>84.224634745804948</c:v>
                </c:pt>
                <c:pt idx="33">
                  <c:v>81.853243159432651</c:v>
                </c:pt>
                <c:pt idx="34">
                  <c:v>79.639116247736382</c:v>
                </c:pt>
                <c:pt idx="35">
                  <c:v>77.567350245679449</c:v>
                </c:pt>
                <c:pt idx="36">
                  <c:v>75.62418316417822</c:v>
                </c:pt>
                <c:pt idx="37">
                  <c:v>73.797015495805709</c:v>
                </c:pt>
                <c:pt idx="38">
                  <c:v>72.074405083641992</c:v>
                </c:pt>
                <c:pt idx="39">
                  <c:v>70.44603772657065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30061574685889236</c:v>
                </c:pt>
                <c:pt idx="1">
                  <c:v>0.31035647461851784</c:v>
                </c:pt>
                <c:pt idx="2">
                  <c:v>0.31982959996716454</c:v>
                </c:pt>
                <c:pt idx="3">
                  <c:v>0.32904600105162041</c:v>
                </c:pt>
                <c:pt idx="4">
                  <c:v>0.33801597429959324</c:v>
                </c:pt>
                <c:pt idx="5">
                  <c:v>0.34674927279168305</c:v>
                </c:pt>
                <c:pt idx="6">
                  <c:v>0.35525514163554134</c:v>
                </c:pt>
                <c:pt idx="7">
                  <c:v>0.36354235061194823</c:v>
                </c:pt>
                <c:pt idx="8">
                  <c:v>0.37161922433514694</c:v>
                </c:pt>
                <c:pt idx="9">
                  <c:v>0.37949367014548352</c:v>
                </c:pt>
                <c:pt idx="10">
                  <c:v>0.38717320393081167</c:v>
                </c:pt>
                <c:pt idx="11">
                  <c:v>0.39466497405390677</c:v>
                </c:pt>
                <c:pt idx="12">
                  <c:v>0.40197578354600921</c:v>
                </c:pt>
                <c:pt idx="13">
                  <c:v>0.40911211071133152</c:v>
                </c:pt>
                <c:pt idx="14">
                  <c:v>0.41608012827369789</c:v>
                </c:pt>
                <c:pt idx="15">
                  <c:v>0.42288572118426071</c:v>
                </c:pt>
                <c:pt idx="16">
                  <c:v>0.42953450319826708</c:v>
                </c:pt>
                <c:pt idx="17">
                  <c:v>0.43603183231901571</c:v>
                </c:pt>
                <c:pt idx="18">
                  <c:v>0.44238282519830613</c:v>
                </c:pt>
                <c:pt idx="19">
                  <c:v>0.44859237057471696</c:v>
                </c:pt>
                <c:pt idx="20">
                  <c:v>0.45466514182389406</c:v>
                </c:pt>
                <c:pt idx="21">
                  <c:v>0.46060560868855743</c:v>
                </c:pt>
                <c:pt idx="22">
                  <c:v>0.46641804825010319</c:v>
                </c:pt>
                <c:pt idx="23">
                  <c:v>0.47210655519839634</c:v>
                </c:pt>
                <c:pt idx="24">
                  <c:v>0.47767505145157779</c:v>
                </c:pt>
                <c:pt idx="25">
                  <c:v>0.4831272951733776</c:v>
                </c:pt>
                <c:pt idx="26">
                  <c:v>0.48846688923150383</c:v>
                </c:pt>
                <c:pt idx="27">
                  <c:v>0.49369728913711219</c:v>
                </c:pt>
                <c:pt idx="28">
                  <c:v>0.49882181050212127</c:v>
                </c:pt>
                <c:pt idx="29">
                  <c:v>0.50384363604819216</c:v>
                </c:pt>
                <c:pt idx="30">
                  <c:v>0.50876582219850774</c:v>
                </c:pt>
                <c:pt idx="31">
                  <c:v>0.51359130528103702</c:v>
                </c:pt>
                <c:pt idx="32">
                  <c:v>0.51832290736974296</c:v>
                </c:pt>
                <c:pt idx="33">
                  <c:v>0.52296334178814619</c:v>
                </c:pt>
                <c:pt idx="34">
                  <c:v>0.52751521829780135</c:v>
                </c:pt>
                <c:pt idx="35">
                  <c:v>0.5319810479925291</c:v>
                </c:pt>
                <c:pt idx="36">
                  <c:v>0.53636324791769274</c:v>
                </c:pt>
                <c:pt idx="37">
                  <c:v>0.54066414543237085</c:v>
                </c:pt>
                <c:pt idx="38">
                  <c:v>0.54488598233097052</c:v>
                </c:pt>
                <c:pt idx="39">
                  <c:v>0.549030918739613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2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Deutz (4.8%)</c:v>
                </c:pt>
                <c:pt idx="2">
                  <c:v>Malard (6.0%)</c:v>
                </c:pt>
                <c:pt idx="3">
                  <c:v>Heidsieck &amp; C° Monopole (4.2%)</c:v>
                </c:pt>
                <c:pt idx="4">
                  <c:v>Besserat De Bellefon (2.0%)</c:v>
                </c:pt>
                <c:pt idx="5">
                  <c:v>Nicolas Feuillatte (4.5%)</c:v>
                </c:pt>
                <c:pt idx="6">
                  <c:v>Ruinart (12.8%)</c:v>
                </c:pt>
                <c:pt idx="7">
                  <c:v>Laurent Perrier (3.9%)</c:v>
                </c:pt>
                <c:pt idx="8">
                  <c:v>Demoiselle (3.5%)</c:v>
                </c:pt>
                <c:pt idx="9">
                  <c:v>Vesselle (1.0%)</c:v>
                </c:pt>
              </c:strCache>
            </c:strRef>
          </c:cat>
          <c:val>
            <c:numRef>
              <c:f>Sheet1!$B$2:$B$11</c:f>
              <c:numCache>
                <c:formatCode>General</c:formatCode>
                <c:ptCount val="10"/>
                <c:pt idx="0">
                  <c:v>0.16632602774964439</c:v>
                </c:pt>
                <c:pt idx="1">
                  <c:v>8.3189090919718808E-2</c:v>
                </c:pt>
                <c:pt idx="2">
                  <c:v>7.9156495538799596E-2</c:v>
                </c:pt>
                <c:pt idx="3">
                  <c:v>6.2456262142973125E-2</c:v>
                </c:pt>
                <c:pt idx="4">
                  <c:v>5.346385485678936E-2</c:v>
                </c:pt>
                <c:pt idx="5">
                  <c:v>4.2953874817491598E-2</c:v>
                </c:pt>
                <c:pt idx="6">
                  <c:v>4.0263806860810221E-2</c:v>
                </c:pt>
                <c:pt idx="7">
                  <c:v>3.9487174313112751E-2</c:v>
                </c:pt>
                <c:pt idx="8">
                  <c:v>3.706411817152331E-2</c:v>
                </c:pt>
                <c:pt idx="9">
                  <c:v>2.65145151020026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Malard Brut 1er Cru 750ml (4.1%)</c:v>
                </c:pt>
                <c:pt idx="3">
                  <c:v>Champagne E.Nicolas Brut 750ml (11.6%)</c:v>
                </c:pt>
                <c:pt idx="4">
                  <c:v>Champagne Laurent-Perrier Blanc La Cuvée 750ml (2.7%)</c:v>
                </c:pt>
                <c:pt idx="5">
                  <c:v>Champagne Besserat de Bellefon Bleu Brut 750ml (1.7%)</c:v>
                </c:pt>
                <c:pt idx="6">
                  <c:v>Champagne Canard-Duchêne Blanc Cuvée Léonie Brut 750ml (2.6%)</c:v>
                </c:pt>
                <c:pt idx="7">
                  <c:v>Champagne Vranken Demoiselle Tête de Cuvée 750ml (1.4%)</c:v>
                </c:pt>
                <c:pt idx="8">
                  <c:v>Champagne Deutz Brut Classique 750ml (3.4%)</c:v>
                </c:pt>
                <c:pt idx="9">
                  <c:v>Champagne Malard Grand Cru Blanc de Blancs 750ml (0.8%)</c:v>
                </c:pt>
              </c:strCache>
            </c:strRef>
          </c:cat>
          <c:val>
            <c:numRef>
              <c:f>Sheet1!$B$2:$B$11</c:f>
              <c:numCache>
                <c:formatCode>General</c:formatCode>
                <c:ptCount val="10"/>
                <c:pt idx="0">
                  <c:v>0.11048806991459895</c:v>
                </c:pt>
                <c:pt idx="1">
                  <c:v>5.4961985395070238E-2</c:v>
                </c:pt>
                <c:pt idx="2">
                  <c:v>5.4597430506123243E-2</c:v>
                </c:pt>
                <c:pt idx="3">
                  <c:v>5.4331571276366217E-2</c:v>
                </c:pt>
                <c:pt idx="4">
                  <c:v>4.5308615298991904E-2</c:v>
                </c:pt>
                <c:pt idx="5">
                  <c:v>4.3651914496549281E-2</c:v>
                </c:pt>
                <c:pt idx="6">
                  <c:v>3.3692444587606417E-2</c:v>
                </c:pt>
                <c:pt idx="7">
                  <c:v>3.2601845588815133E-2</c:v>
                </c:pt>
                <c:pt idx="8">
                  <c:v>3.129776364583866E-2</c:v>
                </c:pt>
                <c:pt idx="9">
                  <c:v>2.71637535059767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Laurent-Perrier Blanc La Cuvée 750ml (2.7%)</c:v>
                </c:pt>
                <c:pt idx="2">
                  <c:v>Champagne Deutz Brut Classique 750ml (3.4%)</c:v>
                </c:pt>
                <c:pt idx="3">
                  <c:v>Champagne Nicolas Feuillatte Réserve Exclusive Brut 750ml (3.0%)</c:v>
                </c:pt>
                <c:pt idx="4">
                  <c:v>Champagne Veuve Clicquot Réserve Cuvée 750ml (1.7%)</c:v>
                </c:pt>
                <c:pt idx="5">
                  <c:v>Champagne Taittinger Prestige Brut 750ml (1.6%)</c:v>
                </c:pt>
                <c:pt idx="6">
                  <c:v>Champagne E.Nicolas Brut 750ml (11.6%)</c:v>
                </c:pt>
                <c:pt idx="7">
                  <c:v>Champagne Besserat de Bellefon Bleu Brut 750ml (1.7%)</c:v>
                </c:pt>
                <c:pt idx="8">
                  <c:v>Champagne Malard Brut 1er Cru 750ml (4.1%)</c:v>
                </c:pt>
                <c:pt idx="9">
                  <c:v>Champagne Ruinart Brut 750ml (7.3%)</c:v>
                </c:pt>
              </c:strCache>
            </c:strRef>
          </c:cat>
          <c:val>
            <c:numRef>
              <c:f>Sheet1!$B$2:$B$11</c:f>
              <c:numCache>
                <c:formatCode>General</c:formatCode>
                <c:ptCount val="10"/>
                <c:pt idx="0">
                  <c:v>6.9867223908721215E-2</c:v>
                </c:pt>
                <c:pt idx="1">
                  <c:v>6.2570807905467304E-2</c:v>
                </c:pt>
                <c:pt idx="2">
                  <c:v>5.8621585857826751E-2</c:v>
                </c:pt>
                <c:pt idx="3">
                  <c:v>4.6063001007236655E-2</c:v>
                </c:pt>
                <c:pt idx="4">
                  <c:v>4.4579089602839156E-2</c:v>
                </c:pt>
                <c:pt idx="5">
                  <c:v>4.2164413855633943E-2</c:v>
                </c:pt>
                <c:pt idx="6">
                  <c:v>4.1068163937036765E-2</c:v>
                </c:pt>
                <c:pt idx="7">
                  <c:v>3.8446027553509579E-2</c:v>
                </c:pt>
                <c:pt idx="8">
                  <c:v>3.8123313249314145E-2</c:v>
                </c:pt>
                <c:pt idx="9">
                  <c:v>3.80646041683556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lairette de Die Cuvée Dea August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9499999999999993</c:v>
                </c:pt>
                <c:pt idx="1">
                  <c:v>9.9499999999999993</c:v>
                </c:pt>
                <c:pt idx="2">
                  <c:v>10.95</c:v>
                </c:pt>
                <c:pt idx="3">
                  <c:v>11.95</c:v>
                </c:pt>
                <c:pt idx="4">
                  <c:v>12.95</c:v>
                </c:pt>
              </c:numCache>
            </c:numRef>
          </c:xVal>
          <c:yVal>
            <c:numRef>
              <c:f>Sheet1!$B$2:$B$6</c:f>
              <c:numCache>
                <c:formatCode>General</c:formatCode>
                <c:ptCount val="5"/>
                <c:pt idx="0">
                  <c:v>0.72646276413991762</c:v>
                </c:pt>
                <c:pt idx="1">
                  <c:v>0.26960030932429951</c:v>
                </c:pt>
                <c:pt idx="2">
                  <c:v>0</c:v>
                </c:pt>
                <c:pt idx="3">
                  <c:v>-0.16618180348181563</c:v>
                </c:pt>
                <c:pt idx="4">
                  <c:v>-0.2862454192372511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95"/>
          <c:min val="8.949999999999999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B$2:$B$9</c:f>
              <c:numCache>
                <c:formatCode>General</c:formatCode>
                <c:ptCount val="8"/>
                <c:pt idx="0">
                  <c:v>149.70074530482839</c:v>
                </c:pt>
                <c:pt idx="1">
                  <c:v>128.66161071655634</c:v>
                </c:pt>
                <c:pt idx="2">
                  <c:v>111.93115536020177</c:v>
                </c:pt>
                <c:pt idx="3">
                  <c:v>100</c:v>
                </c:pt>
                <c:pt idx="4">
                  <c:v>90.873868851917365</c:v>
                </c:pt>
                <c:pt idx="5">
                  <c:v>83.10129422944145</c:v>
                </c:pt>
                <c:pt idx="6">
                  <c:v>76.427434764101434</c:v>
                </c:pt>
                <c:pt idx="7">
                  <c:v>70.8643846710503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C$2:$C$9</c:f>
              <c:numCache>
                <c:formatCode>General</c:formatCode>
                <c:ptCount val="8"/>
                <c:pt idx="0">
                  <c:v>128.9798125247523</c:v>
                </c:pt>
                <c:pt idx="1">
                  <c:v>116.78628015843124</c:v>
                </c:pt>
                <c:pt idx="2">
                  <c:v>106.76420401973436</c:v>
                </c:pt>
                <c:pt idx="3">
                  <c:v>100</c:v>
                </c:pt>
                <c:pt idx="4">
                  <c:v>95.070077222748935</c:v>
                </c:pt>
                <c:pt idx="5">
                  <c:v>90.776415325993426</c:v>
                </c:pt>
                <c:pt idx="6">
                  <c:v>87.016174409135928</c:v>
                </c:pt>
                <c:pt idx="7">
                  <c:v>83.956114089501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D$2:$D$9</c:f>
              <c:numCache>
                <c:formatCode>General</c:formatCode>
                <c:ptCount val="8"/>
                <c:pt idx="0">
                  <c:v>109.79955533998532</c:v>
                </c:pt>
                <c:pt idx="1">
                  <c:v>105.79932698763929</c:v>
                </c:pt>
                <c:pt idx="2">
                  <c:v>101.98645694667128</c:v>
                </c:pt>
                <c:pt idx="3">
                  <c:v>100</c:v>
                </c:pt>
                <c:pt idx="4">
                  <c:v>98.947699739259036</c:v>
                </c:pt>
                <c:pt idx="5">
                  <c:v>97.867822926950069</c:v>
                </c:pt>
                <c:pt idx="6">
                  <c:v>96.798379389917571</c:v>
                </c:pt>
                <c:pt idx="7">
                  <c:v>96.0486126564098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9.30</c:v>
                </c:pt>
                <c:pt idx="1">
                  <c:v>9.80</c:v>
                </c:pt>
                <c:pt idx="2">
                  <c:v>10.30</c:v>
                </c:pt>
                <c:pt idx="3">
                  <c:v>10.80</c:v>
                </c:pt>
                <c:pt idx="4">
                  <c:v>11.30</c:v>
                </c:pt>
                <c:pt idx="5">
                  <c:v>11.80</c:v>
                </c:pt>
                <c:pt idx="6">
                  <c:v>12.30</c:v>
                </c:pt>
                <c:pt idx="7">
                  <c:v>12.80</c:v>
                </c:pt>
              </c:strCache>
            </c:strRef>
          </c:cat>
          <c:val>
            <c:numRef>
              <c:f>Sheet1!$E$2:$E$9</c:f>
              <c:numCache>
                <c:formatCode>General</c:formatCode>
                <c:ptCount val="8"/>
                <c:pt idx="0">
                  <c:v>0.44383653007846546</c:v>
                </c:pt>
                <c:pt idx="1">
                  <c:v>0.47221221731936008</c:v>
                </c:pt>
                <c:pt idx="2">
                  <c:v>0.4978329834689057</c:v>
                </c:pt>
                <c:pt idx="3">
                  <c:v>0.52108145645645632</c:v>
                </c:pt>
                <c:pt idx="4">
                  <c:v>0.54227254245395828</c:v>
                </c:pt>
                <c:pt idx="5">
                  <c:v>0.56166777370590915</c:v>
                </c:pt>
                <c:pt idx="6">
                  <c:v>0.57948615688859595</c:v>
                </c:pt>
                <c:pt idx="7">
                  <c:v>0.59591247888513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Saumur Bouvet Cuvée Saphir Brut 750ml (1.5%)</c:v>
                </c:pt>
                <c:pt idx="4">
                  <c:v>Crémant de Bourgogne Patriarche Brut 750ml (1.8%)</c:v>
                </c:pt>
                <c:pt idx="5">
                  <c:v>Crémant d'Alsace Muré Prestige Bio 750ml (1.3%)</c:v>
                </c:pt>
                <c:pt idx="6">
                  <c:v>Champagne E.Nicolas Brut 750ml (11.6%)</c:v>
                </c:pt>
                <c:pt idx="7">
                  <c:v>Mousseux Château Moncontour Brut Vouvray 750ml (1.5%)</c:v>
                </c:pt>
                <c:pt idx="8">
                  <c:v>Prosecco Bottega 750ml (2.6%)</c:v>
                </c:pt>
                <c:pt idx="9">
                  <c:v>Crémant de Bourgogne Patriarche Rosé Brut 750ml (0.8%)</c:v>
                </c:pt>
              </c:strCache>
            </c:strRef>
          </c:cat>
          <c:val>
            <c:numRef>
              <c:f>Sheet1!$B$2:$B$11</c:f>
              <c:numCache>
                <c:formatCode>General</c:formatCode>
                <c:ptCount val="10"/>
                <c:pt idx="0">
                  <c:v>0.26814633674301935</c:v>
                </c:pt>
                <c:pt idx="1">
                  <c:v>8.2447240481899567E-2</c:v>
                </c:pt>
                <c:pt idx="2">
                  <c:v>7.3522515421035967E-2</c:v>
                </c:pt>
                <c:pt idx="3">
                  <c:v>6.9825876047874227E-2</c:v>
                </c:pt>
                <c:pt idx="4">
                  <c:v>6.652414171870262E-2</c:v>
                </c:pt>
                <c:pt idx="5">
                  <c:v>5.386596418479838E-2</c:v>
                </c:pt>
                <c:pt idx="6">
                  <c:v>5.1499533361839725E-2</c:v>
                </c:pt>
                <c:pt idx="7">
                  <c:v>4.1657447364820827E-2</c:v>
                </c:pt>
                <c:pt idx="8">
                  <c:v>3.009668121910708E-2</c:v>
                </c:pt>
                <c:pt idx="9">
                  <c:v>2.56386309363194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rémant Saumur Bouvet Cuvée Saphir Brut 750ml (1.5%)</c:v>
                </c:pt>
                <c:pt idx="4">
                  <c:v>Crémant d'Alsace Muré Prestige Bio 750ml (1.3%)</c:v>
                </c:pt>
                <c:pt idx="5">
                  <c:v>Crémant de Bourgogne Patriarche Brut 750ml (1.8%)</c:v>
                </c:pt>
                <c:pt idx="6">
                  <c:v>Champagne E.Nicolas Brut 750ml (11.6%)</c:v>
                </c:pt>
                <c:pt idx="7">
                  <c:v>Prosecco Bottega 750ml (2.6%)</c:v>
                </c:pt>
                <c:pt idx="8">
                  <c:v>Mousseux Château Moncontour Brut Vouvray 750ml (1.5%)</c:v>
                </c:pt>
                <c:pt idx="9">
                  <c:v>Mousseux Lyre's Classico Sans Alcool 750ml (1.0%)</c:v>
                </c:pt>
              </c:strCache>
            </c:strRef>
          </c:cat>
          <c:val>
            <c:numRef>
              <c:f>Sheet1!$B$2:$B$11</c:f>
              <c:numCache>
                <c:formatCode>General</c:formatCode>
                <c:ptCount val="10"/>
                <c:pt idx="0">
                  <c:v>0.23220333283043998</c:v>
                </c:pt>
                <c:pt idx="1">
                  <c:v>7.1585981957474287E-2</c:v>
                </c:pt>
                <c:pt idx="2">
                  <c:v>7.0494341990775575E-2</c:v>
                </c:pt>
                <c:pt idx="3">
                  <c:v>6.3806676886003569E-2</c:v>
                </c:pt>
                <c:pt idx="4">
                  <c:v>6.0673462245903219E-2</c:v>
                </c:pt>
                <c:pt idx="5">
                  <c:v>5.8871912550219528E-2</c:v>
                </c:pt>
                <c:pt idx="6">
                  <c:v>5.7843354997978429E-2</c:v>
                </c:pt>
                <c:pt idx="7">
                  <c:v>4.4303903221875135E-2</c:v>
                </c:pt>
                <c:pt idx="8">
                  <c:v>4.1777110843486683E-2</c:v>
                </c:pt>
                <c:pt idx="9">
                  <c:v>2.86400575277505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Loire De Chanceny Brut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7139039408805783</c:v>
                </c:pt>
                <c:pt idx="1">
                  <c:v>0.18895268602528126</c:v>
                </c:pt>
                <c:pt idx="2">
                  <c:v>0</c:v>
                </c:pt>
                <c:pt idx="3">
                  <c:v>-0.13732424870136789</c:v>
                </c:pt>
                <c:pt idx="4">
                  <c:v>-0.2703083635668581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Saumur Bouvet Cuvée Saphir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5</c:v>
                </c:pt>
                <c:pt idx="1">
                  <c:v>10.95</c:v>
                </c:pt>
                <c:pt idx="2">
                  <c:v>11.95</c:v>
                </c:pt>
                <c:pt idx="3">
                  <c:v>12.95</c:v>
                </c:pt>
                <c:pt idx="4">
                  <c:v>13.95</c:v>
                </c:pt>
              </c:numCache>
            </c:numRef>
          </c:xVal>
          <c:yVal>
            <c:numRef>
              <c:f>Sheet1!$B$9:$B$13</c:f>
              <c:numCache>
                <c:formatCode>General</c:formatCode>
                <c:ptCount val="5"/>
                <c:pt idx="0">
                  <c:v>0.60425599195516744</c:v>
                </c:pt>
                <c:pt idx="1">
                  <c:v>0.15623559551156485</c:v>
                </c:pt>
                <c:pt idx="2">
                  <c:v>0</c:v>
                </c:pt>
                <c:pt idx="3">
                  <c:v>-0.11306814416443885</c:v>
                </c:pt>
                <c:pt idx="4">
                  <c:v>-0.1998191241147402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rémant de Bordeaux La Maqueline Brut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9499999999999993</c:v>
                </c:pt>
                <c:pt idx="1">
                  <c:v>10.5</c:v>
                </c:pt>
                <c:pt idx="2">
                  <c:v>11.5</c:v>
                </c:pt>
                <c:pt idx="3">
                  <c:v>12.5</c:v>
                </c:pt>
                <c:pt idx="4">
                  <c:v>13.95</c:v>
                </c:pt>
              </c:numCache>
            </c:numRef>
          </c:xVal>
          <c:yVal>
            <c:numRef>
              <c:f>Sheet1!$B$16:$B$20</c:f>
              <c:numCache>
                <c:formatCode>General</c:formatCode>
                <c:ptCount val="5"/>
                <c:pt idx="0">
                  <c:v>0.88782341334232073</c:v>
                </c:pt>
                <c:pt idx="1">
                  <c:v>0.22102168943956868</c:v>
                </c:pt>
                <c:pt idx="2">
                  <c:v>0</c:v>
                </c:pt>
                <c:pt idx="3">
                  <c:v>-0.1538077692998808</c:v>
                </c:pt>
                <c:pt idx="4">
                  <c:v>-0.2857538978975299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rémant de Bourgogne Patriarche Rosé Brut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1.5</c:v>
                </c:pt>
                <c:pt idx="1">
                  <c:v>12.95</c:v>
                </c:pt>
                <c:pt idx="2">
                  <c:v>14.5</c:v>
                </c:pt>
                <c:pt idx="3">
                  <c:v>15.95</c:v>
                </c:pt>
                <c:pt idx="4">
                  <c:v>17.5</c:v>
                </c:pt>
              </c:numCache>
            </c:numRef>
          </c:xVal>
          <c:yVal>
            <c:numRef>
              <c:f>Sheet1!$B$23:$B$27</c:f>
              <c:numCache>
                <c:formatCode>General</c:formatCode>
                <c:ptCount val="5"/>
                <c:pt idx="0">
                  <c:v>0.40516288350899871</c:v>
                </c:pt>
                <c:pt idx="1">
                  <c:v>0.16564032416628657</c:v>
                </c:pt>
                <c:pt idx="2">
                  <c:v>0</c:v>
                </c:pt>
                <c:pt idx="3">
                  <c:v>-0.12293338150351553</c:v>
                </c:pt>
                <c:pt idx="4">
                  <c:v>-0.2356689857515952</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rémant de Bourgogne Patriarche Brut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0.95</c:v>
                </c:pt>
                <c:pt idx="1">
                  <c:v>12.5</c:v>
                </c:pt>
                <c:pt idx="2">
                  <c:v>13.95</c:v>
                </c:pt>
                <c:pt idx="3">
                  <c:v>14.95</c:v>
                </c:pt>
                <c:pt idx="4">
                  <c:v>16.95</c:v>
                </c:pt>
              </c:numCache>
            </c:numRef>
          </c:xVal>
          <c:yVal>
            <c:numRef>
              <c:f>Sheet1!$B$30:$B$34</c:f>
              <c:numCache>
                <c:formatCode>General</c:formatCode>
                <c:ptCount val="5"/>
                <c:pt idx="0">
                  <c:v>0.43949401359226287</c:v>
                </c:pt>
                <c:pt idx="1">
                  <c:v>0.1526032636361227</c:v>
                </c:pt>
                <c:pt idx="2">
                  <c:v>0</c:v>
                </c:pt>
                <c:pt idx="3">
                  <c:v>-8.6886085286452336E-2</c:v>
                </c:pt>
                <c:pt idx="4">
                  <c:v>-0.2386949386255216</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Crémant d'Alsace Muré Prestige Bio 750ml</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13.95</c:v>
                </c:pt>
                <c:pt idx="1">
                  <c:v>15.95</c:v>
                </c:pt>
                <c:pt idx="2">
                  <c:v>17.5</c:v>
                </c:pt>
                <c:pt idx="3">
                  <c:v>18.95</c:v>
                </c:pt>
                <c:pt idx="4">
                  <c:v>20.95</c:v>
                </c:pt>
              </c:numCache>
            </c:numRef>
          </c:xVal>
          <c:yVal>
            <c:numRef>
              <c:f>Sheet1!$B$37:$B$41</c:f>
              <c:numCache>
                <c:formatCode>General</c:formatCode>
                <c:ptCount val="5"/>
                <c:pt idx="0">
                  <c:v>0.52329290077450563</c:v>
                </c:pt>
                <c:pt idx="1">
                  <c:v>0.20639046238993994</c:v>
                </c:pt>
                <c:pt idx="2">
                  <c:v>0</c:v>
                </c:pt>
                <c:pt idx="3">
                  <c:v>-0.14996484990618889</c:v>
                </c:pt>
                <c:pt idx="4">
                  <c:v>-0.292715348864229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0.95"/>
          <c:min val="8.9499999999999993"/>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6.97737737373865</c:v>
                </c:pt>
                <c:pt idx="1">
                  <c:v>135.24791168812155</c:v>
                </c:pt>
                <c:pt idx="2">
                  <c:v>125.33445808662589</c:v>
                </c:pt>
                <c:pt idx="3">
                  <c:v>118.15239348260447</c:v>
                </c:pt>
                <c:pt idx="4">
                  <c:v>111.5732973139655</c:v>
                </c:pt>
                <c:pt idx="5">
                  <c:v>105.54002203237079</c:v>
                </c:pt>
                <c:pt idx="6">
                  <c:v>100</c:v>
                </c:pt>
                <c:pt idx="7">
                  <c:v>94.905246756049067</c:v>
                </c:pt>
                <c:pt idx="8">
                  <c:v>90.212233917543699</c:v>
                </c:pt>
                <c:pt idx="9">
                  <c:v>85.814803770826572</c:v>
                </c:pt>
                <c:pt idx="10">
                  <c:v>81.187134161086718</c:v>
                </c:pt>
                <c:pt idx="11">
                  <c:v>76.928777679184634</c:v>
                </c:pt>
                <c:pt idx="12">
                  <c:v>73.0025011282386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6.70421619192066</c:v>
                </c:pt>
                <c:pt idx="1">
                  <c:v>112.0294295909154</c:v>
                </c:pt>
                <c:pt idx="2">
                  <c:v>108.11755751484213</c:v>
                </c:pt>
                <c:pt idx="3">
                  <c:v>105.97926561708053</c:v>
                </c:pt>
                <c:pt idx="4">
                  <c:v>103.90952837846122</c:v>
                </c:pt>
                <c:pt idx="5">
                  <c:v>101.91523273553132</c:v>
                </c:pt>
                <c:pt idx="6">
                  <c:v>100</c:v>
                </c:pt>
                <c:pt idx="7">
                  <c:v>98.164976531376979</c:v>
                </c:pt>
                <c:pt idx="8">
                  <c:v>96.409484998999829</c:v>
                </c:pt>
                <c:pt idx="9">
                  <c:v>94.657683063346724</c:v>
                </c:pt>
                <c:pt idx="10">
                  <c:v>92.341219550151436</c:v>
                </c:pt>
                <c:pt idx="11">
                  <c:v>90.139923301730178</c:v>
                </c:pt>
                <c:pt idx="12">
                  <c:v>88.04687871124710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9.486190653191272</c:v>
                </c:pt>
                <c:pt idx="1">
                  <c:v>91.161972050316223</c:v>
                </c:pt>
                <c:pt idx="2">
                  <c:v>92.650848943820407</c:v>
                </c:pt>
                <c:pt idx="3">
                  <c:v>95.044342990196924</c:v>
                </c:pt>
                <c:pt idx="4">
                  <c:v>97.025749513251029</c:v>
                </c:pt>
                <c:pt idx="5">
                  <c:v>98.659574145794807</c:v>
                </c:pt>
                <c:pt idx="6">
                  <c:v>100</c:v>
                </c:pt>
                <c:pt idx="7">
                  <c:v>101.09238403244021</c:v>
                </c:pt>
                <c:pt idx="8">
                  <c:v>101.97460732335712</c:v>
                </c:pt>
                <c:pt idx="9">
                  <c:v>102.59832173505865</c:v>
                </c:pt>
                <c:pt idx="10">
                  <c:v>102.35839544751985</c:v>
                </c:pt>
                <c:pt idx="11">
                  <c:v>102.00478371020816</c:v>
                </c:pt>
                <c:pt idx="12">
                  <c:v>101.557918964810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40604873512404588</c:v>
                </c:pt>
                <c:pt idx="1">
                  <c:v>0.4307967044938773</c:v>
                </c:pt>
                <c:pt idx="2">
                  <c:v>0.45356483631412225</c:v>
                </c:pt>
                <c:pt idx="3">
                  <c:v>0.47458157337896373</c:v>
                </c:pt>
                <c:pt idx="4">
                  <c:v>0.49404151510566863</c:v>
                </c:pt>
                <c:pt idx="5">
                  <c:v>0.51211146099475202</c:v>
                </c:pt>
                <c:pt idx="6">
                  <c:v>0.52893520371907088</c:v>
                </c:pt>
                <c:pt idx="7">
                  <c:v>0.54463736359510173</c:v>
                </c:pt>
                <c:pt idx="8">
                  <c:v>0.55932648089848558</c:v>
                </c:pt>
                <c:pt idx="9">
                  <c:v>0.57309752837040806</c:v>
                </c:pt>
                <c:pt idx="10">
                  <c:v>0.58603396690463794</c:v>
                </c:pt>
                <c:pt idx="11">
                  <c:v>0.59820943846626629</c:v>
                </c:pt>
                <c:pt idx="12">
                  <c:v>0.609689168795801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Château Moncontour Brut Vouvray 750ml (1.5%)</c:v>
                </c:pt>
                <c:pt idx="6">
                  <c:v>Prosecco Bottega 750ml (2.6%)</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3880496931862765</c:v>
                </c:pt>
                <c:pt idx="1">
                  <c:v>0.10515646470716816</c:v>
                </c:pt>
                <c:pt idx="2">
                  <c:v>7.4555295721966938E-2</c:v>
                </c:pt>
                <c:pt idx="3">
                  <c:v>7.0415914178614952E-2</c:v>
                </c:pt>
                <c:pt idx="4">
                  <c:v>6.5527736640519252E-2</c:v>
                </c:pt>
                <c:pt idx="5">
                  <c:v>6.4676771284208706E-2</c:v>
                </c:pt>
                <c:pt idx="6">
                  <c:v>5.4670938896769536E-2</c:v>
                </c:pt>
                <c:pt idx="7">
                  <c:v>4.3727016255427666E-2</c:v>
                </c:pt>
                <c:pt idx="8">
                  <c:v>3.5846838491733993E-2</c:v>
                </c:pt>
                <c:pt idx="9">
                  <c:v>3.425699833196020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Crémant Saumur Bouvet Cuvée Saphir Brut 750ml (1.5%)</c:v>
                </c:pt>
                <c:pt idx="5">
                  <c:v>Prosecco Bottega 750ml (2.6%)</c:v>
                </c:pt>
                <c:pt idx="6">
                  <c:v>Mousseux Château Moncontour Brut Vouvray 750ml (1.5%)</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195862574356487</c:v>
                </c:pt>
                <c:pt idx="1">
                  <c:v>0.10905995875588899</c:v>
                </c:pt>
                <c:pt idx="2">
                  <c:v>7.6450217899282941E-2</c:v>
                </c:pt>
                <c:pt idx="3">
                  <c:v>6.6186608758907348E-2</c:v>
                </c:pt>
                <c:pt idx="4">
                  <c:v>6.3483138697372835E-2</c:v>
                </c:pt>
                <c:pt idx="5">
                  <c:v>6.1113104060358366E-2</c:v>
                </c:pt>
                <c:pt idx="6">
                  <c:v>6.0790843496789919E-2</c:v>
                </c:pt>
                <c:pt idx="7">
                  <c:v>3.8406885045391095E-2</c:v>
                </c:pt>
                <c:pt idx="8">
                  <c:v>3.7286765083003638E-2</c:v>
                </c:pt>
                <c:pt idx="9">
                  <c:v>3.649384299189663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Les Grumes  (1.0%)</c:v>
                </c:pt>
                <c:pt idx="3">
                  <c:v>Savian (2.1%)</c:v>
                </c:pt>
                <c:pt idx="4">
                  <c:v>Bouvet Ladubay (1.5%)</c:v>
                </c:pt>
                <c:pt idx="5">
                  <c:v>Nicolas (14.4%)</c:v>
                </c:pt>
                <c:pt idx="6">
                  <c:v>Muré (1.3%)</c:v>
                </c:pt>
                <c:pt idx="7">
                  <c:v>Bottega (3.7%)</c:v>
                </c:pt>
                <c:pt idx="8">
                  <c:v>Château Moncontour  (1.5%)</c:v>
                </c:pt>
                <c:pt idx="9">
                  <c:v>Veuve du Vernay (0.7%)</c:v>
                </c:pt>
              </c:strCache>
            </c:strRef>
          </c:cat>
          <c:val>
            <c:numRef>
              <c:f>Sheet1!$B$2:$B$11</c:f>
              <c:numCache>
                <c:formatCode>General</c:formatCode>
                <c:ptCount val="10"/>
                <c:pt idx="0">
                  <c:v>0.26814633674301935</c:v>
                </c:pt>
                <c:pt idx="1">
                  <c:v>9.216277265502211E-2</c:v>
                </c:pt>
                <c:pt idx="2">
                  <c:v>8.2447240481899567E-2</c:v>
                </c:pt>
                <c:pt idx="3">
                  <c:v>7.3522515421035967E-2</c:v>
                </c:pt>
                <c:pt idx="4">
                  <c:v>6.9825876047874227E-2</c:v>
                </c:pt>
                <c:pt idx="5">
                  <c:v>6.3006201351656049E-2</c:v>
                </c:pt>
                <c:pt idx="6">
                  <c:v>5.386596418479838E-2</c:v>
                </c:pt>
                <c:pt idx="7">
                  <c:v>4.9069637100048955E-2</c:v>
                </c:pt>
                <c:pt idx="8">
                  <c:v>4.1657447364820827E-2</c:v>
                </c:pt>
                <c:pt idx="9">
                  <c:v>3.29386848373366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61.35412772778793</c:v>
                </c:pt>
                <c:pt idx="1">
                  <c:v>141.58348342507873</c:v>
                </c:pt>
                <c:pt idx="2">
                  <c:v>125.04269351493151</c:v>
                </c:pt>
                <c:pt idx="3">
                  <c:v>115.46785484711106</c:v>
                </c:pt>
                <c:pt idx="4">
                  <c:v>107.19951052469708</c:v>
                </c:pt>
                <c:pt idx="5">
                  <c:v>100</c:v>
                </c:pt>
                <c:pt idx="6">
                  <c:v>93.678607191232288</c:v>
                </c:pt>
                <c:pt idx="7">
                  <c:v>88.853972522940666</c:v>
                </c:pt>
                <c:pt idx="8">
                  <c:v>84.3690315404020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8.14232549372034</c:v>
                </c:pt>
                <c:pt idx="1">
                  <c:v>118.24703758382107</c:v>
                </c:pt>
                <c:pt idx="2">
                  <c:v>109.56699395619871</c:v>
                </c:pt>
                <c:pt idx="3">
                  <c:v>105.93923301667122</c:v>
                </c:pt>
                <c:pt idx="4">
                  <c:v>102.77573149671184</c:v>
                </c:pt>
                <c:pt idx="5">
                  <c:v>100</c:v>
                </c:pt>
                <c:pt idx="6">
                  <c:v>97.545372339729852</c:v>
                </c:pt>
                <c:pt idx="7">
                  <c:v>96.194394551054216</c:v>
                </c:pt>
                <c:pt idx="8">
                  <c:v>94.8265332010016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7.223057316131204</c:v>
                </c:pt>
                <c:pt idx="1">
                  <c:v>96.564986668778388</c:v>
                </c:pt>
                <c:pt idx="2">
                  <c:v>95.223356773334444</c:v>
                </c:pt>
                <c:pt idx="3">
                  <c:v>97.110525576983477</c:v>
                </c:pt>
                <c:pt idx="4">
                  <c:v>98.678105520230503</c:v>
                </c:pt>
                <c:pt idx="5">
                  <c:v>100</c:v>
                </c:pt>
                <c:pt idx="6">
                  <c:v>101.12522096981765</c:v>
                </c:pt>
                <c:pt idx="7">
                  <c:v>102.98016922696902</c:v>
                </c:pt>
                <c:pt idx="8">
                  <c:v>104.48878817188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39894882338564547</c:v>
                </c:pt>
                <c:pt idx="1">
                  <c:v>0.42900138221636325</c:v>
                </c:pt>
                <c:pt idx="2">
                  <c:v>0.45619179258701253</c:v>
                </c:pt>
                <c:pt idx="3">
                  <c:v>0.48091034746942107</c:v>
                </c:pt>
                <c:pt idx="4">
                  <c:v>0.50347946279683764</c:v>
                </c:pt>
                <c:pt idx="5">
                  <c:v>0.52416781851363614</c:v>
                </c:pt>
                <c:pt idx="6">
                  <c:v>0.54320110577309055</c:v>
                </c:pt>
                <c:pt idx="7">
                  <c:v>0.56077029401258716</c:v>
                </c:pt>
                <c:pt idx="8">
                  <c:v>0.577038060901009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e Bourgogne Patriarche Brut 750ml (1.8%)</c:v>
                </c:pt>
                <c:pt idx="6">
                  <c:v>Crémant d'Alsace Muré Prestige Bio 750ml (1.3%)</c:v>
                </c:pt>
                <c:pt idx="7">
                  <c:v>Mousseux Château Moncontour Brut Vouvray 750ml (1.5%)</c:v>
                </c:pt>
                <c:pt idx="8">
                  <c:v>Clairette de Die Cuvée Dea Augusta 750ml (0.5%)</c:v>
                </c:pt>
                <c:pt idx="9">
                  <c:v>Crémant de Loire De Chanceny Brut 2015 750ml (0.7%)</c:v>
                </c:pt>
              </c:strCache>
            </c:strRef>
          </c:cat>
          <c:val>
            <c:numRef>
              <c:f>Sheet1!$B$2:$B$11</c:f>
              <c:numCache>
                <c:formatCode>General</c:formatCode>
                <c:ptCount val="10"/>
                <c:pt idx="0">
                  <c:v>0.22124575293110788</c:v>
                </c:pt>
                <c:pt idx="1">
                  <c:v>0.10866282813982088</c:v>
                </c:pt>
                <c:pt idx="2">
                  <c:v>8.2348970167274937E-2</c:v>
                </c:pt>
                <c:pt idx="3">
                  <c:v>5.772512050554434E-2</c:v>
                </c:pt>
                <c:pt idx="4">
                  <c:v>5.1804987023639469E-2</c:v>
                </c:pt>
                <c:pt idx="5">
                  <c:v>5.1626310423838938E-2</c:v>
                </c:pt>
                <c:pt idx="6">
                  <c:v>3.5368094259711609E-2</c:v>
                </c:pt>
                <c:pt idx="7">
                  <c:v>3.3563497918672296E-2</c:v>
                </c:pt>
                <c:pt idx="8">
                  <c:v>2.8368339542027068E-2</c:v>
                </c:pt>
                <c:pt idx="9">
                  <c:v>2.26971602920723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Mousseux Les Grumes Bulles 750ml (1.0%)</c:v>
                </c:pt>
                <c:pt idx="5">
                  <c:v>Mousseux Château Moncontour Brut Vouvray 750ml (1.5%)</c:v>
                </c:pt>
                <c:pt idx="6">
                  <c:v>Prosecco Bottega 750ml (2.6%)</c:v>
                </c:pt>
                <c:pt idx="7">
                  <c:v>Crémant d'Alsace Muré Prestige Bio 750ml (1.3%)</c:v>
                </c:pt>
                <c:pt idx="8">
                  <c:v>Clairette de Die Cuvée Dea Augusta 750ml (0.5%)</c:v>
                </c:pt>
                <c:pt idx="9">
                  <c:v>Crémant de Loire De Chanceny Brut 2015 750ml (0.7%)</c:v>
                </c:pt>
              </c:strCache>
            </c:strRef>
          </c:cat>
          <c:val>
            <c:numRef>
              <c:f>Sheet1!$B$2:$B$11</c:f>
              <c:numCache>
                <c:formatCode>General</c:formatCode>
                <c:ptCount val="10"/>
                <c:pt idx="0">
                  <c:v>0.15903274472388892</c:v>
                </c:pt>
                <c:pt idx="1">
                  <c:v>0.1155282830451787</c:v>
                </c:pt>
                <c:pt idx="2">
                  <c:v>7.2507833372796052E-2</c:v>
                </c:pt>
                <c:pt idx="3">
                  <c:v>6.9080874338298182E-2</c:v>
                </c:pt>
                <c:pt idx="4">
                  <c:v>5.536093964721301E-2</c:v>
                </c:pt>
                <c:pt idx="5">
                  <c:v>5.5077759557756102E-2</c:v>
                </c:pt>
                <c:pt idx="6">
                  <c:v>5.220080578987981E-2</c:v>
                </c:pt>
                <c:pt idx="7">
                  <c:v>3.6341689954745272E-2</c:v>
                </c:pt>
                <c:pt idx="8">
                  <c:v>3.2794201111739564E-2</c:v>
                </c:pt>
                <c:pt idx="9">
                  <c:v>2.94549468993003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B$2:$B$11</c:f>
              <c:numCache>
                <c:formatCode>General</c:formatCode>
                <c:ptCount val="10"/>
                <c:pt idx="0">
                  <c:v>162.16904325676839</c:v>
                </c:pt>
                <c:pt idx="1">
                  <c:v>140.13070050017609</c:v>
                </c:pt>
                <c:pt idx="2">
                  <c:v>123.24106910178054</c:v>
                </c:pt>
                <c:pt idx="3">
                  <c:v>110.35420729297201</c:v>
                </c:pt>
                <c:pt idx="4">
                  <c:v>100</c:v>
                </c:pt>
                <c:pt idx="5">
                  <c:v>91.398691243217783</c:v>
                </c:pt>
                <c:pt idx="6">
                  <c:v>84.167504485870666</c:v>
                </c:pt>
                <c:pt idx="7">
                  <c:v>78.687300755200269</c:v>
                </c:pt>
                <c:pt idx="8">
                  <c:v>74.184740926017881</c:v>
                </c:pt>
                <c:pt idx="9">
                  <c:v>70.06293686220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C$2:$C$11</c:f>
              <c:numCache>
                <c:formatCode>General</c:formatCode>
                <c:ptCount val="10"/>
                <c:pt idx="0">
                  <c:v>133.55438962117657</c:v>
                </c:pt>
                <c:pt idx="1">
                  <c:v>121.58295512007878</c:v>
                </c:pt>
                <c:pt idx="2">
                  <c:v>112.36450436120961</c:v>
                </c:pt>
                <c:pt idx="3">
                  <c:v>105.48401861670496</c:v>
                </c:pt>
                <c:pt idx="4">
                  <c:v>100</c:v>
                </c:pt>
                <c:pt idx="5">
                  <c:v>95.432892508011648</c:v>
                </c:pt>
                <c:pt idx="6">
                  <c:v>91.59798293871701</c:v>
                </c:pt>
                <c:pt idx="7">
                  <c:v>89.108643486380402</c:v>
                </c:pt>
                <c:pt idx="8">
                  <c:v>87.286238189233472</c:v>
                </c:pt>
                <c:pt idx="9">
                  <c:v>85.5309996812749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D$2:$D$11</c:f>
              <c:numCache>
                <c:formatCode>General</c:formatCode>
                <c:ptCount val="10"/>
                <c:pt idx="0">
                  <c:v>106.18826972449294</c:v>
                </c:pt>
                <c:pt idx="1">
                  <c:v>103.85084930873086</c:v>
                </c:pt>
                <c:pt idx="2">
                  <c:v>101.96965305125039</c:v>
                </c:pt>
                <c:pt idx="3">
                  <c:v>100.83063583516267</c:v>
                </c:pt>
                <c:pt idx="4">
                  <c:v>100</c:v>
                </c:pt>
                <c:pt idx="5">
                  <c:v>99.286401087339641</c:v>
                </c:pt>
                <c:pt idx="6">
                  <c:v>98.694820898350173</c:v>
                </c:pt>
                <c:pt idx="7">
                  <c:v>99.059450126219559</c:v>
                </c:pt>
                <c:pt idx="8">
                  <c:v>99.793322551269597</c:v>
                </c:pt>
                <c:pt idx="9">
                  <c:v>100.29510481117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E$2:$E$11</c:f>
              <c:numCache>
                <c:formatCode>General</c:formatCode>
                <c:ptCount val="10"/>
                <c:pt idx="0">
                  <c:v>0.40792910845290997</c:v>
                </c:pt>
                <c:pt idx="1">
                  <c:v>0.43813680700123092</c:v>
                </c:pt>
                <c:pt idx="2">
                  <c:v>0.46541171928272457</c:v>
                </c:pt>
                <c:pt idx="3">
                  <c:v>0.49016117672333925</c:v>
                </c:pt>
                <c:pt idx="4">
                  <c:v>0.51272041669133306</c:v>
                </c:pt>
                <c:pt idx="5">
                  <c:v>0.53336785666203923</c:v>
                </c:pt>
                <c:pt idx="6">
                  <c:v>0.55233664297659057</c:v>
                </c:pt>
                <c:pt idx="7">
                  <c:v>0.56982349286031742</c:v>
                </c:pt>
                <c:pt idx="8">
                  <c:v>0.58599554200090709</c:v>
                </c:pt>
                <c:pt idx="9">
                  <c:v>0.600995703522613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Prosecco Bottega Rosé 750ml (1.1%)</c:v>
                </c:pt>
                <c:pt idx="9">
                  <c:v>Champagne Malard Brut 1er Cru 750ml (4.1%)</c:v>
                </c:pt>
              </c:strCache>
            </c:strRef>
          </c:cat>
          <c:val>
            <c:numRef>
              <c:f>Sheet1!$B$2:$B$11</c:f>
              <c:numCache>
                <c:formatCode>General</c:formatCode>
                <c:ptCount val="10"/>
                <c:pt idx="0">
                  <c:v>0.23299507592204705</c:v>
                </c:pt>
                <c:pt idx="1">
                  <c:v>0.10028981593769001</c:v>
                </c:pt>
                <c:pt idx="2">
                  <c:v>7.4092931244300289E-2</c:v>
                </c:pt>
                <c:pt idx="3">
                  <c:v>5.3920984469613235E-2</c:v>
                </c:pt>
                <c:pt idx="4">
                  <c:v>5.1423133012068092E-2</c:v>
                </c:pt>
                <c:pt idx="5">
                  <c:v>5.0617883727081821E-2</c:v>
                </c:pt>
                <c:pt idx="6">
                  <c:v>4.1044213562198277E-2</c:v>
                </c:pt>
                <c:pt idx="7">
                  <c:v>3.6694108684278214E-2</c:v>
                </c:pt>
                <c:pt idx="8">
                  <c:v>3.1669441362579265E-2</c:v>
                </c:pt>
                <c:pt idx="9">
                  <c:v>2.564002746462475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Mousseux Château Moncontour Brut Vouvray 750ml (1.5%)</c:v>
                </c:pt>
                <c:pt idx="9">
                  <c:v>Prosecco Bottega Rosé 750ml (1.1%)</c:v>
                </c:pt>
              </c:strCache>
            </c:strRef>
          </c:cat>
          <c:val>
            <c:numRef>
              <c:f>Sheet1!$B$2:$B$11</c:f>
              <c:numCache>
                <c:formatCode>General</c:formatCode>
                <c:ptCount val="10"/>
                <c:pt idx="0">
                  <c:v>0.1858212047852085</c:v>
                </c:pt>
                <c:pt idx="1">
                  <c:v>8.8903040882694004E-2</c:v>
                </c:pt>
                <c:pt idx="2">
                  <c:v>8.2365946670382773E-2</c:v>
                </c:pt>
                <c:pt idx="3">
                  <c:v>6.3191257093988026E-2</c:v>
                </c:pt>
                <c:pt idx="4">
                  <c:v>5.3277430003532682E-2</c:v>
                </c:pt>
                <c:pt idx="5">
                  <c:v>4.9888354902022911E-2</c:v>
                </c:pt>
                <c:pt idx="6">
                  <c:v>4.2815350705144556E-2</c:v>
                </c:pt>
                <c:pt idx="7">
                  <c:v>3.5749353223466208E-2</c:v>
                </c:pt>
                <c:pt idx="8">
                  <c:v>3.2571542208751483E-2</c:v>
                </c:pt>
                <c:pt idx="9">
                  <c:v>3.14634473902366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B$2:$B$13</c:f>
              <c:numCache>
                <c:formatCode>General</c:formatCode>
                <c:ptCount val="12"/>
                <c:pt idx="0">
                  <c:v>131.17377621282364</c:v>
                </c:pt>
                <c:pt idx="1">
                  <c:v>122.57091977443196</c:v>
                </c:pt>
                <c:pt idx="2">
                  <c:v>116.02949416907657</c:v>
                </c:pt>
                <c:pt idx="3">
                  <c:v>110.25632983331681</c:v>
                </c:pt>
                <c:pt idx="4">
                  <c:v>104.92672843626181</c:v>
                </c:pt>
                <c:pt idx="5">
                  <c:v>100</c:v>
                </c:pt>
                <c:pt idx="6">
                  <c:v>95.43890292482385</c:v>
                </c:pt>
                <c:pt idx="7">
                  <c:v>91.20959131499545</c:v>
                </c:pt>
                <c:pt idx="8">
                  <c:v>87.281465381778958</c:v>
                </c:pt>
                <c:pt idx="9">
                  <c:v>83.399225559608666</c:v>
                </c:pt>
                <c:pt idx="10">
                  <c:v>79.768029490058581</c:v>
                </c:pt>
                <c:pt idx="11">
                  <c:v>76.3878420800850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C$2:$C$13</c:f>
              <c:numCache>
                <c:formatCode>General</c:formatCode>
                <c:ptCount val="12"/>
                <c:pt idx="0">
                  <c:v>108.51633648354134</c:v>
                </c:pt>
                <c:pt idx="1">
                  <c:v>105.62922917958409</c:v>
                </c:pt>
                <c:pt idx="2">
                  <c:v>104.00054940025491</c:v>
                </c:pt>
                <c:pt idx="3">
                  <c:v>102.63602642922878</c:v>
                </c:pt>
                <c:pt idx="4">
                  <c:v>101.3007421401055</c:v>
                </c:pt>
                <c:pt idx="5">
                  <c:v>100</c:v>
                </c:pt>
                <c:pt idx="6">
                  <c:v>98.73704183907752</c:v>
                </c:pt>
                <c:pt idx="7">
                  <c:v>97.513589185700695</c:v>
                </c:pt>
                <c:pt idx="8">
                  <c:v>96.33026607046483</c:v>
                </c:pt>
                <c:pt idx="9">
                  <c:v>94.926739310799974</c:v>
                </c:pt>
                <c:pt idx="10">
                  <c:v>93.549400652152144</c:v>
                </c:pt>
                <c:pt idx="11">
                  <c:v>92.2243249064070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D$2:$D$13</c:f>
              <c:numCache>
                <c:formatCode>General</c:formatCode>
                <c:ptCount val="12"/>
                <c:pt idx="0">
                  <c:v>89.685076072245636</c:v>
                </c:pt>
                <c:pt idx="1">
                  <c:v>91.556744329940315</c:v>
                </c:pt>
                <c:pt idx="2">
                  <c:v>94.010247502425472</c:v>
                </c:pt>
                <c:pt idx="3">
                  <c:v>96.307225251213765</c:v>
                </c:pt>
                <c:pt idx="4">
                  <c:v>98.289314010132969</c:v>
                </c:pt>
                <c:pt idx="5">
                  <c:v>100</c:v>
                </c:pt>
                <c:pt idx="6">
                  <c:v>101.47614015243767</c:v>
                </c:pt>
                <c:pt idx="7">
                  <c:v>102.74899345242528</c:v>
                </c:pt>
                <c:pt idx="8">
                  <c:v>103.84511697253419</c:v>
                </c:pt>
                <c:pt idx="9">
                  <c:v>104.50176944359428</c:v>
                </c:pt>
                <c:pt idx="10">
                  <c:v>104.9977053587195</c:v>
                </c:pt>
                <c:pt idx="11">
                  <c:v>105.380517591426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E$2:$E$13</c:f>
              <c:numCache>
                <c:formatCode>General</c:formatCode>
                <c:ptCount val="12"/>
                <c:pt idx="0">
                  <c:v>0.45413335371667246</c:v>
                </c:pt>
                <c:pt idx="1">
                  <c:v>0.47614410558293579</c:v>
                </c:pt>
                <c:pt idx="2">
                  <c:v>0.49644859761460491</c:v>
                </c:pt>
                <c:pt idx="3">
                  <c:v>0.51523782904689575</c:v>
                </c:pt>
                <c:pt idx="4">
                  <c:v>0.5326753172106764</c:v>
                </c:pt>
                <c:pt idx="5">
                  <c:v>0.54890186869641688</c:v>
                </c:pt>
                <c:pt idx="6">
                  <c:v>0.56403938988110092</c:v>
                </c:pt>
                <c:pt idx="7">
                  <c:v>0.5781939551447014</c:v>
                </c:pt>
                <c:pt idx="8">
                  <c:v>0.59145829617788692</c:v>
                </c:pt>
                <c:pt idx="9">
                  <c:v>0.60391383592856096</c:v>
                </c:pt>
                <c:pt idx="10">
                  <c:v>0.61563236149280487</c:v>
                </c:pt>
                <c:pt idx="11">
                  <c:v>0.6266774085763449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Rosé 750ml (1.1%)</c:v>
                </c:pt>
                <c:pt idx="9">
                  <c:v>Prosecco Bottega 750ml (2.6%)</c:v>
                </c:pt>
              </c:strCache>
            </c:strRef>
          </c:cat>
          <c:val>
            <c:numRef>
              <c:f>Sheet1!$B$2:$B$11</c:f>
              <c:numCache>
                <c:formatCode>General</c:formatCode>
                <c:ptCount val="10"/>
                <c:pt idx="0">
                  <c:v>0.11198065235184962</c:v>
                </c:pt>
                <c:pt idx="1">
                  <c:v>7.7238645867497485E-2</c:v>
                </c:pt>
                <c:pt idx="2">
                  <c:v>7.7130438460496026E-2</c:v>
                </c:pt>
                <c:pt idx="3">
                  <c:v>7.0966531166843802E-2</c:v>
                </c:pt>
                <c:pt idx="4">
                  <c:v>6.0405519227744238E-2</c:v>
                </c:pt>
                <c:pt idx="5">
                  <c:v>5.7770757227038956E-2</c:v>
                </c:pt>
                <c:pt idx="6">
                  <c:v>4.7270435759286231E-2</c:v>
                </c:pt>
                <c:pt idx="7">
                  <c:v>4.6651517410859843E-2</c:v>
                </c:pt>
                <c:pt idx="8">
                  <c:v>3.393737190243299E-2</c:v>
                </c:pt>
                <c:pt idx="9">
                  <c:v>3.342558084310734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rémant de Bourgogne Patriarche Brut 750ml (1.8%)</c:v>
                </c:pt>
                <c:pt idx="2">
                  <c:v>Champagne E.Nicolas Brut 750ml (11.6%)</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750ml (2.6%)</c:v>
                </c:pt>
                <c:pt idx="9">
                  <c:v>Crémant de Loire De Chanceny Brut 2015 750ml (0.7%)</c:v>
                </c:pt>
              </c:strCache>
            </c:strRef>
          </c:cat>
          <c:val>
            <c:numRef>
              <c:f>Sheet1!$B$2:$B$11</c:f>
              <c:numCache>
                <c:formatCode>General</c:formatCode>
                <c:ptCount val="10"/>
                <c:pt idx="0">
                  <c:v>9.6271800112567973E-2</c:v>
                </c:pt>
                <c:pt idx="1">
                  <c:v>8.1708359577773296E-2</c:v>
                </c:pt>
                <c:pt idx="2">
                  <c:v>7.9881602476123317E-2</c:v>
                </c:pt>
                <c:pt idx="3">
                  <c:v>6.2292521963754718E-2</c:v>
                </c:pt>
                <c:pt idx="4">
                  <c:v>5.64534471385797E-2</c:v>
                </c:pt>
                <c:pt idx="5">
                  <c:v>5.5757262019180277E-2</c:v>
                </c:pt>
                <c:pt idx="6">
                  <c:v>4.8529988420495829E-2</c:v>
                </c:pt>
                <c:pt idx="7">
                  <c:v>4.1425304168281531E-2</c:v>
                </c:pt>
                <c:pt idx="8">
                  <c:v>3.4698465869476024E-2</c:v>
                </c:pt>
                <c:pt idx="9">
                  <c:v>3.22127286361816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B$2:$B$13</c:f>
              <c:numCache>
                <c:formatCode>General</c:formatCode>
                <c:ptCount val="12"/>
                <c:pt idx="0">
                  <c:v>143.29653677844442</c:v>
                </c:pt>
                <c:pt idx="1">
                  <c:v>132.6634241139399</c:v>
                </c:pt>
                <c:pt idx="2">
                  <c:v>123.58233394473351</c:v>
                </c:pt>
                <c:pt idx="3">
                  <c:v>115.750762356712</c:v>
                </c:pt>
                <c:pt idx="4">
                  <c:v>110.08146359216309</c:v>
                </c:pt>
                <c:pt idx="5">
                  <c:v>104.84339531854958</c:v>
                </c:pt>
                <c:pt idx="6">
                  <c:v>100</c:v>
                </c:pt>
                <c:pt idx="7">
                  <c:v>95.516978830139237</c:v>
                </c:pt>
                <c:pt idx="8">
                  <c:v>91.362454568109499</c:v>
                </c:pt>
                <c:pt idx="9">
                  <c:v>87.507033123813343</c:v>
                </c:pt>
                <c:pt idx="10">
                  <c:v>83.856875287166361</c:v>
                </c:pt>
                <c:pt idx="11">
                  <c:v>79.8808561899090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C$2:$C$13</c:f>
              <c:numCache>
                <c:formatCode>General</c:formatCode>
                <c:ptCount val="12"/>
                <c:pt idx="0">
                  <c:v>112.95786624097251</c:v>
                </c:pt>
                <c:pt idx="1">
                  <c:v>109.248085933219</c:v>
                </c:pt>
                <c:pt idx="2">
                  <c:v>106.12389202879558</c:v>
                </c:pt>
                <c:pt idx="3">
                  <c:v>103.47819666814351</c:v>
                </c:pt>
                <c:pt idx="4">
                  <c:v>102.30046263028908</c:v>
                </c:pt>
                <c:pt idx="5">
                  <c:v>101.13799751163111</c:v>
                </c:pt>
                <c:pt idx="6">
                  <c:v>100</c:v>
                </c:pt>
                <c:pt idx="7">
                  <c:v>98.892821746266577</c:v>
                </c:pt>
                <c:pt idx="8">
                  <c:v>97.820547353882347</c:v>
                </c:pt>
                <c:pt idx="9">
                  <c:v>96.785494852806949</c:v>
                </c:pt>
                <c:pt idx="10">
                  <c:v>95.711885437568313</c:v>
                </c:pt>
                <c:pt idx="11">
                  <c:v>93.99383834452646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D$2:$D$13</c:f>
              <c:numCache>
                <c:formatCode>General</c:formatCode>
                <c:ptCount val="12"/>
                <c:pt idx="0">
                  <c:v>83.509500133219987</c:v>
                </c:pt>
                <c:pt idx="1">
                  <c:v>86.53790253646963</c:v>
                </c:pt>
                <c:pt idx="2">
                  <c:v>89.207827789571041</c:v>
                </c:pt>
                <c:pt idx="3">
                  <c:v>91.603650269023362</c:v>
                </c:pt>
                <c:pt idx="4">
                  <c:v>94.771848426979659</c:v>
                </c:pt>
                <c:pt idx="5">
                  <c:v>97.552830755904793</c:v>
                </c:pt>
                <c:pt idx="6">
                  <c:v>100</c:v>
                </c:pt>
                <c:pt idx="7">
                  <c:v>102.15900619747207</c:v>
                </c:pt>
                <c:pt idx="8">
                  <c:v>104.06871749686553</c:v>
                </c:pt>
                <c:pt idx="9">
                  <c:v>105.76213653980639</c:v>
                </c:pt>
                <c:pt idx="10">
                  <c:v>107.18171941092652</c:v>
                </c:pt>
                <c:pt idx="11">
                  <c:v>107.6544959886972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E$2:$E$13</c:f>
              <c:numCache>
                <c:formatCode>General</c:formatCode>
                <c:ptCount val="12"/>
                <c:pt idx="0">
                  <c:v>0.38094074394921762</c:v>
                </c:pt>
                <c:pt idx="1">
                  <c:v>0.40785636377751239</c:v>
                </c:pt>
                <c:pt idx="2">
                  <c:v>0.43252901528678278</c:v>
                </c:pt>
                <c:pt idx="3">
                  <c:v>0.45522785467531157</c:v>
                </c:pt>
                <c:pt idx="4">
                  <c:v>0.47618062949549184</c:v>
                </c:pt>
                <c:pt idx="5">
                  <c:v>0.49558134692158473</c:v>
                </c:pt>
                <c:pt idx="6">
                  <c:v>0.51359629881724245</c:v>
                </c:pt>
                <c:pt idx="7">
                  <c:v>0.53036884023733755</c:v>
                </c:pt>
                <c:pt idx="8">
                  <c:v>0.54602321222942629</c:v>
                </c:pt>
                <c:pt idx="9">
                  <c:v>0.56066762473815446</c:v>
                </c:pt>
                <c:pt idx="10">
                  <c:v>0.57439676146508722</c:v>
                </c:pt>
                <c:pt idx="11">
                  <c:v>0.587293829299478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Savian (2.1%)</c:v>
                </c:pt>
                <c:pt idx="3">
                  <c:v>Nicolas (14.4%)</c:v>
                </c:pt>
                <c:pt idx="4">
                  <c:v>Les Grumes  (1.0%)</c:v>
                </c:pt>
                <c:pt idx="5">
                  <c:v>Bottega (3.7%)</c:v>
                </c:pt>
                <c:pt idx="6">
                  <c:v>Bouvet Ladubay (1.5%)</c:v>
                </c:pt>
                <c:pt idx="7">
                  <c:v>Muré (1.3%)</c:v>
                </c:pt>
                <c:pt idx="8">
                  <c:v>Château Moncontour  (1.5%)</c:v>
                </c:pt>
                <c:pt idx="9">
                  <c:v>Veuve du Vernay (0.7%)</c:v>
                </c:pt>
              </c:strCache>
            </c:strRef>
          </c:cat>
          <c:val>
            <c:numRef>
              <c:f>Sheet1!$B$2:$B$11</c:f>
              <c:numCache>
                <c:formatCode>General</c:formatCode>
                <c:ptCount val="10"/>
                <c:pt idx="0">
                  <c:v>0.23220333283043998</c:v>
                </c:pt>
                <c:pt idx="1">
                  <c:v>8.1905428203924921E-2</c:v>
                </c:pt>
                <c:pt idx="2">
                  <c:v>7.1585981957474287E-2</c:v>
                </c:pt>
                <c:pt idx="3">
                  <c:v>7.1473373264226148E-2</c:v>
                </c:pt>
                <c:pt idx="4">
                  <c:v>7.0494341990775575E-2</c:v>
                </c:pt>
                <c:pt idx="5">
                  <c:v>6.7032751445439576E-2</c:v>
                </c:pt>
                <c:pt idx="6">
                  <c:v>6.3806676886003569E-2</c:v>
                </c:pt>
                <c:pt idx="7">
                  <c:v>6.0673462245903219E-2</c:v>
                </c:pt>
                <c:pt idx="8">
                  <c:v>4.1777110843486683E-2</c:v>
                </c:pt>
                <c:pt idx="9">
                  <c:v>4.080813967419796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Mousseux Les Grumes Bulles 750ml (1.0%)</c:v>
                </c:pt>
                <c:pt idx="7">
                  <c:v>Crémant d'Alsace Muré Prestige Bio 750ml (1.3%)</c:v>
                </c:pt>
                <c:pt idx="8">
                  <c:v>Crémant de Bourgogne Patriarche Rosé Brut 750ml (0.8%)</c:v>
                </c:pt>
                <c:pt idx="9">
                  <c:v>Clairette de Die Cuvée Dea Augusta 750ml (0.5%)</c:v>
                </c:pt>
              </c:strCache>
            </c:strRef>
          </c:cat>
          <c:val>
            <c:numRef>
              <c:f>Sheet1!$B$2:$B$11</c:f>
              <c:numCache>
                <c:formatCode>General</c:formatCode>
                <c:ptCount val="10"/>
                <c:pt idx="0">
                  <c:v>0.14664591523447218</c:v>
                </c:pt>
                <c:pt idx="1">
                  <c:v>0.10190205417908516</c:v>
                </c:pt>
                <c:pt idx="2">
                  <c:v>8.1963438786853068E-2</c:v>
                </c:pt>
                <c:pt idx="3">
                  <c:v>6.878149550969663E-2</c:v>
                </c:pt>
                <c:pt idx="4">
                  <c:v>5.9844179379976922E-2</c:v>
                </c:pt>
                <c:pt idx="5">
                  <c:v>4.7701074779065392E-2</c:v>
                </c:pt>
                <c:pt idx="6">
                  <c:v>4.2889458437984543E-2</c:v>
                </c:pt>
                <c:pt idx="7">
                  <c:v>3.9527379695321566E-2</c:v>
                </c:pt>
                <c:pt idx="8">
                  <c:v>3.3295918963277049E-2</c:v>
                </c:pt>
                <c:pt idx="9">
                  <c:v>3.255550378733732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Crémant d'Alsace Muré Prestige Bio 750ml (1.3%)</c:v>
                </c:pt>
                <c:pt idx="7">
                  <c:v>Mousseux Les Grumes Bulles 750ml (1.0%)</c:v>
                </c:pt>
                <c:pt idx="8">
                  <c:v>Crémant de Bourgogne Patriarche Rosé Brut 750ml (0.8%)</c:v>
                </c:pt>
                <c:pt idx="9">
                  <c:v>Crémant de Loire De Chanceny Brut 2015 750ml (0.7%)</c:v>
                </c:pt>
              </c:strCache>
            </c:strRef>
          </c:cat>
          <c:val>
            <c:numRef>
              <c:f>Sheet1!$B$2:$B$11</c:f>
              <c:numCache>
                <c:formatCode>General</c:formatCode>
                <c:ptCount val="10"/>
                <c:pt idx="0">
                  <c:v>0.1289398482491991</c:v>
                </c:pt>
                <c:pt idx="1">
                  <c:v>0.10652994813522758</c:v>
                </c:pt>
                <c:pt idx="2">
                  <c:v>7.4740679010163236E-2</c:v>
                </c:pt>
                <c:pt idx="3">
                  <c:v>6.8482701077543451E-2</c:v>
                </c:pt>
                <c:pt idx="4">
                  <c:v>5.9592444463436485E-2</c:v>
                </c:pt>
                <c:pt idx="5">
                  <c:v>4.936440843074346E-2</c:v>
                </c:pt>
                <c:pt idx="6">
                  <c:v>4.0678465562346736E-2</c:v>
                </c:pt>
                <c:pt idx="7">
                  <c:v>3.9135546728892273E-2</c:v>
                </c:pt>
                <c:pt idx="8">
                  <c:v>3.4626220830621293E-2</c:v>
                </c:pt>
                <c:pt idx="9">
                  <c:v>3.307719371674347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B$2:$B$15</c:f>
              <c:numCache>
                <c:formatCode>General</c:formatCode>
                <c:ptCount val="14"/>
                <c:pt idx="0">
                  <c:v>151.29135134875838</c:v>
                </c:pt>
                <c:pt idx="1">
                  <c:v>142.42421498100569</c:v>
                </c:pt>
                <c:pt idx="2">
                  <c:v>134.28611588574853</c:v>
                </c:pt>
                <c:pt idx="3">
                  <c:v>126.81488744644784</c:v>
                </c:pt>
                <c:pt idx="4">
                  <c:v>119.85700148477596</c:v>
                </c:pt>
                <c:pt idx="5">
                  <c:v>112.65969747791655</c:v>
                </c:pt>
                <c:pt idx="6">
                  <c:v>106.06047008775224</c:v>
                </c:pt>
                <c:pt idx="7">
                  <c:v>100</c:v>
                </c:pt>
                <c:pt idx="8">
                  <c:v>94.426636286746458</c:v>
                </c:pt>
                <c:pt idx="9">
                  <c:v>89.295268192828303</c:v>
                </c:pt>
                <c:pt idx="10">
                  <c:v>84.566172631036778</c:v>
                </c:pt>
                <c:pt idx="11">
                  <c:v>80.203941355220849</c:v>
                </c:pt>
                <c:pt idx="12">
                  <c:v>76.261879258411156</c:v>
                </c:pt>
                <c:pt idx="13">
                  <c:v>73.3069067425817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C$2:$C$15</c:f>
              <c:numCache>
                <c:formatCode>General</c:formatCode>
                <c:ptCount val="14"/>
                <c:pt idx="0">
                  <c:v>121.27387556022711</c:v>
                </c:pt>
                <c:pt idx="1">
                  <c:v>118.20151393642533</c:v>
                </c:pt>
                <c:pt idx="2">
                  <c:v>115.25312828032889</c:v>
                </c:pt>
                <c:pt idx="3">
                  <c:v>112.43540069554403</c:v>
                </c:pt>
                <c:pt idx="4">
                  <c:v>109.66418420195743</c:v>
                </c:pt>
                <c:pt idx="5">
                  <c:v>106.27157288201829</c:v>
                </c:pt>
                <c:pt idx="6">
                  <c:v>103.05307445834858</c:v>
                </c:pt>
                <c:pt idx="7">
                  <c:v>100</c:v>
                </c:pt>
                <c:pt idx="8">
                  <c:v>97.104859343818021</c:v>
                </c:pt>
                <c:pt idx="9">
                  <c:v>94.361249094738838</c:v>
                </c:pt>
                <c:pt idx="10">
                  <c:v>91.763524480239511</c:v>
                </c:pt>
                <c:pt idx="11">
                  <c:v>89.306365221626208</c:v>
                </c:pt>
                <c:pt idx="12">
                  <c:v>87.081800061327982</c:v>
                </c:pt>
                <c:pt idx="13">
                  <c:v>85.7892430776158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D$2:$D$15</c:f>
              <c:numCache>
                <c:formatCode>General</c:formatCode>
                <c:ptCount val="14"/>
                <c:pt idx="0">
                  <c:v>86.934884788548786</c:v>
                </c:pt>
                <c:pt idx="1">
                  <c:v>90.49459622841664</c:v>
                </c:pt>
                <c:pt idx="2">
                  <c:v>93.484142694585543</c:v>
                </c:pt>
                <c:pt idx="3">
                  <c:v>95.989376685632351</c:v>
                </c:pt>
                <c:pt idx="4">
                  <c:v>98.006333770851739</c:v>
                </c:pt>
                <c:pt idx="5">
                  <c:v>98.967327493429266</c:v>
                </c:pt>
                <c:pt idx="6">
                  <c:v>99.615311660734307</c:v>
                </c:pt>
                <c:pt idx="7">
                  <c:v>100</c:v>
                </c:pt>
                <c:pt idx="8">
                  <c:v>100.16482158891348</c:v>
                </c:pt>
                <c:pt idx="9">
                  <c:v>100.14798551172468</c:v>
                </c:pt>
                <c:pt idx="10">
                  <c:v>99.983105435198681</c:v>
                </c:pt>
                <c:pt idx="11">
                  <c:v>99.699503012752473</c:v>
                </c:pt>
                <c:pt idx="12">
                  <c:v>99.433561099717821</c:v>
                </c:pt>
                <c:pt idx="13">
                  <c:v>100.0355056650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E$2:$E$15</c:f>
              <c:numCache>
                <c:formatCode>General</c:formatCode>
                <c:ptCount val="14"/>
                <c:pt idx="0">
                  <c:v>0.33770842867521228</c:v>
                </c:pt>
                <c:pt idx="1">
                  <c:v>0.36054606906572223</c:v>
                </c:pt>
                <c:pt idx="2">
                  <c:v>0.38186120009686492</c:v>
                </c:pt>
                <c:pt idx="3">
                  <c:v>0.40180116138406263</c:v>
                </c:pt>
                <c:pt idx="4">
                  <c:v>0.42049487509081068</c:v>
                </c:pt>
                <c:pt idx="5">
                  <c:v>0.43805563645169526</c:v>
                </c:pt>
                <c:pt idx="6">
                  <c:v>0.4545834118501747</c:v>
                </c:pt>
                <c:pt idx="7">
                  <c:v>0.47016674294016986</c:v>
                </c:pt>
                <c:pt idx="8">
                  <c:v>0.48488433341405413</c:v>
                </c:pt>
                <c:pt idx="9">
                  <c:v>0.49880637845691755</c:v>
                </c:pt>
                <c:pt idx="10">
                  <c:v>0.5119956842869986</c:v>
                </c:pt>
                <c:pt idx="11">
                  <c:v>0.52450861545912675</c:v>
                </c:pt>
                <c:pt idx="12">
                  <c:v>0.53639590007264859</c:v>
                </c:pt>
                <c:pt idx="13">
                  <c:v>0.547703317144047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hampagne Heidsieck Monopole Silver Top 750ml (4.2%)</c:v>
                </c:pt>
              </c:strCache>
            </c:strRef>
          </c:cat>
          <c:val>
            <c:numRef>
              <c:f>Sheet1!$B$2:$B$11</c:f>
              <c:numCache>
                <c:formatCode>General</c:formatCode>
                <c:ptCount val="10"/>
                <c:pt idx="0">
                  <c:v>0.1932081477860178</c:v>
                </c:pt>
                <c:pt idx="1">
                  <c:v>8.3915607613460813E-2</c:v>
                </c:pt>
                <c:pt idx="2">
                  <c:v>8.046352017652933E-2</c:v>
                </c:pt>
                <c:pt idx="3">
                  <c:v>6.4182442232097806E-2</c:v>
                </c:pt>
                <c:pt idx="4">
                  <c:v>5.2553259074046371E-2</c:v>
                </c:pt>
                <c:pt idx="5">
                  <c:v>3.9562183309292266E-2</c:v>
                </c:pt>
                <c:pt idx="6">
                  <c:v>3.8268107608142636E-2</c:v>
                </c:pt>
                <c:pt idx="7">
                  <c:v>3.4643508332484023E-2</c:v>
                </c:pt>
                <c:pt idx="8">
                  <c:v>2.7600001554101361E-2</c:v>
                </c:pt>
                <c:pt idx="9">
                  <c:v>2.50942496544312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rémant de Bourgogne Patriarche Rosé Brut 750ml (0.8%)</c:v>
                </c:pt>
              </c:strCache>
            </c:strRef>
          </c:cat>
          <c:val>
            <c:numRef>
              <c:f>Sheet1!$B$2:$B$11</c:f>
              <c:numCache>
                <c:formatCode>General</c:formatCode>
                <c:ptCount val="10"/>
                <c:pt idx="0">
                  <c:v>0.1679930737412022</c:v>
                </c:pt>
                <c:pt idx="1">
                  <c:v>9.0887854292782067E-2</c:v>
                </c:pt>
                <c:pt idx="2">
                  <c:v>7.0856501651655593E-2</c:v>
                </c:pt>
                <c:pt idx="3">
                  <c:v>6.599305584846954E-2</c:v>
                </c:pt>
                <c:pt idx="4">
                  <c:v>5.5685298538645858E-2</c:v>
                </c:pt>
                <c:pt idx="5">
                  <c:v>4.0113838621288568E-2</c:v>
                </c:pt>
                <c:pt idx="6">
                  <c:v>3.8986062397065438E-2</c:v>
                </c:pt>
                <c:pt idx="7">
                  <c:v>3.0481927134768008E-2</c:v>
                </c:pt>
                <c:pt idx="8">
                  <c:v>2.637378211012463E-2</c:v>
                </c:pt>
                <c:pt idx="9">
                  <c:v>2.62584206026213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Bourgogne Louis Picamelot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1365931961775432</c:v>
                </c:pt>
                <c:pt idx="1">
                  <c:v>0.168626449701957</c:v>
                </c:pt>
                <c:pt idx="2">
                  <c:v>0</c:v>
                </c:pt>
                <c:pt idx="3">
                  <c:v>-0.12446590111992963</c:v>
                </c:pt>
                <c:pt idx="4">
                  <c:v>-0.2408996682754110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d'Alsace Wolfberger AOP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5</c:v>
                </c:pt>
                <c:pt idx="1">
                  <c:v>6.95</c:v>
                </c:pt>
                <c:pt idx="2">
                  <c:v>7.5</c:v>
                </c:pt>
                <c:pt idx="3">
                  <c:v>8.5</c:v>
                </c:pt>
                <c:pt idx="4">
                  <c:v>8.9499999999999993</c:v>
                </c:pt>
              </c:numCache>
            </c:numRef>
          </c:xVal>
          <c:yVal>
            <c:numRef>
              <c:f>Sheet1!$B$9:$B$13</c:f>
              <c:numCache>
                <c:formatCode>General</c:formatCode>
                <c:ptCount val="5"/>
                <c:pt idx="0">
                  <c:v>0.14131891627538948</c:v>
                </c:pt>
                <c:pt idx="1">
                  <c:v>4.7221846164758628E-2</c:v>
                </c:pt>
                <c:pt idx="2">
                  <c:v>0</c:v>
                </c:pt>
                <c:pt idx="3">
                  <c:v>-7.8994707318392768E-2</c:v>
                </c:pt>
                <c:pt idx="4">
                  <c:v>-0.1675445441231943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Riccadonna Extra Dry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5</c:v>
                </c:pt>
                <c:pt idx="1">
                  <c:v>6.5</c:v>
                </c:pt>
                <c:pt idx="2">
                  <c:v>6.95</c:v>
                </c:pt>
                <c:pt idx="3">
                  <c:v>7.5</c:v>
                </c:pt>
                <c:pt idx="4">
                  <c:v>8.5</c:v>
                </c:pt>
              </c:numCache>
            </c:numRef>
          </c:xVal>
          <c:yVal>
            <c:numRef>
              <c:f>Sheet1!$B$16:$B$20</c:f>
              <c:numCache>
                <c:formatCode>General</c:formatCode>
                <c:ptCount val="5"/>
                <c:pt idx="0">
                  <c:v>0.13446040201565831</c:v>
                </c:pt>
                <c:pt idx="1">
                  <c:v>3.9563816745439684E-2</c:v>
                </c:pt>
                <c:pt idx="2">
                  <c:v>0</c:v>
                </c:pt>
                <c:pt idx="3">
                  <c:v>-4.5981156007016216E-2</c:v>
                </c:pt>
                <c:pt idx="4">
                  <c:v>-0.1233089794576264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Mionett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c:v>
                </c:pt>
                <c:pt idx="1">
                  <c:v>7.5</c:v>
                </c:pt>
                <c:pt idx="2">
                  <c:v>7.95</c:v>
                </c:pt>
                <c:pt idx="3">
                  <c:v>8.9499999999999993</c:v>
                </c:pt>
                <c:pt idx="4">
                  <c:v>9.5</c:v>
                </c:pt>
              </c:numCache>
            </c:numRef>
          </c:xVal>
          <c:yVal>
            <c:numRef>
              <c:f>Sheet1!$B$23:$B$27</c:f>
              <c:numCache>
                <c:formatCode>General</c:formatCode>
                <c:ptCount val="5"/>
                <c:pt idx="0">
                  <c:v>0.13394540195385438</c:v>
                </c:pt>
                <c:pt idx="1">
                  <c:v>3.9136573810078824E-2</c:v>
                </c:pt>
                <c:pt idx="2">
                  <c:v>0</c:v>
                </c:pt>
                <c:pt idx="3">
                  <c:v>-0.12235579127214696</c:v>
                </c:pt>
                <c:pt idx="4">
                  <c:v>-0.2149050134324264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Bottega Gold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9.95</c:v>
                </c:pt>
                <c:pt idx="1">
                  <c:v>22.5</c:v>
                </c:pt>
                <c:pt idx="2">
                  <c:v>24.95</c:v>
                </c:pt>
                <c:pt idx="3">
                  <c:v>26.95</c:v>
                </c:pt>
                <c:pt idx="4">
                  <c:v>29.95</c:v>
                </c:pt>
              </c:numCache>
            </c:numRef>
          </c:xVal>
          <c:yVal>
            <c:numRef>
              <c:f>Sheet1!$B$30:$B$34</c:f>
              <c:numCache>
                <c:formatCode>General</c:formatCode>
                <c:ptCount val="5"/>
                <c:pt idx="0">
                  <c:v>0.29934707103987668</c:v>
                </c:pt>
                <c:pt idx="1">
                  <c:v>0.13287955043309124</c:v>
                </c:pt>
                <c:pt idx="2">
                  <c:v>0</c:v>
                </c:pt>
                <c:pt idx="3">
                  <c:v>-0.20093296085127271</c:v>
                </c:pt>
                <c:pt idx="4">
                  <c:v>-0.4083080337868856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95"/>
          <c:min val="5.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1.23317567056745</c:v>
                </c:pt>
                <c:pt idx="1">
                  <c:v>131.14560411405017</c:v>
                </c:pt>
                <c:pt idx="2">
                  <c:v>122.56628898679887</c:v>
                </c:pt>
                <c:pt idx="3">
                  <c:v>116.20855438930258</c:v>
                </c:pt>
                <c:pt idx="4">
                  <c:v>110.36029223363167</c:v>
                </c:pt>
                <c:pt idx="5">
                  <c:v>104.97228344823387</c:v>
                </c:pt>
                <c:pt idx="6">
                  <c:v>100</c:v>
                </c:pt>
                <c:pt idx="7">
                  <c:v>95.403303135386238</c:v>
                </c:pt>
                <c:pt idx="8">
                  <c:v>91.146113469775329</c:v>
                </c:pt>
                <c:pt idx="9">
                  <c:v>87.158935648316145</c:v>
                </c:pt>
                <c:pt idx="10">
                  <c:v>83.138950503438195</c:v>
                </c:pt>
                <c:pt idx="11">
                  <c:v>79.409099538081364</c:v>
                </c:pt>
                <c:pt idx="12">
                  <c:v>75.9408668372922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2.09863209609776</c:v>
                </c:pt>
                <c:pt idx="1">
                  <c:v>108.59854176584136</c:v>
                </c:pt>
                <c:pt idx="2">
                  <c:v>105.70642700098738</c:v>
                </c:pt>
                <c:pt idx="3">
                  <c:v>104.21946762582985</c:v>
                </c:pt>
                <c:pt idx="4">
                  <c:v>102.76973841965511</c:v>
                </c:pt>
                <c:pt idx="5">
                  <c:v>101.36226679788332</c:v>
                </c:pt>
                <c:pt idx="6">
                  <c:v>100</c:v>
                </c:pt>
                <c:pt idx="7">
                  <c:v>98.684300400178685</c:v>
                </c:pt>
                <c:pt idx="8">
                  <c:v>97.415348093149063</c:v>
                </c:pt>
                <c:pt idx="9">
                  <c:v>96.151437241898648</c:v>
                </c:pt>
                <c:pt idx="10">
                  <c:v>94.575529527981843</c:v>
                </c:pt>
                <c:pt idx="11">
                  <c:v>93.06328964914492</c:v>
                </c:pt>
                <c:pt idx="12">
                  <c:v>91.610229350992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2.791861599987797</c:v>
                </c:pt>
                <c:pt idx="1">
                  <c:v>85.922982005756992</c:v>
                </c:pt>
                <c:pt idx="2">
                  <c:v>88.754898921475061</c:v>
                </c:pt>
                <c:pt idx="3">
                  <c:v>92.165405205308971</c:v>
                </c:pt>
                <c:pt idx="4">
                  <c:v>95.138182960027251</c:v>
                </c:pt>
                <c:pt idx="5">
                  <c:v>97.732815624217722</c:v>
                </c:pt>
                <c:pt idx="6">
                  <c:v>100</c:v>
                </c:pt>
                <c:pt idx="7">
                  <c:v>101.98284128265422</c:v>
                </c:pt>
                <c:pt idx="8">
                  <c:v>103.71799118974425</c:v>
                </c:pt>
                <c:pt idx="9">
                  <c:v>105.19181888589874</c:v>
                </c:pt>
                <c:pt idx="10">
                  <c:v>106.07383340093833</c:v>
                </c:pt>
                <c:pt idx="11">
                  <c:v>106.79154765466106</c:v>
                </c:pt>
                <c:pt idx="12">
                  <c:v>107.364673804447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36956521739130432</c:v>
                </c:pt>
                <c:pt idx="1">
                  <c:v>0.39583333333333326</c:v>
                </c:pt>
                <c:pt idx="2">
                  <c:v>0.42000000000000004</c:v>
                </c:pt>
                <c:pt idx="3">
                  <c:v>0.44230769230769235</c:v>
                </c:pt>
                <c:pt idx="4">
                  <c:v>0.46296296296296297</c:v>
                </c:pt>
                <c:pt idx="5">
                  <c:v>0.4821428571428571</c:v>
                </c:pt>
                <c:pt idx="6">
                  <c:v>0.5</c:v>
                </c:pt>
                <c:pt idx="7">
                  <c:v>0.51666666666666661</c:v>
                </c:pt>
                <c:pt idx="8">
                  <c:v>0.532258064516129</c:v>
                </c:pt>
                <c:pt idx="9">
                  <c:v>0.546875</c:v>
                </c:pt>
                <c:pt idx="10">
                  <c:v>0.56060606060606066</c:v>
                </c:pt>
                <c:pt idx="11">
                  <c:v>0.57352941176470584</c:v>
                </c:pt>
                <c:pt idx="12">
                  <c:v>0.585714285714285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Crémant de Bourgogne Patriarche Brut 750ml (1.8%)</c:v>
                </c:pt>
                <c:pt idx="4">
                  <c:v>Prosecco Bottega 750ml (2.6%)</c:v>
                </c:pt>
                <c:pt idx="5">
                  <c:v>Crémant d'Alsace Muré Prestige Bio 750ml (1.3%)</c:v>
                </c:pt>
                <c:pt idx="6">
                  <c:v>Mousseux Château Moncontour Brut Vouvray 750ml (1.5%)</c:v>
                </c:pt>
                <c:pt idx="7">
                  <c:v>Mousseux Les Grumes Bulles 750ml (1.0%)</c:v>
                </c:pt>
                <c:pt idx="8">
                  <c:v>Crémant Saumur Bouvet Cuvée Saphir Brut 750ml (1.5%)</c:v>
                </c:pt>
                <c:pt idx="9">
                  <c:v>Mousseux Lyre's Classico Sans Alcool 750ml (1.0%)</c:v>
                </c:pt>
              </c:strCache>
            </c:strRef>
          </c:cat>
          <c:val>
            <c:numRef>
              <c:f>Sheet1!$B$2:$B$11</c:f>
              <c:numCache>
                <c:formatCode>General</c:formatCode>
                <c:ptCount val="10"/>
                <c:pt idx="0">
                  <c:v>0.11615907371192186</c:v>
                </c:pt>
                <c:pt idx="1">
                  <c:v>8.1851680277454042E-2</c:v>
                </c:pt>
                <c:pt idx="2">
                  <c:v>7.2199856706699331E-2</c:v>
                </c:pt>
                <c:pt idx="3">
                  <c:v>5.9125965575204657E-2</c:v>
                </c:pt>
                <c:pt idx="4">
                  <c:v>5.7583279408079863E-2</c:v>
                </c:pt>
                <c:pt idx="5">
                  <c:v>5.423056859756599E-2</c:v>
                </c:pt>
                <c:pt idx="6">
                  <c:v>4.8458951217044147E-2</c:v>
                </c:pt>
                <c:pt idx="7">
                  <c:v>4.456245670821813E-2</c:v>
                </c:pt>
                <c:pt idx="8">
                  <c:v>4.0573064851311923E-2</c:v>
                </c:pt>
                <c:pt idx="9">
                  <c:v>3.57103586892830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Crémant d'Alsace Muré Prestige Bio 750ml (1.3%)</c:v>
                </c:pt>
                <c:pt idx="6">
                  <c:v>Mousseux Château Moncontour Brut Vouvray 750ml (1.5%)</c:v>
                </c:pt>
                <c:pt idx="7">
                  <c:v>Mousseux Les Grumes Bulles 750ml (1.0%)</c:v>
                </c:pt>
                <c:pt idx="8">
                  <c:v>Crémant Saumur Bouvet Cuvée Saphir Brut 750ml (1.5%)</c:v>
                </c:pt>
                <c:pt idx="9">
                  <c:v>Crémant de Bourgogne Patriarche Rosé Brut 750ml (0.8%)</c:v>
                </c:pt>
              </c:strCache>
            </c:strRef>
          </c:cat>
          <c:val>
            <c:numRef>
              <c:f>Sheet1!$B$2:$B$11</c:f>
              <c:numCache>
                <c:formatCode>General</c:formatCode>
                <c:ptCount val="10"/>
                <c:pt idx="0">
                  <c:v>0.10374359137149899</c:v>
                </c:pt>
                <c:pt idx="1">
                  <c:v>7.5362128372822357E-2</c:v>
                </c:pt>
                <c:pt idx="2">
                  <c:v>7.3926680815549262E-2</c:v>
                </c:pt>
                <c:pt idx="3">
                  <c:v>6.7536741496424357E-2</c:v>
                </c:pt>
                <c:pt idx="4">
                  <c:v>6.1251281712040792E-2</c:v>
                </c:pt>
                <c:pt idx="5">
                  <c:v>5.6383640367004731E-2</c:v>
                </c:pt>
                <c:pt idx="6">
                  <c:v>4.5375505641746541E-2</c:v>
                </c:pt>
                <c:pt idx="7">
                  <c:v>3.836170624356721E-2</c:v>
                </c:pt>
                <c:pt idx="8">
                  <c:v>3.7860516886868097E-2</c:v>
                </c:pt>
                <c:pt idx="9">
                  <c:v>3.319514653569242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15</c:v>
                </c:pt>
                <c:pt idx="1">
                  <c:v>6.65</c:v>
                </c:pt>
                <c:pt idx="2">
                  <c:v>7.15</c:v>
                </c:pt>
                <c:pt idx="3">
                  <c:v>7.65</c:v>
                </c:pt>
                <c:pt idx="4">
                  <c:v>8.15</c:v>
                </c:pt>
                <c:pt idx="5">
                  <c:v>8.65</c:v>
                </c:pt>
              </c:strCache>
            </c:strRef>
          </c:cat>
          <c:val>
            <c:numRef>
              <c:f>Sheet1!$B$2:$B$7</c:f>
              <c:numCache>
                <c:formatCode>General</c:formatCode>
                <c:ptCount val="6"/>
                <c:pt idx="0">
                  <c:v>113.59569035863059</c:v>
                </c:pt>
                <c:pt idx="1">
                  <c:v>108.79568669103659</c:v>
                </c:pt>
                <c:pt idx="2">
                  <c:v>104.27342733074261</c:v>
                </c:pt>
                <c:pt idx="3">
                  <c:v>100</c:v>
                </c:pt>
                <c:pt idx="4">
                  <c:v>95.950604359453024</c:v>
                </c:pt>
                <c:pt idx="5">
                  <c:v>90.2047194560772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C$2:$C$7</c:f>
              <c:numCache>
                <c:formatCode>General</c:formatCode>
                <c:ptCount val="6"/>
                <c:pt idx="0">
                  <c:v>91.572810049400246</c:v>
                </c:pt>
                <c:pt idx="1">
                  <c:v>94.739222841851813</c:v>
                </c:pt>
                <c:pt idx="2">
                  <c:v>97.539494606629773</c:v>
                </c:pt>
                <c:pt idx="3">
                  <c:v>100</c:v>
                </c:pt>
                <c:pt idx="4">
                  <c:v>102.14372196616202</c:v>
                </c:pt>
                <c:pt idx="5">
                  <c:v>101.840420898027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D$2:$D$7</c:f>
              <c:numCache>
                <c:formatCode>General</c:formatCode>
                <c:ptCount val="6"/>
                <c:pt idx="0">
                  <c:v>69.048360806226398</c:v>
                </c:pt>
                <c:pt idx="1">
                  <c:v>80.352369909066184</c:v>
                </c:pt>
                <c:pt idx="2">
                  <c:v>90.642913954174858</c:v>
                </c:pt>
                <c:pt idx="3">
                  <c:v>100</c:v>
                </c:pt>
                <c:pt idx="4">
                  <c:v>108.49316702081934</c:v>
                </c:pt>
                <c:pt idx="5">
                  <c:v>113.787652647208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15</c:v>
                </c:pt>
                <c:pt idx="1">
                  <c:v>6.65</c:v>
                </c:pt>
                <c:pt idx="2">
                  <c:v>7.15</c:v>
                </c:pt>
                <c:pt idx="3">
                  <c:v>7.65</c:v>
                </c:pt>
                <c:pt idx="4">
                  <c:v>8.15</c:v>
                </c:pt>
                <c:pt idx="5">
                  <c:v>8.65</c:v>
                </c:pt>
              </c:strCache>
            </c:strRef>
          </c:cat>
          <c:val>
            <c:numRef>
              <c:f>Sheet1!$E$2:$E$7</c:f>
              <c:numCache>
                <c:formatCode>General</c:formatCode>
                <c:ptCount val="6"/>
                <c:pt idx="0">
                  <c:v>0.37804878048780494</c:v>
                </c:pt>
                <c:pt idx="1">
                  <c:v>0.42481203007518786</c:v>
                </c:pt>
                <c:pt idx="2">
                  <c:v>0.46503496503496494</c:v>
                </c:pt>
                <c:pt idx="3">
                  <c:v>0.5</c:v>
                </c:pt>
                <c:pt idx="4">
                  <c:v>0.53067484662576681</c:v>
                </c:pt>
                <c:pt idx="5">
                  <c:v>0.557803468208092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Canard-Duchêne (3.1%)</c:v>
                </c:pt>
                <c:pt idx="5">
                  <c:v>Ruinart (12.8%)</c:v>
                </c:pt>
                <c:pt idx="6">
                  <c:v>Laurent Perrier (3.9%)</c:v>
                </c:pt>
                <c:pt idx="7">
                  <c:v>Bottega (3.7%)</c:v>
                </c:pt>
                <c:pt idx="8">
                  <c:v>Deutz (4.8%)</c:v>
                </c:pt>
                <c:pt idx="9">
                  <c:v>Carlo V (5.4%)</c:v>
                </c:pt>
              </c:strCache>
            </c:strRef>
          </c:cat>
          <c:val>
            <c:numRef>
              <c:f>Sheet1!$B$2:$B$11</c:f>
              <c:numCache>
                <c:formatCode>General</c:formatCode>
                <c:ptCount val="10"/>
                <c:pt idx="0">
                  <c:v>0.13680751889525905</c:v>
                </c:pt>
                <c:pt idx="1">
                  <c:v>0.11361670561498903</c:v>
                </c:pt>
                <c:pt idx="2">
                  <c:v>0.11036284793987838</c:v>
                </c:pt>
                <c:pt idx="3">
                  <c:v>0.10008584138115587</c:v>
                </c:pt>
                <c:pt idx="4">
                  <c:v>7.4997919585371609E-2</c:v>
                </c:pt>
                <c:pt idx="5">
                  <c:v>4.6124359418592199E-2</c:v>
                </c:pt>
                <c:pt idx="6">
                  <c:v>3.1342321641701552E-2</c:v>
                </c:pt>
                <c:pt idx="7">
                  <c:v>2.9622162794455509E-2</c:v>
                </c:pt>
                <c:pt idx="8">
                  <c:v>2.9615195320249987E-2</c:v>
                </c:pt>
                <c:pt idx="9">
                  <c:v>2.649434442087386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Crémant de Bourgogne Patriarche Brut 750ml (1.8%)</c:v>
                </c:pt>
                <c:pt idx="4">
                  <c:v>Prosecco Savian Extra Dry Bio 750ml (2.1%)</c:v>
                </c:pt>
                <c:pt idx="5">
                  <c:v>Mousseux Les Grumes Bulles 750ml (1.0%)</c:v>
                </c:pt>
                <c:pt idx="6">
                  <c:v>Champagne Malard Brut 1er Cru 750ml (4.1%)</c:v>
                </c:pt>
                <c:pt idx="7">
                  <c:v>Mousseux Château Moncontour Brut Vouvray 750ml (1.5%)</c:v>
                </c:pt>
                <c:pt idx="8">
                  <c:v>Crémant d'Alsace Muré Prestige Bio 750ml (1.3%)</c:v>
                </c:pt>
                <c:pt idx="9">
                  <c:v>Prosecco Bottega 750ml (2.6%)</c:v>
                </c:pt>
              </c:strCache>
            </c:strRef>
          </c:cat>
          <c:val>
            <c:numRef>
              <c:f>Sheet1!$B$2:$B$11</c:f>
              <c:numCache>
                <c:formatCode>General</c:formatCode>
                <c:ptCount val="10"/>
                <c:pt idx="0">
                  <c:v>0.21026173458274339</c:v>
                </c:pt>
                <c:pt idx="1">
                  <c:v>0.10738979866448384</c:v>
                </c:pt>
                <c:pt idx="2">
                  <c:v>6.0934688957443223E-2</c:v>
                </c:pt>
                <c:pt idx="3">
                  <c:v>4.901832660176883E-2</c:v>
                </c:pt>
                <c:pt idx="4">
                  <c:v>4.301808069315826E-2</c:v>
                </c:pt>
                <c:pt idx="5">
                  <c:v>3.8991784080807772E-2</c:v>
                </c:pt>
                <c:pt idx="6">
                  <c:v>3.6801191318704615E-2</c:v>
                </c:pt>
                <c:pt idx="7">
                  <c:v>2.8721728027446873E-2</c:v>
                </c:pt>
                <c:pt idx="8">
                  <c:v>2.6371171861729072E-2</c:v>
                </c:pt>
                <c:pt idx="9">
                  <c:v>2.20328449699448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Château Moncontour Brut Vouvray 750ml (1.5%)</c:v>
                </c:pt>
                <c:pt idx="7">
                  <c:v>Champagne Malard Brut 1er Cru 750ml (4.1%)</c:v>
                </c:pt>
                <c:pt idx="8">
                  <c:v>Crémant d'Alsace Muré Prestige Bio 750ml (1.3%)</c:v>
                </c:pt>
                <c:pt idx="9">
                  <c:v>Clairette de Die Cuvée Dea Augusta 750ml (0.5%)</c:v>
                </c:pt>
              </c:strCache>
            </c:strRef>
          </c:cat>
          <c:val>
            <c:numRef>
              <c:f>Sheet1!$B$2:$B$11</c:f>
              <c:numCache>
                <c:formatCode>General</c:formatCode>
                <c:ptCount val="10"/>
                <c:pt idx="0">
                  <c:v>0.29649794743138858</c:v>
                </c:pt>
                <c:pt idx="1">
                  <c:v>7.4522343667076302E-2</c:v>
                </c:pt>
                <c:pt idx="2">
                  <c:v>6.1964358714882789E-2</c:v>
                </c:pt>
                <c:pt idx="3">
                  <c:v>5.5307436153930196E-2</c:v>
                </c:pt>
                <c:pt idx="4">
                  <c:v>4.7220169700647331E-2</c:v>
                </c:pt>
                <c:pt idx="5">
                  <c:v>4.5950351696979204E-2</c:v>
                </c:pt>
                <c:pt idx="6">
                  <c:v>2.9008235479889576E-2</c:v>
                </c:pt>
                <c:pt idx="7">
                  <c:v>2.8593240114942405E-2</c:v>
                </c:pt>
                <c:pt idx="8">
                  <c:v>2.4753867473866275E-2</c:v>
                </c:pt>
                <c:pt idx="9">
                  <c:v>2.40052653249096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5.85</c:v>
                </c:pt>
                <c:pt idx="1">
                  <c:v>6.35</c:v>
                </c:pt>
                <c:pt idx="2">
                  <c:v>6.85</c:v>
                </c:pt>
                <c:pt idx="3">
                  <c:v>7.35</c:v>
                </c:pt>
                <c:pt idx="4">
                  <c:v>7.85</c:v>
                </c:pt>
                <c:pt idx="5">
                  <c:v>8.35</c:v>
                </c:pt>
              </c:strCache>
            </c:strRef>
          </c:cat>
          <c:val>
            <c:numRef>
              <c:f>Sheet1!$B$2:$B$7</c:f>
              <c:numCache>
                <c:formatCode>General</c:formatCode>
                <c:ptCount val="6"/>
                <c:pt idx="0">
                  <c:v>109.09855039014008</c:v>
                </c:pt>
                <c:pt idx="1">
                  <c:v>104.42994656080377</c:v>
                </c:pt>
                <c:pt idx="2">
                  <c:v>100</c:v>
                </c:pt>
                <c:pt idx="3">
                  <c:v>95.790604368512064</c:v>
                </c:pt>
                <c:pt idx="4">
                  <c:v>91.789552871158776</c:v>
                </c:pt>
                <c:pt idx="5">
                  <c:v>87.98894771205250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C$2:$C$7</c:f>
              <c:numCache>
                <c:formatCode>General</c:formatCode>
                <c:ptCount val="6"/>
                <c:pt idx="0">
                  <c:v>93.320938514264441</c:v>
                </c:pt>
                <c:pt idx="1">
                  <c:v>96.881260638129802</c:v>
                </c:pt>
                <c:pt idx="2">
                  <c:v>100</c:v>
                </c:pt>
                <c:pt idx="3">
                  <c:v>102.71092479223178</c:v>
                </c:pt>
                <c:pt idx="4">
                  <c:v>105.04903344253378</c:v>
                </c:pt>
                <c:pt idx="5">
                  <c:v>107.050798764153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D$2:$D$7</c:f>
              <c:numCache>
                <c:formatCode>General</c:formatCode>
                <c:ptCount val="6"/>
                <c:pt idx="0">
                  <c:v>77.244959035354597</c:v>
                </c:pt>
                <c:pt idx="1">
                  <c:v>89.184698887693784</c:v>
                </c:pt>
                <c:pt idx="2">
                  <c:v>100</c:v>
                </c:pt>
                <c:pt idx="3">
                  <c:v>109.77463420333126</c:v>
                </c:pt>
                <c:pt idx="4">
                  <c:v>118.58942232259197</c:v>
                </c:pt>
                <c:pt idx="5">
                  <c:v>126.524253279374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5.85</c:v>
                </c:pt>
                <c:pt idx="1">
                  <c:v>6.35</c:v>
                </c:pt>
                <c:pt idx="2">
                  <c:v>6.85</c:v>
                </c:pt>
                <c:pt idx="3">
                  <c:v>7.35</c:v>
                </c:pt>
                <c:pt idx="4">
                  <c:v>7.85</c:v>
                </c:pt>
                <c:pt idx="5">
                  <c:v>8.35</c:v>
                </c:pt>
              </c:strCache>
            </c:strRef>
          </c:cat>
          <c:val>
            <c:numRef>
              <c:f>Sheet1!$E$2:$E$7</c:f>
              <c:numCache>
                <c:formatCode>General</c:formatCode>
                <c:ptCount val="6"/>
                <c:pt idx="0">
                  <c:v>0.41452991452991456</c:v>
                </c:pt>
                <c:pt idx="1">
                  <c:v>0.46062992125984259</c:v>
                </c:pt>
                <c:pt idx="2">
                  <c:v>0.50000000000000011</c:v>
                </c:pt>
                <c:pt idx="3">
                  <c:v>0.53401360544217691</c:v>
                </c:pt>
                <c:pt idx="4">
                  <c:v>0.56369426751592366</c:v>
                </c:pt>
                <c:pt idx="5">
                  <c:v>0.589820359281437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Les Grumes Bulles 750ml (1.0%)</c:v>
                </c:pt>
                <c:pt idx="5">
                  <c:v>Prosecco Bottega 750ml (2.6%)</c:v>
                </c:pt>
                <c:pt idx="6">
                  <c:v>Crémant de Bourgogne Patriarche Brut 750ml (1.8%)</c:v>
                </c:pt>
                <c:pt idx="7">
                  <c:v>Crémant d'Alsace Muré Prestige Bio 750ml (1.3%)</c:v>
                </c:pt>
                <c:pt idx="8">
                  <c:v>Champagne Malard Brut 1er Cru 750ml (4.1%)</c:v>
                </c:pt>
                <c:pt idx="9">
                  <c:v>Prosecco Bottega Rosé 750ml (1.1%)</c:v>
                </c:pt>
              </c:strCache>
            </c:strRef>
          </c:cat>
          <c:val>
            <c:numRef>
              <c:f>Sheet1!$B$2:$B$11</c:f>
              <c:numCache>
                <c:formatCode>General</c:formatCode>
                <c:ptCount val="10"/>
                <c:pt idx="0">
                  <c:v>0.27594467930832361</c:v>
                </c:pt>
                <c:pt idx="1">
                  <c:v>0.10182039619722377</c:v>
                </c:pt>
                <c:pt idx="2">
                  <c:v>6.7426521654549196E-2</c:v>
                </c:pt>
                <c:pt idx="3">
                  <c:v>4.1018275196427104E-2</c:v>
                </c:pt>
                <c:pt idx="4">
                  <c:v>3.9486253960341083E-2</c:v>
                </c:pt>
                <c:pt idx="5">
                  <c:v>3.6538084336246772E-2</c:v>
                </c:pt>
                <c:pt idx="6">
                  <c:v>3.3419733948134252E-2</c:v>
                </c:pt>
                <c:pt idx="7">
                  <c:v>2.7707313556210988E-2</c:v>
                </c:pt>
                <c:pt idx="8">
                  <c:v>2.6926119570202078E-2</c:v>
                </c:pt>
                <c:pt idx="9">
                  <c:v>2.449682612717714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Crémant Saumur Bouvet Cuvée Saphir Brut 750ml (1.5%)</c:v>
                </c:pt>
                <c:pt idx="5">
                  <c:v>Prosecco Bottega 750ml (2.6%)</c:v>
                </c:pt>
                <c:pt idx="6">
                  <c:v>Crémant de Bourgogne Patriarche Brut 750ml (1.8%)</c:v>
                </c:pt>
                <c:pt idx="7">
                  <c:v>Crémant d'Alsace Muré Prestige Bio 750ml (1.3%)</c:v>
                </c:pt>
                <c:pt idx="8">
                  <c:v>Prosecco Bottega Rosé 750ml (1.1%)</c:v>
                </c:pt>
                <c:pt idx="9">
                  <c:v>Champagne Malard Brut 1er Cru 750ml (4.1%)</c:v>
                </c:pt>
              </c:strCache>
            </c:strRef>
          </c:cat>
          <c:val>
            <c:numRef>
              <c:f>Sheet1!$B$2:$B$11</c:f>
              <c:numCache>
                <c:formatCode>General</c:formatCode>
                <c:ptCount val="10"/>
                <c:pt idx="0">
                  <c:v>0.30421451540571892</c:v>
                </c:pt>
                <c:pt idx="1">
                  <c:v>9.0330490327390822E-2</c:v>
                </c:pt>
                <c:pt idx="2">
                  <c:v>7.3299854118160632E-2</c:v>
                </c:pt>
                <c:pt idx="3">
                  <c:v>3.9494136998279368E-2</c:v>
                </c:pt>
                <c:pt idx="4">
                  <c:v>3.9253656529491705E-2</c:v>
                </c:pt>
                <c:pt idx="5">
                  <c:v>3.7022683504318414E-2</c:v>
                </c:pt>
                <c:pt idx="6">
                  <c:v>3.2632985266417794E-2</c:v>
                </c:pt>
                <c:pt idx="7">
                  <c:v>2.692021549380055E-2</c:v>
                </c:pt>
                <c:pt idx="8">
                  <c:v>2.5698905018743497E-2</c:v>
                </c:pt>
                <c:pt idx="9">
                  <c:v>2.45088665637983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79</c:v>
                </c:pt>
                <c:pt idx="1">
                  <c:v>7.29</c:v>
                </c:pt>
                <c:pt idx="2">
                  <c:v>7.79</c:v>
                </c:pt>
                <c:pt idx="3">
                  <c:v>8.29</c:v>
                </c:pt>
                <c:pt idx="4">
                  <c:v>8.79</c:v>
                </c:pt>
                <c:pt idx="5">
                  <c:v>9.29</c:v>
                </c:pt>
              </c:strCache>
            </c:strRef>
          </c:cat>
          <c:val>
            <c:numRef>
              <c:f>Sheet1!$B$2:$B$7</c:f>
              <c:numCache>
                <c:formatCode>General</c:formatCode>
                <c:ptCount val="6"/>
                <c:pt idx="0">
                  <c:v>109.05569011910094</c:v>
                </c:pt>
                <c:pt idx="1">
                  <c:v>104.39353124425759</c:v>
                </c:pt>
                <c:pt idx="2">
                  <c:v>100</c:v>
                </c:pt>
                <c:pt idx="3">
                  <c:v>95.849062595292565</c:v>
                </c:pt>
                <c:pt idx="4">
                  <c:v>89.264041086009755</c:v>
                </c:pt>
                <c:pt idx="5">
                  <c:v>80.851452389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C$2:$C$7</c:f>
              <c:numCache>
                <c:formatCode>General</c:formatCode>
                <c:ptCount val="6"/>
                <c:pt idx="0">
                  <c:v>95.353730209342729</c:v>
                </c:pt>
                <c:pt idx="1">
                  <c:v>97.838966970072988</c:v>
                </c:pt>
                <c:pt idx="2">
                  <c:v>100</c:v>
                </c:pt>
                <c:pt idx="3">
                  <c:v>101.86180116100661</c:v>
                </c:pt>
                <c:pt idx="4">
                  <c:v>100.45139153404546</c:v>
                </c:pt>
                <c:pt idx="5">
                  <c:v>96.0406996414025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D$2:$D$7</c:f>
              <c:numCache>
                <c:formatCode>General</c:formatCode>
                <c:ptCount val="6"/>
                <c:pt idx="0">
                  <c:v>81.056796635378021</c:v>
                </c:pt>
                <c:pt idx="1">
                  <c:v>90.992564460655913</c:v>
                </c:pt>
                <c:pt idx="2">
                  <c:v>100</c:v>
                </c:pt>
                <c:pt idx="3">
                  <c:v>108.15317846118384</c:v>
                </c:pt>
                <c:pt idx="4">
                  <c:v>112.18163828395835</c:v>
                </c:pt>
                <c:pt idx="5">
                  <c:v>111.98808360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79</c:v>
                </c:pt>
                <c:pt idx="1">
                  <c:v>7.29</c:v>
                </c:pt>
                <c:pt idx="2">
                  <c:v>7.79</c:v>
                </c:pt>
                <c:pt idx="3">
                  <c:v>8.29</c:v>
                </c:pt>
                <c:pt idx="4">
                  <c:v>8.79</c:v>
                </c:pt>
                <c:pt idx="5">
                  <c:v>9.29</c:v>
                </c:pt>
              </c:strCache>
            </c:strRef>
          </c:cat>
          <c:val>
            <c:numRef>
              <c:f>Sheet1!$E$2:$E$7</c:f>
              <c:numCache>
                <c:formatCode>General</c:formatCode>
                <c:ptCount val="6"/>
                <c:pt idx="0">
                  <c:v>0.42636229749631827</c:v>
                </c:pt>
                <c:pt idx="1">
                  <c:v>0.46570644718792881</c:v>
                </c:pt>
                <c:pt idx="2">
                  <c:v>0.5</c:v>
                </c:pt>
                <c:pt idx="3">
                  <c:v>0.53015681544028948</c:v>
                </c:pt>
                <c:pt idx="4">
                  <c:v>0.55688282138794076</c:v>
                </c:pt>
                <c:pt idx="5">
                  <c:v>0.58073196986006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Heidsieck Monopole Silver Top 750ml (4.2%)</c:v>
                </c:pt>
                <c:pt idx="5">
                  <c:v>Crémant d'Alsace Muré Prestige Bio 750ml (1.3%)</c:v>
                </c:pt>
                <c:pt idx="6">
                  <c:v>Champagne Malard Brut 1er Cru 750ml (4.1%)</c:v>
                </c:pt>
                <c:pt idx="7">
                  <c:v>Crémant Saumur Bouvet Cuvée Saphir Brut 750ml (1.5%)</c:v>
                </c:pt>
                <c:pt idx="8">
                  <c:v>Crémant de Bourgogne Patriarche Brut 750ml (1.8%)</c:v>
                </c:pt>
                <c:pt idx="9">
                  <c:v>Mousseux Les Grumes Bulles 750ml (1.0%)</c:v>
                </c:pt>
              </c:strCache>
            </c:strRef>
          </c:cat>
          <c:val>
            <c:numRef>
              <c:f>Sheet1!$B$2:$B$11</c:f>
              <c:numCache>
                <c:formatCode>General</c:formatCode>
                <c:ptCount val="10"/>
                <c:pt idx="0">
                  <c:v>0.17914453726496093</c:v>
                </c:pt>
                <c:pt idx="1">
                  <c:v>0.12735794882465376</c:v>
                </c:pt>
                <c:pt idx="2">
                  <c:v>4.8640834299449522E-2</c:v>
                </c:pt>
                <c:pt idx="3">
                  <c:v>3.6256833096306208E-2</c:v>
                </c:pt>
                <c:pt idx="4">
                  <c:v>3.3198670002908715E-2</c:v>
                </c:pt>
                <c:pt idx="5">
                  <c:v>3.2578778766167674E-2</c:v>
                </c:pt>
                <c:pt idx="6">
                  <c:v>2.9917073378319458E-2</c:v>
                </c:pt>
                <c:pt idx="7">
                  <c:v>2.9210409847253996E-2</c:v>
                </c:pt>
                <c:pt idx="8">
                  <c:v>2.7521738508635867E-2</c:v>
                </c:pt>
                <c:pt idx="9">
                  <c:v>2.536089398680288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Alsace Muré Prestige Bio 750ml (1.3%)</c:v>
                </c:pt>
                <c:pt idx="6">
                  <c:v>Crémant de Bourgogne Patriarche Brut 750ml (1.8%)</c:v>
                </c:pt>
                <c:pt idx="7">
                  <c:v>Champagne Heidsieck Monopole Silver Top 750ml (4.2%)</c:v>
                </c:pt>
                <c:pt idx="8">
                  <c:v>Crémant Saumur Bouvet Cuvée Saphir Brut 750ml (1.5%)</c:v>
                </c:pt>
                <c:pt idx="9">
                  <c:v>Champagne Malard Brut 1er Cru 750ml (4.1%)</c:v>
                </c:pt>
              </c:strCache>
            </c:strRef>
          </c:cat>
          <c:val>
            <c:numRef>
              <c:f>Sheet1!$B$2:$B$11</c:f>
              <c:numCache>
                <c:formatCode>General</c:formatCode>
                <c:ptCount val="10"/>
                <c:pt idx="0">
                  <c:v>0.29968782285629458</c:v>
                </c:pt>
                <c:pt idx="1">
                  <c:v>8.3545875712739276E-2</c:v>
                </c:pt>
                <c:pt idx="2">
                  <c:v>7.8965496294616785E-2</c:v>
                </c:pt>
                <c:pt idx="3">
                  <c:v>3.8826902562663787E-2</c:v>
                </c:pt>
                <c:pt idx="4">
                  <c:v>3.500853386524292E-2</c:v>
                </c:pt>
                <c:pt idx="5">
                  <c:v>2.8791777197340856E-2</c:v>
                </c:pt>
                <c:pt idx="6">
                  <c:v>2.8555944316294362E-2</c:v>
                </c:pt>
                <c:pt idx="7">
                  <c:v>2.8330720173777704E-2</c:v>
                </c:pt>
                <c:pt idx="8">
                  <c:v>2.7829418663234722E-2</c:v>
                </c:pt>
                <c:pt idx="9">
                  <c:v>2.292913869813005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B$2:$B$22</c:f>
              <c:numCache>
                <c:formatCode>General</c:formatCode>
                <c:ptCount val="21"/>
                <c:pt idx="0">
                  <c:v>129.89868262992624</c:v>
                </c:pt>
                <c:pt idx="1">
                  <c:v>126.3801060460754</c:v>
                </c:pt>
                <c:pt idx="2">
                  <c:v>122.99385682919106</c:v>
                </c:pt>
                <c:pt idx="3">
                  <c:v>119.73394368756499</c:v>
                </c:pt>
                <c:pt idx="4">
                  <c:v>116.59462176231506</c:v>
                </c:pt>
                <c:pt idx="5">
                  <c:v>113.57039239273308</c:v>
                </c:pt>
                <c:pt idx="6">
                  <c:v>110.65600084123075</c:v>
                </c:pt>
                <c:pt idx="7">
                  <c:v>107.84643235612843</c:v>
                </c:pt>
                <c:pt idx="8">
                  <c:v>105.13690690669381</c:v>
                </c:pt>
                <c:pt idx="9">
                  <c:v>102.52287288150444</c:v>
                </c:pt>
                <c:pt idx="10">
                  <c:v>100</c:v>
                </c:pt>
                <c:pt idx="11">
                  <c:v>94.369660117618153</c:v>
                </c:pt>
                <c:pt idx="12">
                  <c:v>89.170378573153698</c:v>
                </c:pt>
                <c:pt idx="13">
                  <c:v>84.363944463277946</c:v>
                </c:pt>
                <c:pt idx="14">
                  <c:v>79.915764453197042</c:v>
                </c:pt>
                <c:pt idx="15">
                  <c:v>75.79446438192177</c:v>
                </c:pt>
                <c:pt idx="16">
                  <c:v>71.971541313779298</c:v>
                </c:pt>
                <c:pt idx="17">
                  <c:v>68.421066952535242</c:v>
                </c:pt>
                <c:pt idx="18">
                  <c:v>65.119438617083247</c:v>
                </c:pt>
                <c:pt idx="19">
                  <c:v>62.045170353705771</c:v>
                </c:pt>
                <c:pt idx="20">
                  <c:v>59.1787150516466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C$2:$C$22</c:f>
              <c:numCache>
                <c:formatCode>General</c:formatCode>
                <c:ptCount val="21"/>
                <c:pt idx="0">
                  <c:v>104.14337299105618</c:v>
                </c:pt>
                <c:pt idx="1">
                  <c:v>103.82871878540463</c:v>
                </c:pt>
                <c:pt idx="2">
                  <c:v>103.48566459217992</c:v>
                </c:pt>
                <c:pt idx="3">
                  <c:v>103.11696707212408</c:v>
                </c:pt>
                <c:pt idx="4">
                  <c:v>102.7251184399486</c:v>
                </c:pt>
                <c:pt idx="5">
                  <c:v>102.3123715272316</c:v>
                </c:pt>
                <c:pt idx="6">
                  <c:v>101.88076282549446</c:v>
                </c:pt>
                <c:pt idx="7">
                  <c:v>101.43213359738081</c:v>
                </c:pt>
                <c:pt idx="8">
                  <c:v>100.96814915973557</c:v>
                </c:pt>
                <c:pt idx="9">
                  <c:v>100.49031645115718</c:v>
                </c:pt>
                <c:pt idx="10">
                  <c:v>100</c:v>
                </c:pt>
                <c:pt idx="11">
                  <c:v>96.241091974642458</c:v>
                </c:pt>
                <c:pt idx="12">
                  <c:v>92.707681905013658</c:v>
                </c:pt>
                <c:pt idx="13">
                  <c:v>89.384778639056677</c:v>
                </c:pt>
                <c:pt idx="14">
                  <c:v>86.258294967091075</c:v>
                </c:pt>
                <c:pt idx="15">
                  <c:v>83.314962481031415</c:v>
                </c:pt>
                <c:pt idx="16">
                  <c:v>80.542256651204539</c:v>
                </c:pt>
                <c:pt idx="17">
                  <c:v>77.928339926725556</c:v>
                </c:pt>
                <c:pt idx="18">
                  <c:v>75.462025387905442</c:v>
                </c:pt>
                <c:pt idx="19">
                  <c:v>73.132758649755957</c:v>
                </c:pt>
                <c:pt idx="20">
                  <c:v>70.9306125293036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D$2:$D$22</c:f>
              <c:numCache>
                <c:formatCode>General</c:formatCode>
                <c:ptCount val="21"/>
                <c:pt idx="0">
                  <c:v>77.835082377450831</c:v>
                </c:pt>
                <c:pt idx="1">
                  <c:v>80.792091841078289</c:v>
                </c:pt>
                <c:pt idx="2">
                  <c:v>83.556948827847293</c:v>
                </c:pt>
                <c:pt idx="3">
                  <c:v>86.141254075823383</c:v>
                </c:pt>
                <c:pt idx="4">
                  <c:v>88.555834965766394</c:v>
                </c:pt>
                <c:pt idx="5">
                  <c:v>90.810794718838707</c:v>
                </c:pt>
                <c:pt idx="6">
                  <c:v>92.91555982460055</c:v>
                </c:pt>
                <c:pt idx="7">
                  <c:v>94.878925459599927</c:v>
                </c:pt>
                <c:pt idx="8">
                  <c:v>96.709098737820597</c:v>
                </c:pt>
                <c:pt idx="9">
                  <c:v>98.413739699881077</c:v>
                </c:pt>
                <c:pt idx="10">
                  <c:v>100</c:v>
                </c:pt>
                <c:pt idx="11">
                  <c:v>98.15201122453675</c:v>
                </c:pt>
                <c:pt idx="12">
                  <c:v>96.318304711282238</c:v>
                </c:pt>
                <c:pt idx="13">
                  <c:v>94.507905721387587</c:v>
                </c:pt>
                <c:pt idx="14">
                  <c:v>92.727911058920014</c:v>
                </c:pt>
                <c:pt idx="15">
                  <c:v>90.983735801144618</c:v>
                </c:pt>
                <c:pt idx="16">
                  <c:v>89.279326800058882</c:v>
                </c:pt>
                <c:pt idx="17">
                  <c:v>87.617358281903819</c:v>
                </c:pt>
                <c:pt idx="18">
                  <c:v>85.999418935186057</c:v>
                </c:pt>
                <c:pt idx="19">
                  <c:v>84.426193727788061</c:v>
                </c:pt>
                <c:pt idx="20">
                  <c:v>82.8976389200421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E$2:$E$22</c:f>
              <c:numCache>
                <c:formatCode>General</c:formatCode>
                <c:ptCount val="21"/>
                <c:pt idx="0">
                  <c:v>0.37468671679198001</c:v>
                </c:pt>
                <c:pt idx="1">
                  <c:v>0.38997555012224949</c:v>
                </c:pt>
                <c:pt idx="2">
                  <c:v>0.40453460620525061</c:v>
                </c:pt>
                <c:pt idx="3">
                  <c:v>0.41841491841491851</c:v>
                </c:pt>
                <c:pt idx="4">
                  <c:v>0.43166287015945332</c:v>
                </c:pt>
                <c:pt idx="5">
                  <c:v>0.4443207126948775</c:v>
                </c:pt>
                <c:pt idx="6">
                  <c:v>0.45642701525054463</c:v>
                </c:pt>
                <c:pt idx="7">
                  <c:v>0.46801705756929635</c:v>
                </c:pt>
                <c:pt idx="8">
                  <c:v>0.4791231732776618</c:v>
                </c:pt>
                <c:pt idx="9">
                  <c:v>0.48977505112474434</c:v>
                </c:pt>
                <c:pt idx="10">
                  <c:v>0.5</c:v>
                </c:pt>
                <c:pt idx="11">
                  <c:v>0.50982318271119842</c:v>
                </c:pt>
                <c:pt idx="12">
                  <c:v>0.51926782273603078</c:v>
                </c:pt>
                <c:pt idx="13">
                  <c:v>0.52835538752362954</c:v>
                </c:pt>
                <c:pt idx="14">
                  <c:v>0.53710575139146566</c:v>
                </c:pt>
                <c:pt idx="15">
                  <c:v>0.54553734061930781</c:v>
                </c:pt>
                <c:pt idx="16">
                  <c:v>0.55366726296958857</c:v>
                </c:pt>
                <c:pt idx="17">
                  <c:v>0.56151142355008787</c:v>
                </c:pt>
                <c:pt idx="18">
                  <c:v>0.56908462867012088</c:v>
                </c:pt>
                <c:pt idx="19">
                  <c:v>0.57640067911714776</c:v>
                </c:pt>
                <c:pt idx="20">
                  <c:v>0.583472454090150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Bottega 750ml (2.6%)</c:v>
                </c:pt>
                <c:pt idx="3">
                  <c:v>Prosecco Savian Extra Dry Bio 750ml (2.1%)</c:v>
                </c:pt>
                <c:pt idx="4">
                  <c:v>Champagne Vranken Demoiselle Rosé Prestige 750ml (2.0%)</c:v>
                </c:pt>
                <c:pt idx="5">
                  <c:v>Crémant d'Alsace Muré Prestige Bio 750ml (1.3%)</c:v>
                </c:pt>
                <c:pt idx="6">
                  <c:v>Crémant de Bourgogne Patriarche Brut 750ml (1.8%)</c:v>
                </c:pt>
                <c:pt idx="7">
                  <c:v>Champagne Heidsieck Monopole Silver Top 750ml (4.2%)</c:v>
                </c:pt>
                <c:pt idx="8">
                  <c:v>Champagne Malard Brut 1er Cru 750ml (4.1%)</c:v>
                </c:pt>
                <c:pt idx="9">
                  <c:v>Champagne Ruinart Brut 750ml (7.3%)</c:v>
                </c:pt>
              </c:strCache>
            </c:strRef>
          </c:cat>
          <c:val>
            <c:numRef>
              <c:f>Sheet1!$B$2:$B$11</c:f>
              <c:numCache>
                <c:formatCode>General</c:formatCode>
                <c:ptCount val="10"/>
                <c:pt idx="0">
                  <c:v>0.11682009228075124</c:v>
                </c:pt>
                <c:pt idx="1">
                  <c:v>0.10320362744760052</c:v>
                </c:pt>
                <c:pt idx="2">
                  <c:v>4.8081839037502655E-2</c:v>
                </c:pt>
                <c:pt idx="3">
                  <c:v>4.6097213786397494E-2</c:v>
                </c:pt>
                <c:pt idx="4">
                  <c:v>3.5253854378315984E-2</c:v>
                </c:pt>
                <c:pt idx="5">
                  <c:v>3.4624263841203769E-2</c:v>
                </c:pt>
                <c:pt idx="6">
                  <c:v>3.0378077674819672E-2</c:v>
                </c:pt>
                <c:pt idx="7">
                  <c:v>2.9894200909491048E-2</c:v>
                </c:pt>
                <c:pt idx="8">
                  <c:v>2.5201519684272849E-2</c:v>
                </c:pt>
                <c:pt idx="9">
                  <c:v>2.463563708403733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Malard (6.0%)</c:v>
                </c:pt>
                <c:pt idx="3">
                  <c:v>Heidsieck &amp; C° Monopole (4.2%)</c:v>
                </c:pt>
                <c:pt idx="4">
                  <c:v>Ruinart (12.8%)</c:v>
                </c:pt>
                <c:pt idx="5">
                  <c:v>Canard-Duchêne (3.1%)</c:v>
                </c:pt>
                <c:pt idx="6">
                  <c:v>Laurent Perrier (3.9%)</c:v>
                </c:pt>
                <c:pt idx="7">
                  <c:v>Deutz (4.8%)</c:v>
                </c:pt>
                <c:pt idx="8">
                  <c:v>Bottega (3.7%)</c:v>
                </c:pt>
                <c:pt idx="9">
                  <c:v>Carlo V (5.4%)</c:v>
                </c:pt>
              </c:strCache>
            </c:strRef>
          </c:cat>
          <c:val>
            <c:numRef>
              <c:f>Sheet1!$B$2:$B$11</c:f>
              <c:numCache>
                <c:formatCode>General</c:formatCode>
                <c:ptCount val="10"/>
                <c:pt idx="0">
                  <c:v>0.11474316514138326</c:v>
                </c:pt>
                <c:pt idx="1">
                  <c:v>0.10303255505354998</c:v>
                </c:pt>
                <c:pt idx="2">
                  <c:v>0.1010292372187853</c:v>
                </c:pt>
                <c:pt idx="3">
                  <c:v>6.7961857440570997E-2</c:v>
                </c:pt>
                <c:pt idx="4">
                  <c:v>6.6439239394739391E-2</c:v>
                </c:pt>
                <c:pt idx="5">
                  <c:v>5.5346988763113864E-2</c:v>
                </c:pt>
                <c:pt idx="6">
                  <c:v>5.0135683901478496E-2</c:v>
                </c:pt>
                <c:pt idx="7">
                  <c:v>3.823055711133095E-2</c:v>
                </c:pt>
                <c:pt idx="8">
                  <c:v>3.496379502643935E-2</c:v>
                </c:pt>
                <c:pt idx="9">
                  <c:v>2.86040946003610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Bottega 750ml (2.6%)</c:v>
                </c:pt>
                <c:pt idx="3">
                  <c:v>Prosecco Savian Extra Dry Bio 750ml (2.1%)</c:v>
                </c:pt>
                <c:pt idx="4">
                  <c:v>Crémant d'Alsace Muré Prestige Bio 750ml (1.3%)</c:v>
                </c:pt>
                <c:pt idx="5">
                  <c:v>Champagne Malard Brut 1er Cru 750ml (4.1%)</c:v>
                </c:pt>
                <c:pt idx="6">
                  <c:v>Champagne Heidsieck Monopole Silver Top 750ml (4.2%)</c:v>
                </c:pt>
                <c:pt idx="7">
                  <c:v>Champagne Vranken Demoiselle Rosé Prestige 750ml (2.0%)</c:v>
                </c:pt>
                <c:pt idx="8">
                  <c:v>Crémant de Bourgogne Patriarche Brut 750ml (1.8%)</c:v>
                </c:pt>
                <c:pt idx="9">
                  <c:v>Champagne Ruinart Brut 750ml (7.3%)</c:v>
                </c:pt>
              </c:strCache>
            </c:strRef>
          </c:cat>
          <c:val>
            <c:numRef>
              <c:f>Sheet1!$B$2:$B$11</c:f>
              <c:numCache>
                <c:formatCode>General</c:formatCode>
                <c:ptCount val="10"/>
                <c:pt idx="0">
                  <c:v>0.15752191709636668</c:v>
                </c:pt>
                <c:pt idx="1">
                  <c:v>0.10631617174319527</c:v>
                </c:pt>
                <c:pt idx="2">
                  <c:v>5.2756716416494931E-2</c:v>
                </c:pt>
                <c:pt idx="3">
                  <c:v>4.0569193072428039E-2</c:v>
                </c:pt>
                <c:pt idx="4">
                  <c:v>3.1755848748279872E-2</c:v>
                </c:pt>
                <c:pt idx="5">
                  <c:v>3.0678116593375694E-2</c:v>
                </c:pt>
                <c:pt idx="6">
                  <c:v>2.9213895896597536E-2</c:v>
                </c:pt>
                <c:pt idx="7">
                  <c:v>2.7378829157161073E-2</c:v>
                </c:pt>
                <c:pt idx="8">
                  <c:v>2.6797550653618617E-2</c:v>
                </c:pt>
                <c:pt idx="9">
                  <c:v>2.330224001078323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Château Moncontour Brut Vouvra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34162329926064644</c:v>
                </c:pt>
                <c:pt idx="1">
                  <c:v>8.9377626935342042E-2</c:v>
                </c:pt>
                <c:pt idx="2">
                  <c:v>0</c:v>
                </c:pt>
                <c:pt idx="3">
                  <c:v>-7.7944502159590742E-2</c:v>
                </c:pt>
                <c:pt idx="4">
                  <c:v>-0.152160693622875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Vouvray Domaine du Petit Coteau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95</c:v>
                </c:pt>
                <c:pt idx="1">
                  <c:v>12.5</c:v>
                </c:pt>
                <c:pt idx="2">
                  <c:v>13.95</c:v>
                </c:pt>
                <c:pt idx="3">
                  <c:v>14.95</c:v>
                </c:pt>
                <c:pt idx="4">
                  <c:v>16.95</c:v>
                </c:pt>
              </c:numCache>
            </c:numRef>
          </c:xVal>
          <c:yVal>
            <c:numRef>
              <c:f>Sheet1!$B$9:$B$13</c:f>
              <c:numCache>
                <c:formatCode>General</c:formatCode>
                <c:ptCount val="5"/>
                <c:pt idx="0">
                  <c:v>0.32530499958459352</c:v>
                </c:pt>
                <c:pt idx="1">
                  <c:v>0.13009211481818186</c:v>
                </c:pt>
                <c:pt idx="2">
                  <c:v>0</c:v>
                </c:pt>
                <c:pt idx="3">
                  <c:v>-7.5551489746980505E-2</c:v>
                </c:pt>
                <c:pt idx="4">
                  <c:v>-0.2024923208239774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Les Grumes Bulle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95</c:v>
                </c:pt>
                <c:pt idx="1">
                  <c:v>5.5</c:v>
                </c:pt>
                <c:pt idx="2">
                  <c:v>5.95</c:v>
                </c:pt>
                <c:pt idx="3">
                  <c:v>6.5</c:v>
                </c:pt>
                <c:pt idx="4">
                  <c:v>6.95</c:v>
                </c:pt>
              </c:numCache>
            </c:numRef>
          </c:xVal>
          <c:yVal>
            <c:numRef>
              <c:f>Sheet1!$B$16:$B$20</c:f>
              <c:numCache>
                <c:formatCode>General</c:formatCode>
                <c:ptCount val="5"/>
                <c:pt idx="0">
                  <c:v>0.11666662665233679</c:v>
                </c:pt>
                <c:pt idx="1">
                  <c:v>4.9678654675672604E-2</c:v>
                </c:pt>
                <c:pt idx="2">
                  <c:v>0</c:v>
                </c:pt>
                <c:pt idx="3">
                  <c:v>-5.5265968427448103E-2</c:v>
                </c:pt>
                <c:pt idx="4">
                  <c:v>-9.6595497422589299E-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Veuve du Vernay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27683946571096368</c:v>
                </c:pt>
                <c:pt idx="1">
                  <c:v>0.16337070374892512</c:v>
                </c:pt>
                <c:pt idx="2">
                  <c:v>0</c:v>
                </c:pt>
                <c:pt idx="3">
                  <c:v>-0.11680768532737103</c:v>
                </c:pt>
                <c:pt idx="4">
                  <c:v>-0.217794221000621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6.95"/>
          <c:min val="4.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B$2:$B$10</c:f>
              <c:numCache>
                <c:formatCode>General</c:formatCode>
                <c:ptCount val="9"/>
                <c:pt idx="0">
                  <c:v>126.72786906593633</c:v>
                </c:pt>
                <c:pt idx="1">
                  <c:v>116.59301757597143</c:v>
                </c:pt>
                <c:pt idx="2">
                  <c:v>109.2666684266824</c:v>
                </c:pt>
                <c:pt idx="3">
                  <c:v>104.3606711106229</c:v>
                </c:pt>
                <c:pt idx="4">
                  <c:v>100</c:v>
                </c:pt>
                <c:pt idx="5">
                  <c:v>96.088644248381385</c:v>
                </c:pt>
                <c:pt idx="6">
                  <c:v>92.31760292620622</c:v>
                </c:pt>
                <c:pt idx="7">
                  <c:v>88.462860435393935</c:v>
                </c:pt>
                <c:pt idx="8">
                  <c:v>84.8298522662796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C$2:$C$10</c:f>
              <c:numCache>
                <c:formatCode>General</c:formatCode>
                <c:ptCount val="9"/>
                <c:pt idx="0">
                  <c:v>105.25770745031062</c:v>
                </c:pt>
                <c:pt idx="1">
                  <c:v>101.77037117722558</c:v>
                </c:pt>
                <c:pt idx="2">
                  <c:v>100.00210464738812</c:v>
                </c:pt>
                <c:pt idx="3">
                  <c:v>99.936537815608332</c:v>
                </c:pt>
                <c:pt idx="4">
                  <c:v>100</c:v>
                </c:pt>
                <c:pt idx="5">
                  <c:v>100.16178100644706</c:v>
                </c:pt>
                <c:pt idx="6">
                  <c:v>100.14423077781223</c:v>
                </c:pt>
                <c:pt idx="7">
                  <c:v>99.712947159822178</c:v>
                </c:pt>
                <c:pt idx="8">
                  <c:v>99.2140322100889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D$2:$D$10</c:f>
              <c:numCache>
                <c:formatCode>General</c:formatCode>
                <c:ptCount val="9"/>
                <c:pt idx="0">
                  <c:v>85.747640833723338</c:v>
                </c:pt>
                <c:pt idx="1">
                  <c:v>88.3158408245434</c:v>
                </c:pt>
                <c:pt idx="2">
                  <c:v>91.599784878087348</c:v>
                </c:pt>
                <c:pt idx="3">
                  <c:v>95.92384472014075</c:v>
                </c:pt>
                <c:pt idx="4">
                  <c:v>100</c:v>
                </c:pt>
                <c:pt idx="5">
                  <c:v>103.85673543630661</c:v>
                </c:pt>
                <c:pt idx="6">
                  <c:v>107.24406095651663</c:v>
                </c:pt>
                <c:pt idx="7">
                  <c:v>109.9176610098673</c:v>
                </c:pt>
                <c:pt idx="8">
                  <c:v>112.26144038024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E$2:$E$10</c:f>
              <c:numCache>
                <c:formatCode>General</c:formatCode>
                <c:ptCount val="9"/>
                <c:pt idx="0">
                  <c:v>0.43142575597468419</c:v>
                </c:pt>
                <c:pt idx="1">
                  <c:v>0.4592970424465132</c:v>
                </c:pt>
                <c:pt idx="2">
                  <c:v>0.48456353579013417</c:v>
                </c:pt>
                <c:pt idx="3">
                  <c:v>0.5075740922280747</c:v>
                </c:pt>
                <c:pt idx="4">
                  <c:v>0.52861793444055016</c:v>
                </c:pt>
                <c:pt idx="5">
                  <c:v>0.54793687155364235</c:v>
                </c:pt>
                <c:pt idx="6">
                  <c:v>0.56573463251609735</c:v>
                </c:pt>
                <c:pt idx="7">
                  <c:v>0.58218407825412399</c:v>
                </c:pt>
                <c:pt idx="8">
                  <c:v>0.597432834522221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Prosecco Bottega 750ml (2.6%)</c:v>
                </c:pt>
                <c:pt idx="6">
                  <c:v>Mousseux Les Grumes Bulles 750ml (1.0%)</c:v>
                </c:pt>
                <c:pt idx="7">
                  <c:v>Mousseux Lyre's Classico Sans Alcool 750ml (1.0%)</c:v>
                </c:pt>
                <c:pt idx="8">
                  <c:v>Crémant d'Alsace Muré Prestige Bio 750ml (1.3%)</c:v>
                </c:pt>
                <c:pt idx="9">
                  <c:v>Clairette de Die Cuvée Dea Augusta 750ml (0.5%)</c:v>
                </c:pt>
              </c:strCache>
            </c:strRef>
          </c:cat>
          <c:val>
            <c:numRef>
              <c:f>Sheet1!$B$2:$B$11</c:f>
              <c:numCache>
                <c:formatCode>General</c:formatCode>
                <c:ptCount val="10"/>
                <c:pt idx="0">
                  <c:v>0.16874778580647515</c:v>
                </c:pt>
                <c:pt idx="1">
                  <c:v>9.3583461780362462E-2</c:v>
                </c:pt>
                <c:pt idx="2">
                  <c:v>8.6117923211534247E-2</c:v>
                </c:pt>
                <c:pt idx="3">
                  <c:v>5.815284459473704E-2</c:v>
                </c:pt>
                <c:pt idx="4">
                  <c:v>5.6217296565423951E-2</c:v>
                </c:pt>
                <c:pt idx="5">
                  <c:v>4.6761371830867642E-2</c:v>
                </c:pt>
                <c:pt idx="6">
                  <c:v>4.2300424127908159E-2</c:v>
                </c:pt>
                <c:pt idx="7">
                  <c:v>3.6236877069575353E-2</c:v>
                </c:pt>
                <c:pt idx="8">
                  <c:v>3.1198940745283187E-2</c:v>
                </c:pt>
                <c:pt idx="9">
                  <c:v>2.94845586080357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Lyre's Classico Sans Alcool 750ml (1.0%)</c:v>
                </c:pt>
                <c:pt idx="6">
                  <c:v>Prosecco Bottega 750ml (2.6%)</c:v>
                </c:pt>
                <c:pt idx="7">
                  <c:v>Mousseux Les Grumes Bulles 750ml (1.0%)</c:v>
                </c:pt>
                <c:pt idx="8">
                  <c:v>Clairette de Die Cuvée Dea Augusta 750ml (0.5%)</c:v>
                </c:pt>
                <c:pt idx="9">
                  <c:v>Crémant de Loire De Chanceny Brut 2015 750ml (0.7%)</c:v>
                </c:pt>
              </c:strCache>
            </c:strRef>
          </c:cat>
          <c:val>
            <c:numRef>
              <c:f>Sheet1!$B$2:$B$11</c:f>
              <c:numCache>
                <c:formatCode>General</c:formatCode>
                <c:ptCount val="10"/>
                <c:pt idx="0">
                  <c:v>0.11873989438423259</c:v>
                </c:pt>
                <c:pt idx="1">
                  <c:v>9.8084407604412407E-2</c:v>
                </c:pt>
                <c:pt idx="2">
                  <c:v>7.261603558500844E-2</c:v>
                </c:pt>
                <c:pt idx="3">
                  <c:v>7.0444483364826449E-2</c:v>
                </c:pt>
                <c:pt idx="4">
                  <c:v>6.8880251484728969E-2</c:v>
                </c:pt>
                <c:pt idx="5">
                  <c:v>4.7548401211606875E-2</c:v>
                </c:pt>
                <c:pt idx="6">
                  <c:v>4.4090216954718937E-2</c:v>
                </c:pt>
                <c:pt idx="7">
                  <c:v>4.1114742059858364E-2</c:v>
                </c:pt>
                <c:pt idx="8">
                  <c:v>3.5692378335478406E-2</c:v>
                </c:pt>
                <c:pt idx="9">
                  <c:v>3.354179829683549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B$2:$B$13</c:f>
              <c:numCache>
                <c:formatCode>General</c:formatCode>
                <c:ptCount val="12"/>
                <c:pt idx="0">
                  <c:v>125.54178361977648</c:v>
                </c:pt>
                <c:pt idx="1">
                  <c:v>119.22703676708855</c:v>
                </c:pt>
                <c:pt idx="2">
                  <c:v>113.5894823612179</c:v>
                </c:pt>
                <c:pt idx="3">
                  <c:v>108.69052166132688</c:v>
                </c:pt>
                <c:pt idx="4">
                  <c:v>104.19113797271828</c:v>
                </c:pt>
                <c:pt idx="5">
                  <c:v>100</c:v>
                </c:pt>
                <c:pt idx="6">
                  <c:v>96.089442659623046</c:v>
                </c:pt>
                <c:pt idx="7">
                  <c:v>92.434477560739253</c:v>
                </c:pt>
                <c:pt idx="8">
                  <c:v>89.012581377497114</c:v>
                </c:pt>
                <c:pt idx="9">
                  <c:v>85.803481694721611</c:v>
                </c:pt>
                <c:pt idx="10">
                  <c:v>82.67874361754528</c:v>
                </c:pt>
                <c:pt idx="11">
                  <c:v>79.7305283961681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C$2:$C$13</c:f>
              <c:numCache>
                <c:formatCode>General</c:formatCode>
                <c:ptCount val="12"/>
                <c:pt idx="0">
                  <c:v>103.04364431855994</c:v>
                </c:pt>
                <c:pt idx="1">
                  <c:v>102.13238899559063</c:v>
                </c:pt>
                <c:pt idx="2">
                  <c:v>101.37296100771395</c:v>
                </c:pt>
                <c:pt idx="3">
                  <c:v>100.897206781064</c:v>
                </c:pt>
                <c:pt idx="4">
                  <c:v>100.45584380779262</c:v>
                </c:pt>
                <c:pt idx="5">
                  <c:v>100</c:v>
                </c:pt>
                <c:pt idx="6">
                  <c:v>99.534198078300648</c:v>
                </c:pt>
                <c:pt idx="7">
                  <c:v>99.061856552295893</c:v>
                </c:pt>
                <c:pt idx="8">
                  <c:v>98.58553639544084</c:v>
                </c:pt>
                <c:pt idx="9">
                  <c:v>98.10713899547433</c:v>
                </c:pt>
                <c:pt idx="10">
                  <c:v>97.497492457894126</c:v>
                </c:pt>
                <c:pt idx="11">
                  <c:v>96.878303795157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D$2:$D$13</c:f>
              <c:numCache>
                <c:formatCode>General</c:formatCode>
                <c:ptCount val="12"/>
                <c:pt idx="0">
                  <c:v>83.342342312691088</c:v>
                </c:pt>
                <c:pt idx="1">
                  <c:v>87.165587931799578</c:v>
                </c:pt>
                <c:pt idx="2">
                  <c:v>90.680395573720702</c:v>
                </c:pt>
                <c:pt idx="3">
                  <c:v>94.07648908273886</c:v>
                </c:pt>
                <c:pt idx="4">
                  <c:v>97.186605003974407</c:v>
                </c:pt>
                <c:pt idx="5">
                  <c:v>100</c:v>
                </c:pt>
                <c:pt idx="6">
                  <c:v>102.54931709955655</c:v>
                </c:pt>
                <c:pt idx="7">
                  <c:v>104.86279647769634</c:v>
                </c:pt>
                <c:pt idx="8">
                  <c:v>106.96492088611052</c:v>
                </c:pt>
                <c:pt idx="9">
                  <c:v>108.87697251391421</c:v>
                </c:pt>
                <c:pt idx="10">
                  <c:v>110.47026201112757</c:v>
                </c:pt>
                <c:pt idx="11">
                  <c:v>111.89113968995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E$2:$E$13</c:f>
              <c:numCache>
                <c:formatCode>General</c:formatCode>
                <c:ptCount val="12"/>
                <c:pt idx="0">
                  <c:v>0.43310595800396984</c:v>
                </c:pt>
                <c:pt idx="1">
                  <c:v>0.45692503539876095</c:v>
                </c:pt>
                <c:pt idx="2">
                  <c:v>0.47882321945526257</c:v>
                </c:pt>
                <c:pt idx="3">
                  <c:v>0.49902386986397335</c:v>
                </c:pt>
                <c:pt idx="4">
                  <c:v>0.51771700904815343</c:v>
                </c:pt>
                <c:pt idx="5">
                  <c:v>0.5350653180751983</c:v>
                </c:pt>
                <c:pt idx="6">
                  <c:v>0.55120888341980945</c:v>
                </c:pt>
                <c:pt idx="7">
                  <c:v>0.56626898800303727</c:v>
                </c:pt>
                <c:pt idx="8">
                  <c:v>0.58035116371722439</c:v>
                </c:pt>
                <c:pt idx="9">
                  <c:v>0.59354766800284631</c:v>
                </c:pt>
                <c:pt idx="10">
                  <c:v>0.6059395073930034</c:v>
                </c:pt>
                <c:pt idx="11">
                  <c:v>0.617598101848831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Mousseux Château Moncontour Brut Vouvray 750ml (1.5%)</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9.9062521578613352E-2</c:v>
                </c:pt>
                <c:pt idx="1">
                  <c:v>8.4247198104611745E-2</c:v>
                </c:pt>
                <c:pt idx="2">
                  <c:v>7.9289408178719739E-2</c:v>
                </c:pt>
                <c:pt idx="3">
                  <c:v>7.2506359606185317E-2</c:v>
                </c:pt>
                <c:pt idx="4">
                  <c:v>6.0379132380387224E-2</c:v>
                </c:pt>
                <c:pt idx="5">
                  <c:v>5.2751121663634472E-2</c:v>
                </c:pt>
                <c:pt idx="6">
                  <c:v>4.4309035793789989E-2</c:v>
                </c:pt>
                <c:pt idx="7">
                  <c:v>3.8444420117198931E-2</c:v>
                </c:pt>
                <c:pt idx="8">
                  <c:v>3.6560372268388416E-2</c:v>
                </c:pt>
                <c:pt idx="9">
                  <c:v>3.487767635101449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Mousseux Château Moncontour Brut Vouvray 750ml (1.5%)</c:v>
                </c:pt>
                <c:pt idx="2">
                  <c:v>Prosecco Carlo V Cuvée Del Imperator 750ml (5.4%)</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0.10404770833436386</c:v>
                </c:pt>
                <c:pt idx="1">
                  <c:v>7.8245468343558527E-2</c:v>
                </c:pt>
                <c:pt idx="2">
                  <c:v>7.3703368046379697E-2</c:v>
                </c:pt>
                <c:pt idx="3">
                  <c:v>7.3497399245088829E-2</c:v>
                </c:pt>
                <c:pt idx="4">
                  <c:v>5.7871892567007886E-2</c:v>
                </c:pt>
                <c:pt idx="5">
                  <c:v>4.7483218039754166E-2</c:v>
                </c:pt>
                <c:pt idx="6">
                  <c:v>4.0139057300109818E-2</c:v>
                </c:pt>
                <c:pt idx="7">
                  <c:v>3.8600027780585328E-2</c:v>
                </c:pt>
                <c:pt idx="8">
                  <c:v>3.5360958335958863E-2</c:v>
                </c:pt>
                <c:pt idx="9">
                  <c:v>3.45964883618484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c:f>
              <c:strCache>
                <c:ptCount val="4"/>
                <c:pt idx="0">
                  <c:v>5.00</c:v>
                </c:pt>
                <c:pt idx="1">
                  <c:v>5.50</c:v>
                </c:pt>
                <c:pt idx="2">
                  <c:v>6.00</c:v>
                </c:pt>
                <c:pt idx="3">
                  <c:v>6.50</c:v>
                </c:pt>
              </c:strCache>
            </c:strRef>
          </c:cat>
          <c:val>
            <c:numRef>
              <c:f>Sheet1!$B$2:$B$5</c:f>
              <c:numCache>
                <c:formatCode>General</c:formatCode>
                <c:ptCount val="4"/>
                <c:pt idx="0">
                  <c:v>111.60619001440489</c:v>
                </c:pt>
                <c:pt idx="1">
                  <c:v>105.51980763094721</c:v>
                </c:pt>
                <c:pt idx="2">
                  <c:v>100</c:v>
                </c:pt>
                <c:pt idx="3">
                  <c:v>94.97468511220445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c:f>
              <c:strCache>
                <c:ptCount val="4"/>
                <c:pt idx="0">
                  <c:v>5.00</c:v>
                </c:pt>
                <c:pt idx="1">
                  <c:v>5.50</c:v>
                </c:pt>
                <c:pt idx="2">
                  <c:v>6.00</c:v>
                </c:pt>
                <c:pt idx="3">
                  <c:v>6.50</c:v>
                </c:pt>
              </c:strCache>
            </c:strRef>
          </c:cat>
          <c:val>
            <c:numRef>
              <c:f>Sheet1!$C$2:$C$5</c:f>
              <c:numCache>
                <c:formatCode>General</c:formatCode>
                <c:ptCount val="4"/>
                <c:pt idx="0">
                  <c:v>93.079630437418388</c:v>
                </c:pt>
                <c:pt idx="1">
                  <c:v>96.763014461961077</c:v>
                </c:pt>
                <c:pt idx="2">
                  <c:v>100</c:v>
                </c:pt>
                <c:pt idx="3">
                  <c:v>102.854429584734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c:f>
              <c:strCache>
                <c:ptCount val="4"/>
                <c:pt idx="0">
                  <c:v>5.00</c:v>
                </c:pt>
                <c:pt idx="1">
                  <c:v>5.50</c:v>
                </c:pt>
                <c:pt idx="2">
                  <c:v>6.00</c:v>
                </c:pt>
                <c:pt idx="3">
                  <c:v>6.50</c:v>
                </c:pt>
              </c:strCache>
            </c:strRef>
          </c:cat>
          <c:val>
            <c:numRef>
              <c:f>Sheet1!$D$2:$D$5</c:f>
              <c:numCache>
                <c:formatCode>General</c:formatCode>
                <c:ptCount val="4"/>
                <c:pt idx="0">
                  <c:v>75.114870357314288</c:v>
                </c:pt>
                <c:pt idx="1">
                  <c:v>88.26916485782408</c:v>
                </c:pt>
                <c:pt idx="2">
                  <c:v>100</c:v>
                </c:pt>
                <c:pt idx="3">
                  <c:v>110.501384811001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c:f>
              <c:strCache>
                <c:ptCount val="4"/>
                <c:pt idx="0">
                  <c:v>5.00</c:v>
                </c:pt>
                <c:pt idx="1">
                  <c:v>5.50</c:v>
                </c:pt>
                <c:pt idx="2">
                  <c:v>6.00</c:v>
                </c:pt>
                <c:pt idx="3">
                  <c:v>6.50</c:v>
                </c:pt>
              </c:strCache>
            </c:strRef>
          </c:cat>
          <c:val>
            <c:numRef>
              <c:f>Sheet1!$E$2:$E$5</c:f>
              <c:numCache>
                <c:formatCode>General</c:formatCode>
                <c:ptCount val="4"/>
                <c:pt idx="0">
                  <c:v>0.41168623696358347</c:v>
                </c:pt>
                <c:pt idx="1">
                  <c:v>0.46516930633053033</c:v>
                </c:pt>
                <c:pt idx="2">
                  <c:v>0.50973853080298615</c:v>
                </c:pt>
                <c:pt idx="3">
                  <c:v>0.547450951510448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055358157392451</c:v>
                </c:pt>
                <c:pt idx="1">
                  <c:v>9.423625773419167E-2</c:v>
                </c:pt>
                <c:pt idx="2">
                  <c:v>7.845639468051821E-2</c:v>
                </c:pt>
                <c:pt idx="3">
                  <c:v>6.8991036019133173E-2</c:v>
                </c:pt>
                <c:pt idx="4">
                  <c:v>5.0413459587203203E-2</c:v>
                </c:pt>
                <c:pt idx="5">
                  <c:v>3.9957639030167615E-2</c:v>
                </c:pt>
                <c:pt idx="6">
                  <c:v>3.0877416246330426E-2</c:v>
                </c:pt>
                <c:pt idx="7">
                  <c:v>3.0010312958241584E-2</c:v>
                </c:pt>
                <c:pt idx="8">
                  <c:v>2.573532254444762E-2</c:v>
                </c:pt>
                <c:pt idx="9">
                  <c:v>2.409981446309197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Malard (6.0%)</c:v>
                </c:pt>
                <c:pt idx="3">
                  <c:v>Laurent Perrier (3.9%)</c:v>
                </c:pt>
                <c:pt idx="4">
                  <c:v>Taittinger (2.2%)</c:v>
                </c:pt>
                <c:pt idx="5">
                  <c:v>Ayala (1.7%)</c:v>
                </c:pt>
                <c:pt idx="6">
                  <c:v>Heidsieck &amp; C° Monopole (4.2%)</c:v>
                </c:pt>
                <c:pt idx="7">
                  <c:v>Nicolas Feuillatte (4.5%)</c:v>
                </c:pt>
                <c:pt idx="8">
                  <c:v>Demoiselle (3.5%)</c:v>
                </c:pt>
                <c:pt idx="9">
                  <c:v>Besserat De Bellefon (2.0%)</c:v>
                </c:pt>
              </c:strCache>
            </c:strRef>
          </c:cat>
          <c:val>
            <c:numRef>
              <c:f>Sheet1!$B$2:$B$11</c:f>
              <c:numCache>
                <c:formatCode>General</c:formatCode>
                <c:ptCount val="10"/>
                <c:pt idx="0">
                  <c:v>0.11454825509266954</c:v>
                </c:pt>
                <c:pt idx="1">
                  <c:v>0.10920544369355081</c:v>
                </c:pt>
                <c:pt idx="2">
                  <c:v>7.0648881929375323E-2</c:v>
                </c:pt>
                <c:pt idx="3">
                  <c:v>5.6930847071881362E-2</c:v>
                </c:pt>
                <c:pt idx="4">
                  <c:v>5.3064504192684075E-2</c:v>
                </c:pt>
                <c:pt idx="5">
                  <c:v>5.0352656502923095E-2</c:v>
                </c:pt>
                <c:pt idx="6">
                  <c:v>4.9893842789161959E-2</c:v>
                </c:pt>
                <c:pt idx="7">
                  <c:v>4.7011004374938811E-2</c:v>
                </c:pt>
                <c:pt idx="8">
                  <c:v>4.5949765332126871E-2</c:v>
                </c:pt>
                <c:pt idx="9">
                  <c:v>4.290933784348865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178086759865944</c:v>
                </c:pt>
                <c:pt idx="1">
                  <c:v>8.5874877684930406E-2</c:v>
                </c:pt>
                <c:pt idx="2">
                  <c:v>7.9480583792465032E-2</c:v>
                </c:pt>
                <c:pt idx="3">
                  <c:v>7.2051057924737108E-2</c:v>
                </c:pt>
                <c:pt idx="4">
                  <c:v>5.1493920786100364E-2</c:v>
                </c:pt>
                <c:pt idx="5">
                  <c:v>4.0897152635907597E-2</c:v>
                </c:pt>
                <c:pt idx="6">
                  <c:v>3.3787285250177178E-2</c:v>
                </c:pt>
                <c:pt idx="7">
                  <c:v>3.1392264715526558E-2</c:v>
                </c:pt>
                <c:pt idx="8">
                  <c:v>2.6941623429451306E-2</c:v>
                </c:pt>
                <c:pt idx="9">
                  <c:v>2.48334559936833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27.6445429178047</c:v>
                </c:pt>
                <c:pt idx="1">
                  <c:v>121.72772463301298</c:v>
                </c:pt>
                <c:pt idx="2">
                  <c:v>116.30297046504833</c:v>
                </c:pt>
                <c:pt idx="3">
                  <c:v>107.41176240233676</c:v>
                </c:pt>
                <c:pt idx="4">
                  <c:v>100</c:v>
                </c:pt>
                <c:pt idx="5">
                  <c:v>93.724043292180411</c:v>
                </c:pt>
                <c:pt idx="6">
                  <c:v>88.337424030258873</c:v>
                </c:pt>
                <c:pt idx="7">
                  <c:v>82.990326012321148</c:v>
                </c:pt>
                <c:pt idx="8">
                  <c:v>78.2501699610052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00.83422106077704</c:v>
                </c:pt>
                <c:pt idx="1">
                  <c:v>102.55212098494124</c:v>
                </c:pt>
                <c:pt idx="2">
                  <c:v>104.0884723371166</c:v>
                </c:pt>
                <c:pt idx="3">
                  <c:v>101.77134703436954</c:v>
                </c:pt>
                <c:pt idx="4">
                  <c:v>100</c:v>
                </c:pt>
                <c:pt idx="5">
                  <c:v>98.645716869034374</c:v>
                </c:pt>
                <c:pt idx="6">
                  <c:v>97.615029090915598</c:v>
                </c:pt>
                <c:pt idx="7">
                  <c:v>96.063694670597499</c:v>
                </c:pt>
                <c:pt idx="8">
                  <c:v>94.6853191307615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80.998405204646346</c:v>
                </c:pt>
                <c:pt idx="1">
                  <c:v>88.364793028502532</c:v>
                </c:pt>
                <c:pt idx="2">
                  <c:v>95.052221107688624</c:v>
                </c:pt>
                <c:pt idx="3">
                  <c:v>97.598683545806978</c:v>
                </c:pt>
                <c:pt idx="4">
                  <c:v>100</c:v>
                </c:pt>
                <c:pt idx="5">
                  <c:v>102.28661974571563</c:v>
                </c:pt>
                <c:pt idx="6">
                  <c:v>104.47833985928312</c:v>
                </c:pt>
                <c:pt idx="7">
                  <c:v>105.73617605537855</c:v>
                </c:pt>
                <c:pt idx="8">
                  <c:v>106.8457379394147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305172904263875</c:v>
                </c:pt>
                <c:pt idx="1">
                  <c:v>0.49661099597747382</c:v>
                </c:pt>
                <c:pt idx="2">
                  <c:v>0.52622211386115192</c:v>
                </c:pt>
                <c:pt idx="3">
                  <c:v>0.55254310753553237</c:v>
                </c:pt>
                <c:pt idx="4">
                  <c:v>0.57609347029682001</c:v>
                </c:pt>
                <c:pt idx="5">
                  <c:v>0.5972887967819791</c:v>
                </c:pt>
                <c:pt idx="6">
                  <c:v>0.61646552074474192</c:v>
                </c:pt>
                <c:pt idx="7">
                  <c:v>0.63389890616543554</c:v>
                </c:pt>
                <c:pt idx="8">
                  <c:v>0.649816345027807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rémant Saumur Bouvet Cuvée Saphir Brut 750ml (1.5%)</c:v>
                </c:pt>
                <c:pt idx="7">
                  <c:v>Champagne E.Nicolas Brut 750ml (11.6%)</c:v>
                </c:pt>
                <c:pt idx="8">
                  <c:v>Crémant de Bourgogne Patriarche Brut 750ml (1.8%)</c:v>
                </c:pt>
                <c:pt idx="9">
                  <c:v>Mousseux Château Moncontour Brut Vouvray 750ml (1.5%)</c:v>
                </c:pt>
              </c:strCache>
            </c:strRef>
          </c:cat>
          <c:val>
            <c:numRef>
              <c:f>Sheet1!$B$2:$B$11</c:f>
              <c:numCache>
                <c:formatCode>General</c:formatCode>
                <c:ptCount val="10"/>
                <c:pt idx="0">
                  <c:v>0.24084036789801891</c:v>
                </c:pt>
                <c:pt idx="1">
                  <c:v>9.5153975456018489E-2</c:v>
                </c:pt>
                <c:pt idx="2">
                  <c:v>6.3495763216347131E-2</c:v>
                </c:pt>
                <c:pt idx="3">
                  <c:v>4.7688134094550715E-2</c:v>
                </c:pt>
                <c:pt idx="4">
                  <c:v>4.620944969302989E-2</c:v>
                </c:pt>
                <c:pt idx="5">
                  <c:v>4.1543636332950801E-2</c:v>
                </c:pt>
                <c:pt idx="6">
                  <c:v>3.7605297019118397E-2</c:v>
                </c:pt>
                <c:pt idx="7">
                  <c:v>3.1774389702891967E-2</c:v>
                </c:pt>
                <c:pt idx="8">
                  <c:v>2.9418211357207881E-2</c:v>
                </c:pt>
                <c:pt idx="9">
                  <c:v>2.77961496346702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hampagne E.Nicolas Brut 750ml (11.6%)</c:v>
                </c:pt>
                <c:pt idx="7">
                  <c:v>Crémant Saumur Bouvet Cuvée Saphir Brut 750ml (1.5%)</c:v>
                </c:pt>
                <c:pt idx="8">
                  <c:v>Prosecco Bottega 750ml (2.6%)</c:v>
                </c:pt>
                <c:pt idx="9">
                  <c:v>Mousseux Château Moncontour Brut Vouvray 750ml (1.5%)</c:v>
                </c:pt>
              </c:strCache>
            </c:strRef>
          </c:cat>
          <c:val>
            <c:numRef>
              <c:f>Sheet1!$B$2:$B$11</c:f>
              <c:numCache>
                <c:formatCode>General</c:formatCode>
                <c:ptCount val="10"/>
                <c:pt idx="0">
                  <c:v>0.20062138295576884</c:v>
                </c:pt>
                <c:pt idx="1">
                  <c:v>8.0327962642945172E-2</c:v>
                </c:pt>
                <c:pt idx="2">
                  <c:v>5.3685369045418263E-2</c:v>
                </c:pt>
                <c:pt idx="3">
                  <c:v>5.1939344113580282E-2</c:v>
                </c:pt>
                <c:pt idx="4">
                  <c:v>4.9257164934312099E-2</c:v>
                </c:pt>
                <c:pt idx="5">
                  <c:v>4.3191154328133564E-2</c:v>
                </c:pt>
                <c:pt idx="6">
                  <c:v>3.772613013312414E-2</c:v>
                </c:pt>
                <c:pt idx="7">
                  <c:v>3.5049339753820574E-2</c:v>
                </c:pt>
                <c:pt idx="8">
                  <c:v>3.3462987583912758E-2</c:v>
                </c:pt>
                <c:pt idx="9">
                  <c:v>2.84199540425043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Veuve du Vernay Sans Alcoo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c:v>
                </c:pt>
                <c:pt idx="1">
                  <c:v>8.5</c:v>
                </c:pt>
                <c:pt idx="2">
                  <c:v>9.5</c:v>
                </c:pt>
                <c:pt idx="3">
                  <c:v>10.5</c:v>
                </c:pt>
                <c:pt idx="4">
                  <c:v>11.5</c:v>
                </c:pt>
              </c:numCache>
            </c:numRef>
          </c:xVal>
          <c:yVal>
            <c:numRef>
              <c:f>Sheet1!$B$2:$B$6</c:f>
              <c:numCache>
                <c:formatCode>General</c:formatCode>
                <c:ptCount val="5"/>
                <c:pt idx="0">
                  <c:v>0.39711956934193521</c:v>
                </c:pt>
                <c:pt idx="1">
                  <c:v>0.22170676082398141</c:v>
                </c:pt>
                <c:pt idx="2">
                  <c:v>0</c:v>
                </c:pt>
                <c:pt idx="3">
                  <c:v>-0.13929632084754126</c:v>
                </c:pt>
                <c:pt idx="4">
                  <c:v>-0.256868970526871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French Bloom Blanc Bio Sans Alcool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2.95</c:v>
                </c:pt>
                <c:pt idx="1">
                  <c:v>25.95</c:v>
                </c:pt>
                <c:pt idx="2">
                  <c:v>28.95</c:v>
                </c:pt>
                <c:pt idx="3">
                  <c:v>31.95</c:v>
                </c:pt>
                <c:pt idx="4">
                  <c:v>34.950000000000003</c:v>
                </c:pt>
              </c:numCache>
            </c:numRef>
          </c:xVal>
          <c:yVal>
            <c:numRef>
              <c:f>Sheet1!$B$9:$B$13</c:f>
              <c:numCache>
                <c:formatCode>General</c:formatCode>
                <c:ptCount val="5"/>
                <c:pt idx="0">
                  <c:v>0.35784066896946504</c:v>
                </c:pt>
                <c:pt idx="1">
                  <c:v>0.18376984868844887</c:v>
                </c:pt>
                <c:pt idx="2">
                  <c:v>0</c:v>
                </c:pt>
                <c:pt idx="3">
                  <c:v>-0.13455420552286887</c:v>
                </c:pt>
                <c:pt idx="4">
                  <c:v>-0.233361459401145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French Bloom Rosé Bio Sans Alcool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95</c:v>
                </c:pt>
                <c:pt idx="1">
                  <c:v>30.95</c:v>
                </c:pt>
                <c:pt idx="2">
                  <c:v>33.950000000000003</c:v>
                </c:pt>
                <c:pt idx="3">
                  <c:v>37.950000000000003</c:v>
                </c:pt>
                <c:pt idx="4">
                  <c:v>39.950000000000003</c:v>
                </c:pt>
              </c:numCache>
            </c:numRef>
          </c:xVal>
          <c:yVal>
            <c:numRef>
              <c:f>Sheet1!$B$16:$B$20</c:f>
              <c:numCache>
                <c:formatCode>General</c:formatCode>
                <c:ptCount val="5"/>
                <c:pt idx="0">
                  <c:v>0.62094919286895844</c:v>
                </c:pt>
                <c:pt idx="1">
                  <c:v>0.21755461855544725</c:v>
                </c:pt>
                <c:pt idx="2">
                  <c:v>0</c:v>
                </c:pt>
                <c:pt idx="3">
                  <c:v>-0.14056427132482696</c:v>
                </c:pt>
                <c:pt idx="4">
                  <c:v>-0.1871702263638016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Lyre's Classico Sans Alcool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9499999999999993</c:v>
                </c:pt>
                <c:pt idx="1">
                  <c:v>10.5</c:v>
                </c:pt>
                <c:pt idx="2">
                  <c:v>11.5</c:v>
                </c:pt>
                <c:pt idx="3">
                  <c:v>12.5</c:v>
                </c:pt>
                <c:pt idx="4">
                  <c:v>13.95</c:v>
                </c:pt>
              </c:numCache>
            </c:numRef>
          </c:xVal>
          <c:yVal>
            <c:numRef>
              <c:f>Sheet1!$B$23:$B$27</c:f>
              <c:numCache>
                <c:formatCode>General</c:formatCode>
                <c:ptCount val="5"/>
                <c:pt idx="0">
                  <c:v>0.19884444546943941</c:v>
                </c:pt>
                <c:pt idx="1">
                  <c:v>7.9272236953181016E-2</c:v>
                </c:pt>
                <c:pt idx="2">
                  <c:v>0</c:v>
                </c:pt>
                <c:pt idx="3">
                  <c:v>-7.1016958941587729E-2</c:v>
                </c:pt>
                <c:pt idx="4">
                  <c:v>-0.171786912098185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0000000000003"/>
          <c:min val="7.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39.58289468517765</c:v>
                </c:pt>
                <c:pt idx="1">
                  <c:v>130.34372976604845</c:v>
                </c:pt>
                <c:pt idx="2">
                  <c:v>122.07199186361863</c:v>
                </c:pt>
                <c:pt idx="3">
                  <c:v>109.66717991056416</c:v>
                </c:pt>
                <c:pt idx="4">
                  <c:v>100</c:v>
                </c:pt>
                <c:pt idx="5">
                  <c:v>92.335346161577561</c:v>
                </c:pt>
                <c:pt idx="6">
                  <c:v>86.122030607825835</c:v>
                </c:pt>
                <c:pt idx="7">
                  <c:v>79.836455420197851</c:v>
                </c:pt>
                <c:pt idx="8">
                  <c:v>74.3873579417110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0.27372129264279</c:v>
                </c:pt>
                <c:pt idx="1">
                  <c:v>109.81618145371046</c:v>
                </c:pt>
                <c:pt idx="2">
                  <c:v>109.25450583433386</c:v>
                </c:pt>
                <c:pt idx="3">
                  <c:v>103.90927338963198</c:v>
                </c:pt>
                <c:pt idx="4">
                  <c:v>100</c:v>
                </c:pt>
                <c:pt idx="5">
                  <c:v>97.183732573840715</c:v>
                </c:pt>
                <c:pt idx="6">
                  <c:v>95.166574128492044</c:v>
                </c:pt>
                <c:pt idx="7">
                  <c:v>92.41299439722934</c:v>
                </c:pt>
                <c:pt idx="8">
                  <c:v>90.0116517286369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4.20927323845045</c:v>
                </c:pt>
                <c:pt idx="1">
                  <c:v>98.566015890191892</c:v>
                </c:pt>
                <c:pt idx="2">
                  <c:v>102.23127871405823</c:v>
                </c:pt>
                <c:pt idx="3">
                  <c:v>100.75491827991235</c:v>
                </c:pt>
                <c:pt idx="4">
                  <c:v>100</c:v>
                </c:pt>
                <c:pt idx="5">
                  <c:v>99.839111311915872</c:v>
                </c:pt>
                <c:pt idx="6">
                  <c:v>100.11969279930177</c:v>
                </c:pt>
                <c:pt idx="7">
                  <c:v>99.300529693346846</c:v>
                </c:pt>
                <c:pt idx="8">
                  <c:v>98.5681418929397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55368013534213578</c:v>
                </c:pt>
                <c:pt idx="1">
                  <c:v>0.5815751268832523</c:v>
                </c:pt>
                <c:pt idx="2">
                  <c:v>0.60618835471364918</c:v>
                </c:pt>
                <c:pt idx="3">
                  <c:v>0.6280667794517798</c:v>
                </c:pt>
                <c:pt idx="4">
                  <c:v>0.6476422121122124</c:v>
                </c:pt>
                <c:pt idx="5">
                  <c:v>0.66526010150660175</c:v>
                </c:pt>
                <c:pt idx="6">
                  <c:v>0.68120009667295411</c:v>
                </c:pt>
                <c:pt idx="7">
                  <c:v>0.69569100136963813</c:v>
                </c:pt>
                <c:pt idx="8">
                  <c:v>0.708921827397045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hampagne E.Nicolas Brut 750ml (11.6%)</c:v>
                </c:pt>
                <c:pt idx="4">
                  <c:v>Crémant de Bourgogne Patriarche Brut 750ml (1.8%)</c:v>
                </c:pt>
                <c:pt idx="5">
                  <c:v>Crémant Saumur Bouvet Cuvée Saphir Brut 750ml (1.5%)</c:v>
                </c:pt>
                <c:pt idx="6">
                  <c:v>Crémant d'Alsace Muré Prestige Bio 750ml (1.3%)</c:v>
                </c:pt>
                <c:pt idx="7">
                  <c:v>Clairette de Die Cuvée Dea Augusta 750ml (0.5%)</c:v>
                </c:pt>
                <c:pt idx="8">
                  <c:v>Prosecco Bottega Rosé 750ml (1.1%)</c:v>
                </c:pt>
                <c:pt idx="9">
                  <c:v>Mousseux Château Moncontour Brut Vouvray 750ml (1.5%)</c:v>
                </c:pt>
              </c:strCache>
            </c:strRef>
          </c:cat>
          <c:val>
            <c:numRef>
              <c:f>Sheet1!$B$2:$B$11</c:f>
              <c:numCache>
                <c:formatCode>General</c:formatCode>
                <c:ptCount val="10"/>
                <c:pt idx="0">
                  <c:v>0.26032726666238898</c:v>
                </c:pt>
                <c:pt idx="1">
                  <c:v>7.3476024899076509E-2</c:v>
                </c:pt>
                <c:pt idx="2">
                  <c:v>5.9530553536780668E-2</c:v>
                </c:pt>
                <c:pt idx="3">
                  <c:v>5.7697907030465595E-2</c:v>
                </c:pt>
                <c:pt idx="4">
                  <c:v>4.2898983595696584E-2</c:v>
                </c:pt>
                <c:pt idx="5">
                  <c:v>4.1433521536491373E-2</c:v>
                </c:pt>
                <c:pt idx="6">
                  <c:v>3.8167604866795761E-2</c:v>
                </c:pt>
                <c:pt idx="7">
                  <c:v>3.3050587124344624E-2</c:v>
                </c:pt>
                <c:pt idx="8">
                  <c:v>2.9661533849907655E-2</c:v>
                </c:pt>
                <c:pt idx="9">
                  <c:v>2.18980336752736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Mousseux Lyre's Classico Sans Alcool 750ml (1.0%)</c:v>
                </c:pt>
                <c:pt idx="5">
                  <c:v>Crémant de Bourgogne Patriarche Brut 750ml (1.8%)</c:v>
                </c:pt>
                <c:pt idx="6">
                  <c:v>Crémant Saumur Bouvet Cuvée Saphir Brut 750ml (1.5%)</c:v>
                </c:pt>
                <c:pt idx="7">
                  <c:v>Crémant d'Alsace Muré Prestige Bio 750ml (1.3%)</c:v>
                </c:pt>
                <c:pt idx="8">
                  <c:v>Prosecco Bottega Rosé 750ml (1.1%)</c:v>
                </c:pt>
                <c:pt idx="9">
                  <c:v>Clairette de Die Cuvée Dea Augusta 750ml (0.5%)</c:v>
                </c:pt>
              </c:strCache>
            </c:strRef>
          </c:cat>
          <c:val>
            <c:numRef>
              <c:f>Sheet1!$B$2:$B$11</c:f>
              <c:numCache>
                <c:formatCode>General</c:formatCode>
                <c:ptCount val="10"/>
                <c:pt idx="0">
                  <c:v>0.20370485685820794</c:v>
                </c:pt>
                <c:pt idx="1">
                  <c:v>6.8767343267996425E-2</c:v>
                </c:pt>
                <c:pt idx="2">
                  <c:v>6.5260729346688168E-2</c:v>
                </c:pt>
                <c:pt idx="3">
                  <c:v>4.6973140671911363E-2</c:v>
                </c:pt>
                <c:pt idx="4">
                  <c:v>3.9255496935518275E-2</c:v>
                </c:pt>
                <c:pt idx="5">
                  <c:v>3.9185403043442417E-2</c:v>
                </c:pt>
                <c:pt idx="6">
                  <c:v>3.8008922411528874E-2</c:v>
                </c:pt>
                <c:pt idx="7">
                  <c:v>3.7337043311575502E-2</c:v>
                </c:pt>
                <c:pt idx="8">
                  <c:v>3.068489161412007E-2</c:v>
                </c:pt>
                <c:pt idx="9">
                  <c:v>3.059331526617804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B$2:$B$25</c:f>
              <c:numCache>
                <c:formatCode>General</c:formatCode>
                <c:ptCount val="24"/>
                <c:pt idx="0">
                  <c:v>136.0273665694138</c:v>
                </c:pt>
                <c:pt idx="1">
                  <c:v>133.48546535587803</c:v>
                </c:pt>
                <c:pt idx="2">
                  <c:v>131.01481991260772</c:v>
                </c:pt>
                <c:pt idx="3">
                  <c:v>128.61270612906759</c:v>
                </c:pt>
                <c:pt idx="4">
                  <c:v>126.09686250110713</c:v>
                </c:pt>
                <c:pt idx="5">
                  <c:v>122.13049120558301</c:v>
                </c:pt>
                <c:pt idx="6">
                  <c:v>118.39943451105334</c:v>
                </c:pt>
                <c:pt idx="7">
                  <c:v>114.88435917282848</c:v>
                </c:pt>
                <c:pt idx="8">
                  <c:v>111.56794192626609</c:v>
                </c:pt>
                <c:pt idx="9">
                  <c:v>108.43462722625337</c:v>
                </c:pt>
                <c:pt idx="10">
                  <c:v>105.47041558547596</c:v>
                </c:pt>
                <c:pt idx="11">
                  <c:v>102.66267897587255</c:v>
                </c:pt>
                <c:pt idx="12">
                  <c:v>100</c:v>
                </c:pt>
                <c:pt idx="13">
                  <c:v>97.472031829231156</c:v>
                </c:pt>
                <c:pt idx="14">
                  <c:v>95.064537755320956</c:v>
                </c:pt>
                <c:pt idx="15">
                  <c:v>92.743231635743612</c:v>
                </c:pt>
                <c:pt idx="16">
                  <c:v>90.551690701817094</c:v>
                </c:pt>
                <c:pt idx="17">
                  <c:v>88.479242583772816</c:v>
                </c:pt>
                <c:pt idx="18">
                  <c:v>86.516318862604933</c:v>
                </c:pt>
                <c:pt idx="19">
                  <c:v>84.654328603637623</c:v>
                </c:pt>
                <c:pt idx="20">
                  <c:v>82.885546565756158</c:v>
                </c:pt>
                <c:pt idx="21">
                  <c:v>81.203014338682436</c:v>
                </c:pt>
                <c:pt idx="22">
                  <c:v>79.600452942570683</c:v>
                </c:pt>
                <c:pt idx="23">
                  <c:v>78.0721856242275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C$2:$C$25</c:f>
              <c:numCache>
                <c:formatCode>General</c:formatCode>
                <c:ptCount val="24"/>
                <c:pt idx="0">
                  <c:v>108.09171622303795</c:v>
                </c:pt>
                <c:pt idx="1">
                  <c:v>108.35756294091728</c:v>
                </c:pt>
                <c:pt idx="2">
                  <c:v>108.59518232715652</c:v>
                </c:pt>
                <c:pt idx="3">
                  <c:v>108.80595836481628</c:v>
                </c:pt>
                <c:pt idx="4">
                  <c:v>108.83597448780431</c:v>
                </c:pt>
                <c:pt idx="5">
                  <c:v>107.50176704331584</c:v>
                </c:pt>
                <c:pt idx="6">
                  <c:v>106.24317233765312</c:v>
                </c:pt>
                <c:pt idx="7">
                  <c:v>105.05456517176262</c:v>
                </c:pt>
                <c:pt idx="8">
                  <c:v>103.93087283189138</c:v>
                </c:pt>
                <c:pt idx="9">
                  <c:v>102.86751670877604</c:v>
                </c:pt>
                <c:pt idx="10">
                  <c:v>101.8603586940505</c:v>
                </c:pt>
                <c:pt idx="11">
                  <c:v>100.9056525235688</c:v>
                </c:pt>
                <c:pt idx="12">
                  <c:v>100</c:v>
                </c:pt>
                <c:pt idx="13">
                  <c:v>99.140311874827134</c:v>
                </c:pt>
                <c:pt idx="14">
                  <c:v>98.31889754006319</c:v>
                </c:pt>
                <c:pt idx="15">
                  <c:v>97.506861200366643</c:v>
                </c:pt>
                <c:pt idx="16">
                  <c:v>96.753983387295776</c:v>
                </c:pt>
                <c:pt idx="17">
                  <c:v>96.055338675959078</c:v>
                </c:pt>
                <c:pt idx="18">
                  <c:v>95.40648912924803</c:v>
                </c:pt>
                <c:pt idx="19">
                  <c:v>94.803436967518422</c:v>
                </c:pt>
                <c:pt idx="20">
                  <c:v>94.242580974978324</c:v>
                </c:pt>
                <c:pt idx="21">
                  <c:v>93.720676376563986</c:v>
                </c:pt>
                <c:pt idx="22">
                  <c:v>93.234798011411485</c:v>
                </c:pt>
                <c:pt idx="23">
                  <c:v>92.7823066672054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D$2:$D$25</c:f>
              <c:numCache>
                <c:formatCode>General</c:formatCode>
                <c:ptCount val="24"/>
                <c:pt idx="0">
                  <c:v>85.590040605504896</c:v>
                </c:pt>
                <c:pt idx="1">
                  <c:v>88.115214334985382</c:v>
                </c:pt>
                <c:pt idx="2">
                  <c:v>90.532542064844733</c:v>
                </c:pt>
                <c:pt idx="3">
                  <c:v>92.84666243287873</c:v>
                </c:pt>
                <c:pt idx="4">
                  <c:v>94.926720210908016</c:v>
                </c:pt>
                <c:pt idx="5">
                  <c:v>95.714515231442959</c:v>
                </c:pt>
                <c:pt idx="6">
                  <c:v>96.448885062868754</c:v>
                </c:pt>
                <c:pt idx="7">
                  <c:v>97.135296312997411</c:v>
                </c:pt>
                <c:pt idx="8">
                  <c:v>97.778587631920118</c:v>
                </c:pt>
                <c:pt idx="9">
                  <c:v>98.383060440251853</c:v>
                </c:pt>
                <c:pt idx="10">
                  <c:v>98.952553451561116</c:v>
                </c:pt>
                <c:pt idx="11">
                  <c:v>99.49050418093772</c:v>
                </c:pt>
                <c:pt idx="12">
                  <c:v>100</c:v>
                </c:pt>
                <c:pt idx="13">
                  <c:v>100.48382078373947</c:v>
                </c:pt>
                <c:pt idx="14">
                  <c:v>100.93933731379397</c:v>
                </c:pt>
                <c:pt idx="15">
                  <c:v>101.34025281414615</c:v>
                </c:pt>
                <c:pt idx="16">
                  <c:v>101.74351985525436</c:v>
                </c:pt>
                <c:pt idx="17">
                  <c:v>102.14884608521311</c:v>
                </c:pt>
                <c:pt idx="18">
                  <c:v>102.5559287062754</c:v>
                </c:pt>
                <c:pt idx="19">
                  <c:v>102.96447120951966</c:v>
                </c:pt>
                <c:pt idx="20">
                  <c:v>103.37419496676496</c:v>
                </c:pt>
                <c:pt idx="21">
                  <c:v>103.78484662036212</c:v>
                </c:pt>
                <c:pt idx="22">
                  <c:v>104.19620214848804</c:v>
                </c:pt>
                <c:pt idx="23">
                  <c:v>104.608068389271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E$2:$E$25</c:f>
              <c:numCache>
                <c:formatCode>General</c:formatCode>
                <c:ptCount val="24"/>
                <c:pt idx="0">
                  <c:v>0.44268478260869581</c:v>
                </c:pt>
                <c:pt idx="1">
                  <c:v>0.45454255319148956</c:v>
                </c:pt>
                <c:pt idx="2">
                  <c:v>0.46590625000000019</c:v>
                </c:pt>
                <c:pt idx="3">
                  <c:v>0.47680612244897974</c:v>
                </c:pt>
                <c:pt idx="4">
                  <c:v>0.48727000000000015</c:v>
                </c:pt>
                <c:pt idx="5">
                  <c:v>0.49732352941176483</c:v>
                </c:pt>
                <c:pt idx="6">
                  <c:v>0.5069903846153847</c:v>
                </c:pt>
                <c:pt idx="7">
                  <c:v>0.51629245283018887</c:v>
                </c:pt>
                <c:pt idx="8">
                  <c:v>0.52525000000000011</c:v>
                </c:pt>
                <c:pt idx="9">
                  <c:v>0.53388181818181824</c:v>
                </c:pt>
                <c:pt idx="10">
                  <c:v>0.54220535714285722</c:v>
                </c:pt>
                <c:pt idx="11">
                  <c:v>0.55023684210526336</c:v>
                </c:pt>
                <c:pt idx="12">
                  <c:v>0.55799137931034504</c:v>
                </c:pt>
                <c:pt idx="13">
                  <c:v>0.56548305084745776</c:v>
                </c:pt>
                <c:pt idx="14">
                  <c:v>0.57272500000000015</c:v>
                </c:pt>
                <c:pt idx="15">
                  <c:v>0.57972950819672142</c:v>
                </c:pt>
                <c:pt idx="16">
                  <c:v>0.58650806451612925</c:v>
                </c:pt>
                <c:pt idx="17">
                  <c:v>0.59307142857142869</c:v>
                </c:pt>
                <c:pt idx="18">
                  <c:v>0.59942968750000014</c:v>
                </c:pt>
                <c:pt idx="19">
                  <c:v>0.60559230769230787</c:v>
                </c:pt>
                <c:pt idx="20">
                  <c:v>0.61156818181818196</c:v>
                </c:pt>
                <c:pt idx="21">
                  <c:v>0.61736567164179112</c:v>
                </c:pt>
                <c:pt idx="22">
                  <c:v>0.62299264705882362</c:v>
                </c:pt>
                <c:pt idx="23">
                  <c:v>0.628456521739130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Vranken Demoiselle Rosé Prestige 750ml (2.0%)</c:v>
                </c:pt>
                <c:pt idx="3">
                  <c:v>Champagne Ruinart Brut 750ml (7.3%)</c:v>
                </c:pt>
                <c:pt idx="4">
                  <c:v>Champagne Ruinart Blanc de Blancs 750ml (2.0%)</c:v>
                </c:pt>
                <c:pt idx="5">
                  <c:v>Crémant d'Alsace Muré Prestige Bio 750ml (1.3%)</c:v>
                </c:pt>
                <c:pt idx="6">
                  <c:v>Prosecco Bottega 750ml (2.6%)</c:v>
                </c:pt>
                <c:pt idx="7">
                  <c:v>Prosecco Bottega Rosé 750ml (1.1%)</c:v>
                </c:pt>
                <c:pt idx="8">
                  <c:v>Crémant de Bourgogne Patriarche Brut 750ml (1.8%)</c:v>
                </c:pt>
                <c:pt idx="9">
                  <c:v>Prosecco Savian Extra Dry Bio 750ml (2.1%)</c:v>
                </c:pt>
              </c:strCache>
            </c:strRef>
          </c:cat>
          <c:val>
            <c:numRef>
              <c:f>Sheet1!$B$2:$B$11</c:f>
              <c:numCache>
                <c:formatCode>General</c:formatCode>
                <c:ptCount val="10"/>
                <c:pt idx="0">
                  <c:v>9.4179003915133827E-2</c:v>
                </c:pt>
                <c:pt idx="1">
                  <c:v>5.022100003111471E-2</c:v>
                </c:pt>
                <c:pt idx="2">
                  <c:v>4.5823047631334352E-2</c:v>
                </c:pt>
                <c:pt idx="3">
                  <c:v>4.1762599539815745E-2</c:v>
                </c:pt>
                <c:pt idx="4">
                  <c:v>3.7417527751066902E-2</c:v>
                </c:pt>
                <c:pt idx="5">
                  <c:v>2.7376130741462924E-2</c:v>
                </c:pt>
                <c:pt idx="6">
                  <c:v>2.7317697899198586E-2</c:v>
                </c:pt>
                <c:pt idx="7">
                  <c:v>2.5385110722696919E-2</c:v>
                </c:pt>
                <c:pt idx="8">
                  <c:v>2.5052055951915203E-2</c:v>
                </c:pt>
                <c:pt idx="9">
                  <c:v>2.36671957881916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French Bloom</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Lyr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c:f>
              <c:numCache>
                <c:formatCode>General</c:formatCode>
                <c:ptCount val="3"/>
                <c:pt idx="0">
                  <c:v>-2.0775439660407957</c:v>
                </c:pt>
                <c:pt idx="1">
                  <c:v>-1.8410551404993287</c:v>
                </c:pt>
                <c:pt idx="2">
                  <c:v>-0.88419234489663789</c:v>
                </c:pt>
              </c:numCache>
            </c:numRef>
          </c:xVal>
          <c:yVal>
            <c:numRef>
              <c:f>Sheet1!$B$2:$B$4</c:f>
              <c:numCache>
                <c:formatCode>General</c:formatCode>
                <c:ptCount val="3"/>
                <c:pt idx="0">
                  <c:v>-1.289477640585609</c:v>
                </c:pt>
                <c:pt idx="1">
                  <c:v>-1.194669335207226</c:v>
                </c:pt>
                <c:pt idx="2">
                  <c:v>-0.8183011786996704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min val="-3"/>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
          <c:min val="-2"/>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Taittinger (2.2%)</c:v>
                </c:pt>
                <c:pt idx="2">
                  <c:v>Ayala (1.7%)</c:v>
                </c:pt>
                <c:pt idx="3">
                  <c:v>Laurent Perrier (3.9%)</c:v>
                </c:pt>
                <c:pt idx="4">
                  <c:v>Nicolas (14.4%)</c:v>
                </c:pt>
                <c:pt idx="5">
                  <c:v>Malard (6.0%)</c:v>
                </c:pt>
                <c:pt idx="6">
                  <c:v>Veuve Clicquot (1.7%)</c:v>
                </c:pt>
                <c:pt idx="7">
                  <c:v>Perrier-Jouët (0.9%)</c:v>
                </c:pt>
                <c:pt idx="8">
                  <c:v>Demoiselle (3.5%)</c:v>
                </c:pt>
                <c:pt idx="9">
                  <c:v>Nicolas Feuillatte (4.5%)</c:v>
                </c:pt>
              </c:strCache>
            </c:strRef>
          </c:cat>
          <c:val>
            <c:numRef>
              <c:f>Sheet1!$B$2:$B$11</c:f>
              <c:numCache>
                <c:formatCode>General</c:formatCode>
                <c:ptCount val="10"/>
                <c:pt idx="0">
                  <c:v>0.14651641001863325</c:v>
                </c:pt>
                <c:pt idx="1">
                  <c:v>0.11410363108214452</c:v>
                </c:pt>
                <c:pt idx="2">
                  <c:v>9.549991548798499E-2</c:v>
                </c:pt>
                <c:pt idx="3">
                  <c:v>6.4753674207203335E-2</c:v>
                </c:pt>
                <c:pt idx="4">
                  <c:v>5.315481701839176E-2</c:v>
                </c:pt>
                <c:pt idx="5">
                  <c:v>4.4733967895013001E-2</c:v>
                </c:pt>
                <c:pt idx="6">
                  <c:v>4.3654711286970453E-2</c:v>
                </c:pt>
                <c:pt idx="7">
                  <c:v>3.7743854379109737E-2</c:v>
                </c:pt>
                <c:pt idx="8">
                  <c:v>3.752683170850013E-2</c:v>
                </c:pt>
                <c:pt idx="9">
                  <c:v>3.375476509108761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Champagne Ruinart Brut 750ml (7.3%)</c:v>
                </c:pt>
                <c:pt idx="4">
                  <c:v>Champagne Ruinart Blanc de Blancs 750ml (2.0%)</c:v>
                </c:pt>
                <c:pt idx="5">
                  <c:v>Prosecco Bottega Rosé 750ml (1.1%)</c:v>
                </c:pt>
                <c:pt idx="6">
                  <c:v>Crémant d'Alsace Muré Prestige Bio 750ml (1.3%)</c:v>
                </c:pt>
                <c:pt idx="7">
                  <c:v>Champagne E.Nicolas Rosé 750ml (0.9%)</c:v>
                </c:pt>
                <c:pt idx="8">
                  <c:v>Champagne Malard Brut 1er Cru 750ml (4.1%)</c:v>
                </c:pt>
                <c:pt idx="9">
                  <c:v>Champagne Nicolas Blanc de Blancs 750ml (0.8%)</c:v>
                </c:pt>
              </c:strCache>
            </c:strRef>
          </c:cat>
          <c:val>
            <c:numRef>
              <c:f>Sheet1!$B$2:$B$11</c:f>
              <c:numCache>
                <c:formatCode>General</c:formatCode>
                <c:ptCount val="10"/>
                <c:pt idx="0">
                  <c:v>8.8568505808139589E-2</c:v>
                </c:pt>
                <c:pt idx="1">
                  <c:v>6.5338218533886661E-2</c:v>
                </c:pt>
                <c:pt idx="2">
                  <c:v>4.2753226268056208E-2</c:v>
                </c:pt>
                <c:pt idx="3">
                  <c:v>3.6922481158805476E-2</c:v>
                </c:pt>
                <c:pt idx="4">
                  <c:v>3.3983235843381511E-2</c:v>
                </c:pt>
                <c:pt idx="5">
                  <c:v>3.3665488281511842E-2</c:v>
                </c:pt>
                <c:pt idx="6">
                  <c:v>2.7671766071815519E-2</c:v>
                </c:pt>
                <c:pt idx="7">
                  <c:v>2.7536812204247887E-2</c:v>
                </c:pt>
                <c:pt idx="8">
                  <c:v>2.569499967809721E-2</c:v>
                </c:pt>
                <c:pt idx="9">
                  <c:v>2.44771763062975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62.121945516311</c:v>
                </c:pt>
                <c:pt idx="1">
                  <c:v>156.18392788292945</c:v>
                </c:pt>
                <c:pt idx="2">
                  <c:v>150.57892112521918</c:v>
                </c:pt>
                <c:pt idx="3">
                  <c:v>145.28215240265533</c:v>
                </c:pt>
                <c:pt idx="4">
                  <c:v>140.27123896381124</c:v>
                </c:pt>
                <c:pt idx="5">
                  <c:v>135.5259030860181</c:v>
                </c:pt>
                <c:pt idx="6">
                  <c:v>130.97259437469339</c:v>
                </c:pt>
                <c:pt idx="7">
                  <c:v>126.20771378969897</c:v>
                </c:pt>
                <c:pt idx="8">
                  <c:v>121.74579230853011</c:v>
                </c:pt>
                <c:pt idx="9">
                  <c:v>117.55934481689184</c:v>
                </c:pt>
                <c:pt idx="10">
                  <c:v>113.62410772684166</c:v>
                </c:pt>
                <c:pt idx="11">
                  <c:v>109.91860261393769</c:v>
                </c:pt>
                <c:pt idx="12">
                  <c:v>106.42376290269911</c:v>
                </c:pt>
                <c:pt idx="13">
                  <c:v>103.12261414946498</c:v>
                </c:pt>
                <c:pt idx="14">
                  <c:v>100</c:v>
                </c:pt>
                <c:pt idx="15">
                  <c:v>97.042347130293052</c:v>
                </c:pt>
                <c:pt idx="16">
                  <c:v>94.356200562733619</c:v>
                </c:pt>
                <c:pt idx="17">
                  <c:v>92.837148515176395</c:v>
                </c:pt>
                <c:pt idx="18">
                  <c:v>91.375116363518856</c:v>
                </c:pt>
                <c:pt idx="19">
                  <c:v>89.966350950091993</c:v>
                </c:pt>
                <c:pt idx="20">
                  <c:v>88.607479029975167</c:v>
                </c:pt>
                <c:pt idx="21">
                  <c:v>87.295458985891557</c:v>
                </c:pt>
                <c:pt idx="22">
                  <c:v>86.02753933010105</c:v>
                </c:pt>
                <c:pt idx="23">
                  <c:v>84.801222995186265</c:v>
                </c:pt>
                <c:pt idx="24">
                  <c:v>83.61423656471348</c:v>
                </c:pt>
                <c:pt idx="25">
                  <c:v>82.4645037218958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28.77897912544444</c:v>
                </c:pt>
                <c:pt idx="1">
                  <c:v>126.35604269518252</c:v>
                </c:pt>
                <c:pt idx="2">
                  <c:v>124.033060973677</c:v>
                </c:pt>
                <c:pt idx="3">
                  <c:v>121.80392730566221</c:v>
                </c:pt>
                <c:pt idx="4">
                  <c:v>119.66311980542834</c:v>
                </c:pt>
                <c:pt idx="5">
                  <c:v>117.60562935696002</c:v>
                </c:pt>
                <c:pt idx="6">
                  <c:v>115.57826961635375</c:v>
                </c:pt>
                <c:pt idx="7">
                  <c:v>113.22758832417547</c:v>
                </c:pt>
                <c:pt idx="8">
                  <c:v>111.01319804253889</c:v>
                </c:pt>
                <c:pt idx="9">
                  <c:v>108.92297857459326</c:v>
                </c:pt>
                <c:pt idx="10">
                  <c:v>106.94622781227088</c:v>
                </c:pt>
                <c:pt idx="11">
                  <c:v>105.07348105633045</c:v>
                </c:pt>
                <c:pt idx="12">
                  <c:v>103.29635310741187</c:v>
                </c:pt>
                <c:pt idx="13">
                  <c:v>101.6074002911709</c:v>
                </c:pt>
                <c:pt idx="14">
                  <c:v>100</c:v>
                </c:pt>
                <c:pt idx="15">
                  <c:v>98.468245653380123</c:v>
                </c:pt>
                <c:pt idx="16">
                  <c:v>97.129071199101489</c:v>
                </c:pt>
                <c:pt idx="17">
                  <c:v>96.929416071939485</c:v>
                </c:pt>
                <c:pt idx="18">
                  <c:v>96.745494074064851</c:v>
                </c:pt>
                <c:pt idx="19">
                  <c:v>96.575789457429124</c:v>
                </c:pt>
                <c:pt idx="20">
                  <c:v>96.418979344282675</c:v>
                </c:pt>
                <c:pt idx="21">
                  <c:v>96.273908376371224</c:v>
                </c:pt>
                <c:pt idx="22">
                  <c:v>96.139566694218516</c:v>
                </c:pt>
                <c:pt idx="23">
                  <c:v>96.015070814040058</c:v>
                </c:pt>
                <c:pt idx="24">
                  <c:v>95.899647023594895</c:v>
                </c:pt>
                <c:pt idx="25">
                  <c:v>95.7926169662378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2.61751521420568</c:v>
                </c:pt>
                <c:pt idx="1">
                  <c:v>102.95359866620618</c:v>
                </c:pt>
                <c:pt idx="2">
                  <c:v>103.20657581074538</c:v>
                </c:pt>
                <c:pt idx="3">
                  <c:v>103.38500933950674</c:v>
                </c:pt>
                <c:pt idx="4">
                  <c:v>103.49662757161826</c:v>
                </c:pt>
                <c:pt idx="5">
                  <c:v>103.54841995588684</c:v>
                </c:pt>
                <c:pt idx="6">
                  <c:v>103.50314990846591</c:v>
                </c:pt>
                <c:pt idx="7">
                  <c:v>103.04638888433126</c:v>
                </c:pt>
                <c:pt idx="8">
                  <c:v>102.59509156394238</c:v>
                </c:pt>
                <c:pt idx="9">
                  <c:v>102.14920353241456</c:v>
                </c:pt>
                <c:pt idx="10">
                  <c:v>101.70867178343406</c:v>
                </c:pt>
                <c:pt idx="11">
                  <c:v>101.27346496684669</c:v>
                </c:pt>
                <c:pt idx="12">
                  <c:v>100.84358473851916</c:v>
                </c:pt>
                <c:pt idx="13">
                  <c:v>100.41907057980136</c:v>
                </c:pt>
                <c:pt idx="14">
                  <c:v>100</c:v>
                </c:pt>
                <c:pt idx="15">
                  <c:v>99.586485636992521</c:v>
                </c:pt>
                <c:pt idx="16">
                  <c:v>99.303633313411069</c:v>
                </c:pt>
                <c:pt idx="17">
                  <c:v>100.13882365105877</c:v>
                </c:pt>
                <c:pt idx="18">
                  <c:v>100.95736407162315</c:v>
                </c:pt>
                <c:pt idx="19">
                  <c:v>101.75949407409628</c:v>
                </c:pt>
                <c:pt idx="20">
                  <c:v>102.54549924783282</c:v>
                </c:pt>
                <c:pt idx="21">
                  <c:v>103.31570392673967</c:v>
                </c:pt>
                <c:pt idx="22">
                  <c:v>104.07046445865005</c:v>
                </c:pt>
                <c:pt idx="23">
                  <c:v>104.81016310180149</c:v>
                </c:pt>
                <c:pt idx="24">
                  <c:v>105.53520253918187</c:v>
                </c:pt>
                <c:pt idx="25">
                  <c:v>106.2460009872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44710185185185186</c:v>
                </c:pt>
                <c:pt idx="1">
                  <c:v>0.45715454545454548</c:v>
                </c:pt>
                <c:pt idx="2">
                  <c:v>0.46684821428571427</c:v>
                </c:pt>
                <c:pt idx="3">
                  <c:v>0.47620175438596501</c:v>
                </c:pt>
                <c:pt idx="4">
                  <c:v>0.48523275862068965</c:v>
                </c:pt>
                <c:pt idx="5">
                  <c:v>0.4939576271186441</c:v>
                </c:pt>
                <c:pt idx="6">
                  <c:v>0.50239166666666668</c:v>
                </c:pt>
                <c:pt idx="7">
                  <c:v>0.51054918032786889</c:v>
                </c:pt>
                <c:pt idx="8">
                  <c:v>0.51844354838709672</c:v>
                </c:pt>
                <c:pt idx="9">
                  <c:v>0.52608730158730166</c:v>
                </c:pt>
                <c:pt idx="10">
                  <c:v>0.53349218750000005</c:v>
                </c:pt>
                <c:pt idx="11">
                  <c:v>0.54066923076923079</c:v>
                </c:pt>
                <c:pt idx="12">
                  <c:v>0.54762878787878788</c:v>
                </c:pt>
                <c:pt idx="13">
                  <c:v>0.55438059701492548</c:v>
                </c:pt>
                <c:pt idx="14">
                  <c:v>0.56093382352941179</c:v>
                </c:pt>
                <c:pt idx="15">
                  <c:v>0.56729710144927536</c:v>
                </c:pt>
                <c:pt idx="16">
                  <c:v>0.57347857142857139</c:v>
                </c:pt>
                <c:pt idx="17">
                  <c:v>0.5794859154929578</c:v>
                </c:pt>
                <c:pt idx="18">
                  <c:v>0.58532638888888888</c:v>
                </c:pt>
                <c:pt idx="19">
                  <c:v>0.59100684931506864</c:v>
                </c:pt>
                <c:pt idx="20">
                  <c:v>0.59653378378378386</c:v>
                </c:pt>
                <c:pt idx="21">
                  <c:v>0.60191333333333341</c:v>
                </c:pt>
                <c:pt idx="22">
                  <c:v>0.60715131578947368</c:v>
                </c:pt>
                <c:pt idx="23">
                  <c:v>0.61225324675324677</c:v>
                </c:pt>
                <c:pt idx="24">
                  <c:v>0.6172243589743589</c:v>
                </c:pt>
                <c:pt idx="25">
                  <c:v>0.62206962025316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Prosecco Bottega Rosé 750ml (1.1%)</c:v>
                </c:pt>
                <c:pt idx="4">
                  <c:v>Champagne Malard Brut 1er Cru 750ml (4.1%)</c:v>
                </c:pt>
                <c:pt idx="5">
                  <c:v>Champagne Ruinart Brut 750ml (7.3%)</c:v>
                </c:pt>
                <c:pt idx="6">
                  <c:v>Champagne Nicolas Feuillatte Réserve Exclusive Brut 750ml (3.0%)</c:v>
                </c:pt>
                <c:pt idx="7">
                  <c:v>Mousseux French Bloom Blanc Bio Sans Alcool 750ml (0.7%)</c:v>
                </c:pt>
                <c:pt idx="8">
                  <c:v>Champagne Vranken Demoiselle Tête de Cuvée 750ml (1.4%)</c:v>
                </c:pt>
                <c:pt idx="9">
                  <c:v>Crémant d'Alsace Muré Prestige Bio 750ml (1.3%)</c:v>
                </c:pt>
              </c:strCache>
            </c:strRef>
          </c:cat>
          <c:val>
            <c:numRef>
              <c:f>Sheet1!$B$2:$B$11</c:f>
              <c:numCache>
                <c:formatCode>General</c:formatCode>
                <c:ptCount val="10"/>
                <c:pt idx="0">
                  <c:v>8.3998988055725823E-2</c:v>
                </c:pt>
                <c:pt idx="1">
                  <c:v>7.6559633071686145E-2</c:v>
                </c:pt>
                <c:pt idx="2">
                  <c:v>4.5147794454960352E-2</c:v>
                </c:pt>
                <c:pt idx="3">
                  <c:v>4.250156135292741E-2</c:v>
                </c:pt>
                <c:pt idx="4">
                  <c:v>3.3590987093689711E-2</c:v>
                </c:pt>
                <c:pt idx="5">
                  <c:v>3.1774749146194534E-2</c:v>
                </c:pt>
                <c:pt idx="6">
                  <c:v>3.0153057409888401E-2</c:v>
                </c:pt>
                <c:pt idx="7">
                  <c:v>2.9381020487323516E-2</c:v>
                </c:pt>
                <c:pt idx="8">
                  <c:v>2.7943848772637472E-2</c:v>
                </c:pt>
                <c:pt idx="9">
                  <c:v>2.73162101605856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Vranken Demoiselle Rosé Prestige 750ml (2.0%)</c:v>
                </c:pt>
                <c:pt idx="1">
                  <c:v>Champagne E.Nicolas Brut 750ml (11.6%)</c:v>
                </c:pt>
                <c:pt idx="2">
                  <c:v>Prosecco Carlo V Cuvée Del Imperator 750ml (5.4%)</c:v>
                </c:pt>
                <c:pt idx="3">
                  <c:v>Champagne Malard Brut 1er Cru 750ml (4.1%)</c:v>
                </c:pt>
                <c:pt idx="4">
                  <c:v>Champagne Vranken Demoiselle Tête de Cuvée 750ml (1.4%)</c:v>
                </c:pt>
                <c:pt idx="5">
                  <c:v>Champagne Ruinart Brut 750ml (7.3%)</c:v>
                </c:pt>
                <c:pt idx="6">
                  <c:v>Prosecco Bottega Rosé 750ml (1.1%)</c:v>
                </c:pt>
                <c:pt idx="7">
                  <c:v>Champagne Nicolas Feuillatte Réserve Exclusive Brut 750ml (3.0%)</c:v>
                </c:pt>
                <c:pt idx="8">
                  <c:v>Champagne Heidsieck Monopole Silver Top 750ml (4.2%)</c:v>
                </c:pt>
                <c:pt idx="9">
                  <c:v>Champagne Laurent-Perrier Blanc La Cuvée 750ml (2.7%)</c:v>
                </c:pt>
              </c:strCache>
            </c:strRef>
          </c:cat>
          <c:val>
            <c:numRef>
              <c:f>Sheet1!$B$2:$B$11</c:f>
              <c:numCache>
                <c:formatCode>General</c:formatCode>
                <c:ptCount val="10"/>
                <c:pt idx="0">
                  <c:v>7.3261284929757253E-2</c:v>
                </c:pt>
                <c:pt idx="1">
                  <c:v>7.1868327760375092E-2</c:v>
                </c:pt>
                <c:pt idx="2">
                  <c:v>3.5548358507607077E-2</c:v>
                </c:pt>
                <c:pt idx="3">
                  <c:v>3.4772278289205774E-2</c:v>
                </c:pt>
                <c:pt idx="4">
                  <c:v>3.4544902398211584E-2</c:v>
                </c:pt>
                <c:pt idx="5">
                  <c:v>3.3631178224967216E-2</c:v>
                </c:pt>
                <c:pt idx="6">
                  <c:v>3.3354358369326334E-2</c:v>
                </c:pt>
                <c:pt idx="7">
                  <c:v>3.2690354795824605E-2</c:v>
                </c:pt>
                <c:pt idx="8">
                  <c:v>3.1950816498855998E-2</c:v>
                </c:pt>
                <c:pt idx="9">
                  <c:v>3.1420461737108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B$2:$B$11</c:f>
              <c:numCache>
                <c:formatCode>General</c:formatCode>
                <c:ptCount val="10"/>
                <c:pt idx="0">
                  <c:v>119.25900719446614</c:v>
                </c:pt>
                <c:pt idx="1">
                  <c:v>114.91054880957847</c:v>
                </c:pt>
                <c:pt idx="2">
                  <c:v>111.27041061432541</c:v>
                </c:pt>
                <c:pt idx="3">
                  <c:v>107.88019397218309</c:v>
                </c:pt>
                <c:pt idx="4">
                  <c:v>103.81423684230597</c:v>
                </c:pt>
                <c:pt idx="5">
                  <c:v>100</c:v>
                </c:pt>
                <c:pt idx="6">
                  <c:v>96.377941469419355</c:v>
                </c:pt>
                <c:pt idx="7">
                  <c:v>92.851671145187595</c:v>
                </c:pt>
                <c:pt idx="8">
                  <c:v>89.25278720153932</c:v>
                </c:pt>
                <c:pt idx="9">
                  <c:v>85.7841696259949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C$2:$C$11</c:f>
              <c:numCache>
                <c:formatCode>General</c:formatCode>
                <c:ptCount val="10"/>
                <c:pt idx="0">
                  <c:v>93.670018114820223</c:v>
                </c:pt>
                <c:pt idx="1">
                  <c:v>95.188020895097054</c:v>
                </c:pt>
                <c:pt idx="2">
                  <c:v>96.94920922895767</c:v>
                </c:pt>
                <c:pt idx="3">
                  <c:v>98.625251098930036</c:v>
                </c:pt>
                <c:pt idx="4">
                  <c:v>99.361369323695811</c:v>
                </c:pt>
                <c:pt idx="5">
                  <c:v>100</c:v>
                </c:pt>
                <c:pt idx="6">
                  <c:v>100.51155195928527</c:v>
                </c:pt>
                <c:pt idx="7">
                  <c:v>100.81645782544169</c:v>
                </c:pt>
                <c:pt idx="8">
                  <c:v>100.73773172116655</c:v>
                </c:pt>
                <c:pt idx="9">
                  <c:v>100.5027395935133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D$2:$D$11</c:f>
              <c:numCache>
                <c:formatCode>General</c:formatCode>
                <c:ptCount val="10"/>
                <c:pt idx="0">
                  <c:v>50.968412321247335</c:v>
                </c:pt>
                <c:pt idx="1">
                  <c:v>62.270098951610549</c:v>
                </c:pt>
                <c:pt idx="2">
                  <c:v>73.040731977563027</c:v>
                </c:pt>
                <c:pt idx="3">
                  <c:v>83.170269599307758</c:v>
                </c:pt>
                <c:pt idx="4">
                  <c:v>91.924927754381073</c:v>
                </c:pt>
                <c:pt idx="5">
                  <c:v>100</c:v>
                </c:pt>
                <c:pt idx="6">
                  <c:v>107.41561000353789</c:v>
                </c:pt>
                <c:pt idx="7">
                  <c:v>114.11931710885969</c:v>
                </c:pt>
                <c:pt idx="8">
                  <c:v>119.91777130029378</c:v>
                </c:pt>
                <c:pt idx="9">
                  <c:v>125.081843569643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E$2:$E$11</c:f>
              <c:numCache>
                <c:formatCode>General</c:formatCode>
                <c:ptCount val="10"/>
                <c:pt idx="0">
                  <c:v>0.20504010989010998</c:v>
                </c:pt>
                <c:pt idx="1">
                  <c:v>0.24644427083333337</c:v>
                </c:pt>
                <c:pt idx="2">
                  <c:v>0.28374900990099011</c:v>
                </c:pt>
                <c:pt idx="3">
                  <c:v>0.31753443396226422</c:v>
                </c:pt>
                <c:pt idx="4">
                  <c:v>0.34827612612612613</c:v>
                </c:pt>
                <c:pt idx="5">
                  <c:v>0.37636767241379321</c:v>
                </c:pt>
                <c:pt idx="6">
                  <c:v>0.40213760330578513</c:v>
                </c:pt>
                <c:pt idx="7">
                  <c:v>0.42586230158730171</c:v>
                </c:pt>
                <c:pt idx="8">
                  <c:v>0.44777595419847332</c:v>
                </c:pt>
                <c:pt idx="9">
                  <c:v>0.468078308823529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Château Moncontour Brut Vouvray 750ml (1.5%)</c:v>
                </c:pt>
                <c:pt idx="4">
                  <c:v>Crémant Saumur Bouvet Cuvée Saphir Brut 750ml (1.5%)</c:v>
                </c:pt>
                <c:pt idx="5">
                  <c:v>Mousseux Les Grumes Bulles 750ml (1.0%)</c:v>
                </c:pt>
                <c:pt idx="6">
                  <c:v>Mousseux Veuve du Vernay Sans Alcool 750ml (0.3%)</c:v>
                </c:pt>
                <c:pt idx="7">
                  <c:v>Crémant de Bourgogne Patriarche Brut 750ml (1.8%)</c:v>
                </c:pt>
                <c:pt idx="8">
                  <c:v>Prosecco Bottega 750ml (2.6%)</c:v>
                </c:pt>
                <c:pt idx="9">
                  <c:v>Prosecco Bottega Rosé 750ml (1.1%)</c:v>
                </c:pt>
              </c:strCache>
            </c:strRef>
          </c:cat>
          <c:val>
            <c:numRef>
              <c:f>Sheet1!$B$2:$B$11</c:f>
              <c:numCache>
                <c:formatCode>General</c:formatCode>
                <c:ptCount val="10"/>
                <c:pt idx="0">
                  <c:v>0.16996838341589671</c:v>
                </c:pt>
                <c:pt idx="1">
                  <c:v>8.986204906951839E-2</c:v>
                </c:pt>
                <c:pt idx="2">
                  <c:v>6.8872240985545216E-2</c:v>
                </c:pt>
                <c:pt idx="3">
                  <c:v>6.2462197260798775E-2</c:v>
                </c:pt>
                <c:pt idx="4">
                  <c:v>4.7374386541754E-2</c:v>
                </c:pt>
                <c:pt idx="5">
                  <c:v>4.6648116138189699E-2</c:v>
                </c:pt>
                <c:pt idx="6">
                  <c:v>4.2108657807289361E-2</c:v>
                </c:pt>
                <c:pt idx="7">
                  <c:v>4.1394392136541031E-2</c:v>
                </c:pt>
                <c:pt idx="8">
                  <c:v>4.055063612571437E-2</c:v>
                </c:pt>
                <c:pt idx="9">
                  <c:v>3.49337496252510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Mousseux Château Moncontour Brut Vouvray 750ml (1.5%)</c:v>
                </c:pt>
                <c:pt idx="3">
                  <c:v>Prosecco Savian Extra Dry Bio 750ml (2.1%)</c:v>
                </c:pt>
                <c:pt idx="4">
                  <c:v>Crémant Saumur Bouvet Cuvée Saphir Brut 750ml (1.5%)</c:v>
                </c:pt>
                <c:pt idx="5">
                  <c:v>Mousseux Les Grumes Bulles 750ml (1.0%)</c:v>
                </c:pt>
                <c:pt idx="6">
                  <c:v>Mousseux Veuve du Vernay Sans Alcool 750ml (0.3%)</c:v>
                </c:pt>
                <c:pt idx="7">
                  <c:v>Crémant de Bourgogne Patriarche Brut 750ml (1.8%)</c:v>
                </c:pt>
                <c:pt idx="8">
                  <c:v>Clairette de Die Cuvée Dea Augusta 750ml (0.5%)</c:v>
                </c:pt>
                <c:pt idx="9">
                  <c:v>Prosecco Bottega 750ml (2.6%)</c:v>
                </c:pt>
              </c:strCache>
            </c:strRef>
          </c:cat>
          <c:val>
            <c:numRef>
              <c:f>Sheet1!$B$2:$B$11</c:f>
              <c:numCache>
                <c:formatCode>General</c:formatCode>
                <c:ptCount val="10"/>
                <c:pt idx="0">
                  <c:v>0.14712821382692262</c:v>
                </c:pt>
                <c:pt idx="1">
                  <c:v>8.7573499992873005E-2</c:v>
                </c:pt>
                <c:pt idx="2">
                  <c:v>8.0299222719066768E-2</c:v>
                </c:pt>
                <c:pt idx="3">
                  <c:v>6.4433256398926789E-2</c:v>
                </c:pt>
                <c:pt idx="4">
                  <c:v>5.3791384455456587E-2</c:v>
                </c:pt>
                <c:pt idx="5">
                  <c:v>5.0053129955303151E-2</c:v>
                </c:pt>
                <c:pt idx="6">
                  <c:v>4.9989684561863382E-2</c:v>
                </c:pt>
                <c:pt idx="7">
                  <c:v>4.7293021020872177E-2</c:v>
                </c:pt>
                <c:pt idx="8">
                  <c:v>3.7939706817708592E-2</c:v>
                </c:pt>
                <c:pt idx="9">
                  <c:v>3.682515022224273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Prosecco Botteg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5472339212560593</c:v>
                </c:pt>
                <c:pt idx="1">
                  <c:v>0.19902065539909447</c:v>
                </c:pt>
                <c:pt idx="2">
                  <c:v>0</c:v>
                </c:pt>
                <c:pt idx="3">
                  <c:v>-0.12040127983198684</c:v>
                </c:pt>
                <c:pt idx="4">
                  <c:v>-0.1885606589548687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Prosecco Bottega Rosé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95</c:v>
                </c:pt>
                <c:pt idx="1">
                  <c:v>8.9499999999999993</c:v>
                </c:pt>
                <c:pt idx="2">
                  <c:v>9.9499999999999993</c:v>
                </c:pt>
                <c:pt idx="3">
                  <c:v>10.95</c:v>
                </c:pt>
                <c:pt idx="4">
                  <c:v>11.95</c:v>
                </c:pt>
              </c:numCache>
            </c:numRef>
          </c:xVal>
          <c:yVal>
            <c:numRef>
              <c:f>Sheet1!$B$9:$B$13</c:f>
              <c:numCache>
                <c:formatCode>General</c:formatCode>
                <c:ptCount val="5"/>
                <c:pt idx="0">
                  <c:v>0.43014055489196995</c:v>
                </c:pt>
                <c:pt idx="1">
                  <c:v>0.22368197644953738</c:v>
                </c:pt>
                <c:pt idx="2">
                  <c:v>0</c:v>
                </c:pt>
                <c:pt idx="3">
                  <c:v>-0.17769411929603335</c:v>
                </c:pt>
                <c:pt idx="4">
                  <c:v>-0.3298353471764075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Carlo V Cuvée Del Imperator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95</c:v>
                </c:pt>
                <c:pt idx="1">
                  <c:v>7.95</c:v>
                </c:pt>
                <c:pt idx="2">
                  <c:v>8.5</c:v>
                </c:pt>
                <c:pt idx="3">
                  <c:v>9.5</c:v>
                </c:pt>
                <c:pt idx="4">
                  <c:v>9.9499999999999993</c:v>
                </c:pt>
              </c:numCache>
            </c:numRef>
          </c:xVal>
          <c:yVal>
            <c:numRef>
              <c:f>Sheet1!$B$16:$B$20</c:f>
              <c:numCache>
                <c:formatCode>General</c:formatCode>
                <c:ptCount val="5"/>
                <c:pt idx="0">
                  <c:v>0.14320860890283688</c:v>
                </c:pt>
                <c:pt idx="1">
                  <c:v>4.778179161083005E-2</c:v>
                </c:pt>
                <c:pt idx="2">
                  <c:v>0</c:v>
                </c:pt>
                <c:pt idx="3">
                  <c:v>-0.20165716853257584</c:v>
                </c:pt>
                <c:pt idx="4">
                  <c:v>-0.28540305793008058</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Savian Extra Dry Bi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51079400891065352</c:v>
                </c:pt>
                <c:pt idx="1">
                  <c:v>0.35508649822356375</c:v>
                </c:pt>
                <c:pt idx="2">
                  <c:v>0</c:v>
                </c:pt>
                <c:pt idx="3">
                  <c:v>-0.23371189366094836</c:v>
                </c:pt>
                <c:pt idx="4">
                  <c:v>-0.4183350520006098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Contarini Brut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4.5</c:v>
                </c:pt>
                <c:pt idx="1">
                  <c:v>15.95</c:v>
                </c:pt>
                <c:pt idx="2">
                  <c:v>17.95</c:v>
                </c:pt>
                <c:pt idx="3">
                  <c:v>19.95</c:v>
                </c:pt>
                <c:pt idx="4">
                  <c:v>21.5</c:v>
                </c:pt>
              </c:numCache>
            </c:numRef>
          </c:xVal>
          <c:yVal>
            <c:numRef>
              <c:f>Sheet1!$B$30:$B$34</c:f>
              <c:numCache>
                <c:formatCode>General</c:formatCode>
                <c:ptCount val="5"/>
                <c:pt idx="0">
                  <c:v>0.41412357859316246</c:v>
                </c:pt>
                <c:pt idx="1">
                  <c:v>0.24071700395176066</c:v>
                </c:pt>
                <c:pt idx="2">
                  <c:v>0</c:v>
                </c:pt>
                <c:pt idx="3">
                  <c:v>-0.17201954112630852</c:v>
                </c:pt>
                <c:pt idx="4">
                  <c:v>-0.2473366818676618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1.5"/>
          <c:min val="6.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55.86687061342772</c:v>
                </c:pt>
                <c:pt idx="1">
                  <c:v>142.71257841161503</c:v>
                </c:pt>
                <c:pt idx="2">
                  <c:v>132.02738421420389</c:v>
                </c:pt>
                <c:pt idx="3">
                  <c:v>119.73928608344615</c:v>
                </c:pt>
                <c:pt idx="4">
                  <c:v>109.13677841641314</c:v>
                </c:pt>
                <c:pt idx="5">
                  <c:v>100</c:v>
                </c:pt>
                <c:pt idx="6">
                  <c:v>92.122311764378054</c:v>
                </c:pt>
                <c:pt idx="7">
                  <c:v>88.364164821714667</c:v>
                </c:pt>
                <c:pt idx="8">
                  <c:v>84.84490941757142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4.01232206332229</c:v>
                </c:pt>
                <c:pt idx="1">
                  <c:v>119.37540329879559</c:v>
                </c:pt>
                <c:pt idx="2">
                  <c:v>115.83539819583615</c:v>
                </c:pt>
                <c:pt idx="3">
                  <c:v>109.94403067997584</c:v>
                </c:pt>
                <c:pt idx="4">
                  <c:v>104.67064485762802</c:v>
                </c:pt>
                <c:pt idx="5">
                  <c:v>100</c:v>
                </c:pt>
                <c:pt idx="6">
                  <c:v>95.895249178979128</c:v>
                </c:pt>
                <c:pt idx="7">
                  <c:v>95.618521699955608</c:v>
                </c:pt>
                <c:pt idx="8">
                  <c:v>95.3006034420366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4.878365826510276</c:v>
                </c:pt>
                <c:pt idx="1">
                  <c:v>98.039445565075184</c:v>
                </c:pt>
                <c:pt idx="2">
                  <c:v>101.03111391329047</c:v>
                </c:pt>
                <c:pt idx="3">
                  <c:v>100.99836957247281</c:v>
                </c:pt>
                <c:pt idx="4">
                  <c:v>100.59604245798594</c:v>
                </c:pt>
                <c:pt idx="5">
                  <c:v>100</c:v>
                </c:pt>
                <c:pt idx="6">
                  <c:v>99.331543629895037</c:v>
                </c:pt>
                <c:pt idx="7">
                  <c:v>102.19442462743586</c:v>
                </c:pt>
                <c:pt idx="8">
                  <c:v>104.764078168932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40938847565143482</c:v>
                </c:pt>
                <c:pt idx="1">
                  <c:v>0.4389190518688631</c:v>
                </c:pt>
                <c:pt idx="2">
                  <c:v>0.46563719225605998</c:v>
                </c:pt>
                <c:pt idx="3">
                  <c:v>0.48992641078987548</c:v>
                </c:pt>
                <c:pt idx="4">
                  <c:v>0.51210352336422882</c:v>
                </c:pt>
                <c:pt idx="5">
                  <c:v>0.53243254322405242</c:v>
                </c:pt>
                <c:pt idx="6">
                  <c:v>0.55113524149509041</c:v>
                </c:pt>
                <c:pt idx="7">
                  <c:v>0.56839927066835605</c:v>
                </c:pt>
                <c:pt idx="8">
                  <c:v>0.584384482865824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hampagne Heidsieck Monopole Silver Top 750ml (4.2%)</c:v>
                </c:pt>
                <c:pt idx="5">
                  <c:v>Crémant d'Alsace Muré Prestige Bio 750ml (1.3%)</c:v>
                </c:pt>
                <c:pt idx="6">
                  <c:v>Crémant Saumur Bouvet Cuvée Saphir Brut 750ml (1.5%)</c:v>
                </c:pt>
                <c:pt idx="7">
                  <c:v>Crémant de Bourgogne Patriarche Brut 750ml (1.8%)</c:v>
                </c:pt>
                <c:pt idx="8">
                  <c:v>Champagne Ruinart Brut 750ml (7.3%)</c:v>
                </c:pt>
                <c:pt idx="9">
                  <c:v>Mousseux Les Grumes Bulles 750ml (1.0%)</c:v>
                </c:pt>
              </c:strCache>
            </c:strRef>
          </c:cat>
          <c:val>
            <c:numRef>
              <c:f>Sheet1!$B$2:$B$11</c:f>
              <c:numCache>
                <c:formatCode>General</c:formatCode>
                <c:ptCount val="10"/>
                <c:pt idx="0">
                  <c:v>0.35404531842054271</c:v>
                </c:pt>
                <c:pt idx="1">
                  <c:v>0.14604176598712507</c:v>
                </c:pt>
                <c:pt idx="2">
                  <c:v>7.1745058039027879E-2</c:v>
                </c:pt>
                <c:pt idx="3">
                  <c:v>4.5426246675408864E-2</c:v>
                </c:pt>
                <c:pt idx="4">
                  <c:v>3.3056522508347883E-2</c:v>
                </c:pt>
                <c:pt idx="5">
                  <c:v>2.9245357187267063E-2</c:v>
                </c:pt>
                <c:pt idx="6">
                  <c:v>2.2807552941244143E-2</c:v>
                </c:pt>
                <c:pt idx="7">
                  <c:v>2.2510481150103161E-2</c:v>
                </c:pt>
                <c:pt idx="8">
                  <c:v>1.9473830996166824E-2</c:v>
                </c:pt>
                <c:pt idx="9">
                  <c:v>1.59442706212504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Carlo V (5.4%)</c:v>
                </c:pt>
                <c:pt idx="5">
                  <c:v>Malard (6.0%)</c:v>
                </c:pt>
                <c:pt idx="6">
                  <c:v>Patriarche (2.6%)</c:v>
                </c:pt>
                <c:pt idx="7">
                  <c:v>Nicolas Feuillatte (4.5%)</c:v>
                </c:pt>
                <c:pt idx="8">
                  <c:v>Laurent Perrier (3.9%)</c:v>
                </c:pt>
                <c:pt idx="9">
                  <c:v>Deutz (4.8%)</c:v>
                </c:pt>
              </c:strCache>
            </c:strRef>
          </c:cat>
          <c:val>
            <c:numRef>
              <c:f>Sheet1!$B$2:$B$11</c:f>
              <c:numCache>
                <c:formatCode>General</c:formatCode>
                <c:ptCount val="10"/>
                <c:pt idx="0">
                  <c:v>0.15135344019018798</c:v>
                </c:pt>
                <c:pt idx="1">
                  <c:v>0.11725208458802537</c:v>
                </c:pt>
                <c:pt idx="2">
                  <c:v>7.0716016032311271E-2</c:v>
                </c:pt>
                <c:pt idx="3">
                  <c:v>5.6026345207909604E-2</c:v>
                </c:pt>
                <c:pt idx="4">
                  <c:v>4.9751377636012423E-2</c:v>
                </c:pt>
                <c:pt idx="5">
                  <c:v>4.6250985070383159E-2</c:v>
                </c:pt>
                <c:pt idx="6">
                  <c:v>4.4213705117854392E-2</c:v>
                </c:pt>
                <c:pt idx="7">
                  <c:v>3.8422551399462872E-2</c:v>
                </c:pt>
                <c:pt idx="8">
                  <c:v>2.9576622384475008E-2</c:v>
                </c:pt>
                <c:pt idx="9">
                  <c:v>2.94739237407233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rémant de Bourgogne Patriarche Brut 750ml (1.8%)</c:v>
                </c:pt>
                <c:pt idx="5">
                  <c:v>Crémant Saumur Bouvet Cuvée Saphir Brut 750ml (1.5%)</c:v>
                </c:pt>
                <c:pt idx="6">
                  <c:v>Crémant d'Alsace Muré Prestige Bio 750ml (1.3%)</c:v>
                </c:pt>
                <c:pt idx="7">
                  <c:v>Champagne Heidsieck Monopole Silver Top 750ml (4.2%)</c:v>
                </c:pt>
                <c:pt idx="8">
                  <c:v>Mousseux Château Moncontour Brut Vouvray 750ml (1.5%)</c:v>
                </c:pt>
                <c:pt idx="9">
                  <c:v>Champagne Malard Brut 1er Cru 750ml (4.1%)</c:v>
                </c:pt>
              </c:strCache>
            </c:strRef>
          </c:cat>
          <c:val>
            <c:numRef>
              <c:f>Sheet1!$B$2:$B$11</c:f>
              <c:numCache>
                <c:formatCode>General</c:formatCode>
                <c:ptCount val="10"/>
                <c:pt idx="0">
                  <c:v>0.29019272461410633</c:v>
                </c:pt>
                <c:pt idx="1">
                  <c:v>0.14508563350708534</c:v>
                </c:pt>
                <c:pt idx="2">
                  <c:v>8.1500987784140611E-2</c:v>
                </c:pt>
                <c:pt idx="3">
                  <c:v>4.4880417367446294E-2</c:v>
                </c:pt>
                <c:pt idx="4">
                  <c:v>3.1995347971142132E-2</c:v>
                </c:pt>
                <c:pt idx="5">
                  <c:v>3.1339788179340314E-2</c:v>
                </c:pt>
                <c:pt idx="6">
                  <c:v>3.1304380408449434E-2</c:v>
                </c:pt>
                <c:pt idx="7">
                  <c:v>2.701281466513052E-2</c:v>
                </c:pt>
                <c:pt idx="8">
                  <c:v>2.0421830544610119E-2</c:v>
                </c:pt>
                <c:pt idx="9">
                  <c:v>1.80089544681609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B$2:$B$9</c:f>
              <c:numCache>
                <c:formatCode>General</c:formatCode>
                <c:ptCount val="8"/>
                <c:pt idx="0">
                  <c:v>143.49444554324285</c:v>
                </c:pt>
                <c:pt idx="1">
                  <c:v>136.66345302035666</c:v>
                </c:pt>
                <c:pt idx="2">
                  <c:v>122.08641472839565</c:v>
                </c:pt>
                <c:pt idx="3">
                  <c:v>109.98348788393024</c:v>
                </c:pt>
                <c:pt idx="4">
                  <c:v>100</c:v>
                </c:pt>
                <c:pt idx="5">
                  <c:v>91.77338436128764</c:v>
                </c:pt>
                <c:pt idx="6">
                  <c:v>82.108269712276268</c:v>
                </c:pt>
                <c:pt idx="7">
                  <c:v>73.9381163209410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C$2:$C$9</c:f>
              <c:numCache>
                <c:formatCode>General</c:formatCode>
                <c:ptCount val="8"/>
                <c:pt idx="0">
                  <c:v>114.99438548687154</c:v>
                </c:pt>
                <c:pt idx="1">
                  <c:v>116.30682174410749</c:v>
                </c:pt>
                <c:pt idx="2">
                  <c:v>109.96077561428194</c:v>
                </c:pt>
                <c:pt idx="3">
                  <c:v>104.52089120544518</c:v>
                </c:pt>
                <c:pt idx="4">
                  <c:v>100</c:v>
                </c:pt>
                <c:pt idx="5">
                  <c:v>96.332553311289772</c:v>
                </c:pt>
                <c:pt idx="6">
                  <c:v>90.262885724522661</c:v>
                </c:pt>
                <c:pt idx="7">
                  <c:v>84.95242765877361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D$2:$D$9</c:f>
              <c:numCache>
                <c:formatCode>General</c:formatCode>
                <c:ptCount val="8"/>
                <c:pt idx="0">
                  <c:v>89.523934388822184</c:v>
                </c:pt>
                <c:pt idx="1">
                  <c:v>98.11250220978647</c:v>
                </c:pt>
                <c:pt idx="2">
                  <c:v>99.12710719925343</c:v>
                </c:pt>
                <c:pt idx="3">
                  <c:v>99.641859263446548</c:v>
                </c:pt>
                <c:pt idx="4">
                  <c:v>100</c:v>
                </c:pt>
                <c:pt idx="5">
                  <c:v>100.4027366083354</c:v>
                </c:pt>
                <c:pt idx="6">
                  <c:v>97.549373615636654</c:v>
                </c:pt>
                <c:pt idx="7">
                  <c:v>94.79508006888792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8.00</c:v>
                </c:pt>
                <c:pt idx="1">
                  <c:v>8.50</c:v>
                </c:pt>
                <c:pt idx="2">
                  <c:v>9.00</c:v>
                </c:pt>
                <c:pt idx="3">
                  <c:v>9.50</c:v>
                </c:pt>
                <c:pt idx="4">
                  <c:v>10.00</c:v>
                </c:pt>
                <c:pt idx="5">
                  <c:v>10.50</c:v>
                </c:pt>
                <c:pt idx="6">
                  <c:v>11.00</c:v>
                </c:pt>
                <c:pt idx="7">
                  <c:v>11.50</c:v>
                </c:pt>
              </c:strCache>
            </c:strRef>
          </c:cat>
          <c:val>
            <c:numRef>
              <c:f>Sheet1!$E$2:$E$9</c:f>
              <c:numCache>
                <c:formatCode>General</c:formatCode>
                <c:ptCount val="8"/>
                <c:pt idx="0">
                  <c:v>0.41468911667649305</c:v>
                </c:pt>
                <c:pt idx="1">
                  <c:v>0.44911916863669937</c:v>
                </c:pt>
                <c:pt idx="2">
                  <c:v>0.47972365926799371</c:v>
                </c:pt>
                <c:pt idx="3">
                  <c:v>0.50710662456967825</c:v>
                </c:pt>
                <c:pt idx="4">
                  <c:v>0.53175129334119431</c:v>
                </c:pt>
                <c:pt idx="5">
                  <c:v>0.55404885080113753</c:v>
                </c:pt>
                <c:pt idx="6">
                  <c:v>0.57431935758290398</c:v>
                </c:pt>
                <c:pt idx="7">
                  <c:v>0.592827211601038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Prosecco Bottega 750ml (2.6%)</c:v>
                </c:pt>
                <c:pt idx="4">
                  <c:v>Champagne E.Nicolas Brut 750ml (11.6%)</c:v>
                </c:pt>
                <c:pt idx="5">
                  <c:v>Crémant d'Alsace Muré Prestige Bio 750ml (1.3%)</c:v>
                </c:pt>
                <c:pt idx="6">
                  <c:v>Crémant de Bourgogne Patriarche Brut 750ml (1.8%)</c:v>
                </c:pt>
                <c:pt idx="7">
                  <c:v>Crémant Saumur Bouvet Cuvée Saphir Brut 750ml (1.5%)</c:v>
                </c:pt>
                <c:pt idx="8">
                  <c:v>Champagne E.Nicolas Rosé 750ml (0.9%)</c:v>
                </c:pt>
                <c:pt idx="9">
                  <c:v>Champagne Vranken Demoiselle Rosé Prestige 750ml (2.0%)</c:v>
                </c:pt>
              </c:strCache>
            </c:strRef>
          </c:cat>
          <c:val>
            <c:numRef>
              <c:f>Sheet1!$B$2:$B$11</c:f>
              <c:numCache>
                <c:formatCode>General</c:formatCode>
                <c:ptCount val="10"/>
                <c:pt idx="0">
                  <c:v>0.35852826687398753</c:v>
                </c:pt>
                <c:pt idx="1">
                  <c:v>0.15452304204563486</c:v>
                </c:pt>
                <c:pt idx="2">
                  <c:v>6.0503172916206847E-2</c:v>
                </c:pt>
                <c:pt idx="3">
                  <c:v>4.3649620504512404E-2</c:v>
                </c:pt>
                <c:pt idx="4">
                  <c:v>3.6331994266938845E-2</c:v>
                </c:pt>
                <c:pt idx="5">
                  <c:v>3.3407877368251265E-2</c:v>
                </c:pt>
                <c:pt idx="6">
                  <c:v>2.3615402725853475E-2</c:v>
                </c:pt>
                <c:pt idx="7">
                  <c:v>1.9618863702085713E-2</c:v>
                </c:pt>
                <c:pt idx="8">
                  <c:v>1.8209634512130649E-2</c:v>
                </c:pt>
                <c:pt idx="9">
                  <c:v>1.705603021017736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Prosecco Bottega 750ml (2.6%)</c:v>
                </c:pt>
                <c:pt idx="3">
                  <c:v>Champagne E.Nicolas Brut 750ml (11.6%)</c:v>
                </c:pt>
                <c:pt idx="4">
                  <c:v>Mousseux Les Grumes Bulles 750ml (1.0%)</c:v>
                </c:pt>
                <c:pt idx="5">
                  <c:v>Crémant d'Alsace Muré Prestige Bio 750ml (1.3%)</c:v>
                </c:pt>
                <c:pt idx="6">
                  <c:v>Champagne Vranken Demoiselle Rosé Prestige 750ml (2.0%)</c:v>
                </c:pt>
                <c:pt idx="7">
                  <c:v>Champagne E.Nicolas Rosé 750ml (0.9%)</c:v>
                </c:pt>
                <c:pt idx="8">
                  <c:v>Crémant de Bourgogne Patriarche Brut 750ml (1.8%)</c:v>
                </c:pt>
                <c:pt idx="9">
                  <c:v>Crémant Saumur Bouvet Cuvée Saphir Brut 750ml (1.5%)</c:v>
                </c:pt>
              </c:strCache>
            </c:strRef>
          </c:cat>
          <c:val>
            <c:numRef>
              <c:f>Sheet1!$B$2:$B$11</c:f>
              <c:numCache>
                <c:formatCode>General</c:formatCode>
                <c:ptCount val="10"/>
                <c:pt idx="0">
                  <c:v>0.31441258334284655</c:v>
                </c:pt>
                <c:pt idx="1">
                  <c:v>0.15127804757056471</c:v>
                </c:pt>
                <c:pt idx="2">
                  <c:v>7.2785148213650591E-2</c:v>
                </c:pt>
                <c:pt idx="3">
                  <c:v>4.5163603078409664E-2</c:v>
                </c:pt>
                <c:pt idx="4">
                  <c:v>4.4619348364680067E-2</c:v>
                </c:pt>
                <c:pt idx="5">
                  <c:v>3.89274366410296E-2</c:v>
                </c:pt>
                <c:pt idx="6">
                  <c:v>2.1300508762446678E-2</c:v>
                </c:pt>
                <c:pt idx="7">
                  <c:v>2.1060392973169282E-2</c:v>
                </c:pt>
                <c:pt idx="8">
                  <c:v>1.9638551394734981E-2</c:v>
                </c:pt>
                <c:pt idx="9">
                  <c:v>1.600770740887231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7.40</c:v>
                </c:pt>
                <c:pt idx="1">
                  <c:v>7.90</c:v>
                </c:pt>
                <c:pt idx="2">
                  <c:v>8.40</c:v>
                </c:pt>
                <c:pt idx="3">
                  <c:v>8.90</c:v>
                </c:pt>
                <c:pt idx="4">
                  <c:v>9.40</c:v>
                </c:pt>
                <c:pt idx="5">
                  <c:v>9.90</c:v>
                </c:pt>
              </c:strCache>
            </c:strRef>
          </c:cat>
          <c:val>
            <c:numRef>
              <c:f>Sheet1!$B$2:$B$7</c:f>
              <c:numCache>
                <c:formatCode>General</c:formatCode>
                <c:ptCount val="6"/>
                <c:pt idx="0">
                  <c:v>108.95152059583685</c:v>
                </c:pt>
                <c:pt idx="1">
                  <c:v>104.34257376641682</c:v>
                </c:pt>
                <c:pt idx="2">
                  <c:v>100</c:v>
                </c:pt>
                <c:pt idx="3">
                  <c:v>91.084181591202068</c:v>
                </c:pt>
                <c:pt idx="4">
                  <c:v>81.131640929971169</c:v>
                </c:pt>
                <c:pt idx="5">
                  <c:v>71.7890799482467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C$2:$C$7</c:f>
              <c:numCache>
                <c:formatCode>General</c:formatCode>
                <c:ptCount val="6"/>
                <c:pt idx="0">
                  <c:v>96.3369899520888</c:v>
                </c:pt>
                <c:pt idx="1">
                  <c:v>98.305330188045843</c:v>
                </c:pt>
                <c:pt idx="2">
                  <c:v>100</c:v>
                </c:pt>
                <c:pt idx="3">
                  <c:v>96.317023142185647</c:v>
                </c:pt>
                <c:pt idx="4">
                  <c:v>90.448041685074202</c:v>
                </c:pt>
                <c:pt idx="5">
                  <c:v>84.1577387680439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D$2:$D$7</c:f>
              <c:numCache>
                <c:formatCode>General</c:formatCode>
                <c:ptCount val="6"/>
                <c:pt idx="0">
                  <c:v>87.73936937063857</c:v>
                </c:pt>
                <c:pt idx="1">
                  <c:v>94.185164113686326</c:v>
                </c:pt>
                <c:pt idx="2">
                  <c:v>100</c:v>
                </c:pt>
                <c:pt idx="3">
                  <c:v>99.950929955840479</c:v>
                </c:pt>
                <c:pt idx="4">
                  <c:v>96.92744283473867</c:v>
                </c:pt>
                <c:pt idx="5">
                  <c:v>92.7543791728760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7.40</c:v>
                </c:pt>
                <c:pt idx="1">
                  <c:v>7.90</c:v>
                </c:pt>
                <c:pt idx="2">
                  <c:v>8.40</c:v>
                </c:pt>
                <c:pt idx="3">
                  <c:v>8.90</c:v>
                </c:pt>
                <c:pt idx="4">
                  <c:v>9.40</c:v>
                </c:pt>
                <c:pt idx="5">
                  <c:v>9.90</c:v>
                </c:pt>
              </c:strCache>
            </c:strRef>
          </c:cat>
          <c:val>
            <c:numRef>
              <c:f>Sheet1!$E$2:$E$7</c:f>
              <c:numCache>
                <c:formatCode>General</c:formatCode>
                <c:ptCount val="6"/>
                <c:pt idx="0">
                  <c:v>0.55895658156953221</c:v>
                </c:pt>
                <c:pt idx="1">
                  <c:v>0.5868707219765239</c:v>
                </c:pt>
                <c:pt idx="2">
                  <c:v>0.61146175043030226</c:v>
                </c:pt>
                <c:pt idx="3">
                  <c:v>0.63328974197916166</c:v>
                </c:pt>
                <c:pt idx="4">
                  <c:v>0.65279560676750414</c:v>
                </c:pt>
                <c:pt idx="5">
                  <c:v>0.670331182183286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Savian Extra Dry Bio 750ml (2.1%)</c:v>
                </c:pt>
                <c:pt idx="2">
                  <c:v>Prosecco Bottega 750ml (2.6%)</c:v>
                </c:pt>
                <c:pt idx="3">
                  <c:v>Crémant Saumur Bouvet Cuvée Saphir Brut 750ml (1.5%)</c:v>
                </c:pt>
                <c:pt idx="4">
                  <c:v>Crémant d'Alsace Muré Prestige Bio 750ml (1.3%)</c:v>
                </c:pt>
                <c:pt idx="5">
                  <c:v>Mousseux Les Grumes Bulles 750ml (1.0%)</c:v>
                </c:pt>
                <c:pt idx="6">
                  <c:v>Crémant de Bourgogne Patriarche Brut 750ml (1.8%)</c:v>
                </c:pt>
                <c:pt idx="7">
                  <c:v>Prosecco Bottega Rosé 750ml (1.1%)</c:v>
                </c:pt>
                <c:pt idx="8">
                  <c:v>Champagne Heidsieck Monopole Silver Top 750ml (4.2%)</c:v>
                </c:pt>
                <c:pt idx="9">
                  <c:v>Champagne Malard Brut 1er Cru 750ml (4.1%)</c:v>
                </c:pt>
              </c:strCache>
            </c:strRef>
          </c:cat>
          <c:val>
            <c:numRef>
              <c:f>Sheet1!$B$2:$B$11</c:f>
              <c:numCache>
                <c:formatCode>General</c:formatCode>
                <c:ptCount val="10"/>
                <c:pt idx="0">
                  <c:v>0.13915953744239468</c:v>
                </c:pt>
                <c:pt idx="1">
                  <c:v>0.13009483015341286</c:v>
                </c:pt>
                <c:pt idx="2">
                  <c:v>7.1171722015949845E-2</c:v>
                </c:pt>
                <c:pt idx="3">
                  <c:v>4.603626773119459E-2</c:v>
                </c:pt>
                <c:pt idx="4">
                  <c:v>4.4979604844290005E-2</c:v>
                </c:pt>
                <c:pt idx="5">
                  <c:v>4.008550917812808E-2</c:v>
                </c:pt>
                <c:pt idx="6">
                  <c:v>3.7356193462084943E-2</c:v>
                </c:pt>
                <c:pt idx="7">
                  <c:v>3.665760854682952E-2</c:v>
                </c:pt>
                <c:pt idx="8">
                  <c:v>3.6191707555751858E-2</c:v>
                </c:pt>
                <c:pt idx="9">
                  <c:v>3.16160673121069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Savian Extra Dry Bio 750ml (2.1%)</c:v>
                </c:pt>
                <c:pt idx="1">
                  <c:v>Prosecco Bottega 750ml (2.6%)</c:v>
                </c:pt>
                <c:pt idx="2">
                  <c:v>Mousseux Les Grumes Bulles 750ml (1.0%)</c:v>
                </c:pt>
                <c:pt idx="3">
                  <c:v>Prosecco Bottega Rosé 750ml (1.1%)</c:v>
                </c:pt>
                <c:pt idx="4">
                  <c:v>Champagne E.Nicolas Brut 750ml (11.6%)</c:v>
                </c:pt>
                <c:pt idx="5">
                  <c:v>Crémant Saumur Bouvet Cuvée Saphir Brut 750ml (1.5%)</c:v>
                </c:pt>
                <c:pt idx="6">
                  <c:v>Crémant de Bourgogne Patriarche Brut 750ml (1.8%)</c:v>
                </c:pt>
                <c:pt idx="7">
                  <c:v>Crémant d'Alsace Muré Prestige Bio 750ml (1.3%)</c:v>
                </c:pt>
                <c:pt idx="8">
                  <c:v>Champagne Heidsieck Monopole Silver Top 750ml (4.2%)</c:v>
                </c:pt>
                <c:pt idx="9">
                  <c:v>Clairette de Die Cuvée Dea Augusta 750ml (0.5%)</c:v>
                </c:pt>
              </c:strCache>
            </c:strRef>
          </c:cat>
          <c:val>
            <c:numRef>
              <c:f>Sheet1!$B$2:$B$11</c:f>
              <c:numCache>
                <c:formatCode>General</c:formatCode>
                <c:ptCount val="10"/>
                <c:pt idx="0">
                  <c:v>0.28026913436447232</c:v>
                </c:pt>
                <c:pt idx="1">
                  <c:v>7.7194919020449546E-2</c:v>
                </c:pt>
                <c:pt idx="2">
                  <c:v>7.3088378688002623E-2</c:v>
                </c:pt>
                <c:pt idx="3">
                  <c:v>6.143592522093945E-2</c:v>
                </c:pt>
                <c:pt idx="4">
                  <c:v>6.1111351090061765E-2</c:v>
                </c:pt>
                <c:pt idx="5">
                  <c:v>4.5113428436155491E-2</c:v>
                </c:pt>
                <c:pt idx="6">
                  <c:v>4.2236446050661368E-2</c:v>
                </c:pt>
                <c:pt idx="7">
                  <c:v>4.1054459770541479E-2</c:v>
                </c:pt>
                <c:pt idx="8">
                  <c:v>2.9551727246056977E-2</c:v>
                </c:pt>
                <c:pt idx="9">
                  <c:v>2.58028871878035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50.94049166122397</c:v>
                </c:pt>
                <c:pt idx="1">
                  <c:v>142.84571714354107</c:v>
                </c:pt>
                <c:pt idx="2">
                  <c:v>135.3893733146806</c:v>
                </c:pt>
                <c:pt idx="3">
                  <c:v>116.05979014694552</c:v>
                </c:pt>
                <c:pt idx="4">
                  <c:v>100</c:v>
                </c:pt>
                <c:pt idx="5">
                  <c:v>87.039129570212253</c:v>
                </c:pt>
                <c:pt idx="6">
                  <c:v>76.704058698603944</c:v>
                </c:pt>
                <c:pt idx="7">
                  <c:v>66.556166658357256</c:v>
                </c:pt>
                <c:pt idx="8">
                  <c:v>58.2446452182037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9.59936767190594</c:v>
                </c:pt>
                <c:pt idx="1">
                  <c:v>120.61036720354916</c:v>
                </c:pt>
                <c:pt idx="2">
                  <c:v>121.35040350949775</c:v>
                </c:pt>
                <c:pt idx="3">
                  <c:v>110.03769966412193</c:v>
                </c:pt>
                <c:pt idx="4">
                  <c:v>100</c:v>
                </c:pt>
                <c:pt idx="5">
                  <c:v>91.56157908730961</c:v>
                </c:pt>
                <c:pt idx="6">
                  <c:v>84.679354034144893</c:v>
                </c:pt>
                <c:pt idx="7">
                  <c:v>76.940006515691209</c:v>
                </c:pt>
                <c:pt idx="8">
                  <c:v>70.3654512150124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5.733335890244504</c:v>
                </c:pt>
                <c:pt idx="1">
                  <c:v>103.66087513676231</c:v>
                </c:pt>
                <c:pt idx="2">
                  <c:v>110.62974075996893</c:v>
                </c:pt>
                <c:pt idx="3">
                  <c:v>105.44744411098179</c:v>
                </c:pt>
                <c:pt idx="4">
                  <c:v>100</c:v>
                </c:pt>
                <c:pt idx="5">
                  <c:v>94.997866704741554</c:v>
                </c:pt>
                <c:pt idx="6">
                  <c:v>90.731483911794811</c:v>
                </c:pt>
                <c:pt idx="7">
                  <c:v>84.813577011541753</c:v>
                </c:pt>
                <c:pt idx="8">
                  <c:v>79.5478831101527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241993839776019</c:v>
                </c:pt>
                <c:pt idx="1">
                  <c:v>0.49601869224790013</c:v>
                </c:pt>
                <c:pt idx="2">
                  <c:v>0.52566465152743558</c:v>
                </c:pt>
                <c:pt idx="3">
                  <c:v>0.55201661533146684</c:v>
                </c:pt>
                <c:pt idx="4">
                  <c:v>0.57559468820875803</c:v>
                </c:pt>
                <c:pt idx="5">
                  <c:v>0.59681495379832028</c:v>
                </c:pt>
                <c:pt idx="6">
                  <c:v>0.61601424171268582</c:v>
                </c:pt>
                <c:pt idx="7">
                  <c:v>0.63346813981665462</c:v>
                </c:pt>
                <c:pt idx="8">
                  <c:v>0.649404307650713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Bottega 750ml (2.6%)</c:v>
                </c:pt>
                <c:pt idx="3">
                  <c:v>Champagne E.Nicolas Brut 750ml (11.6%)</c:v>
                </c:pt>
                <c:pt idx="4">
                  <c:v>Prosecco Bottega Rosé 750ml (1.1%)</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8692155238664753</c:v>
                </c:pt>
                <c:pt idx="1">
                  <c:v>5.7297833200758416E-2</c:v>
                </c:pt>
                <c:pt idx="2">
                  <c:v>5.3007151188414349E-2</c:v>
                </c:pt>
                <c:pt idx="3">
                  <c:v>4.5398549393786812E-2</c:v>
                </c:pt>
                <c:pt idx="4">
                  <c:v>4.4010860849690032E-2</c:v>
                </c:pt>
                <c:pt idx="5">
                  <c:v>3.6983646738444419E-2</c:v>
                </c:pt>
                <c:pt idx="6">
                  <c:v>3.3681236150635167E-2</c:v>
                </c:pt>
                <c:pt idx="7">
                  <c:v>2.5236905432727257E-2</c:v>
                </c:pt>
                <c:pt idx="8">
                  <c:v>2.0270157657120945E-2</c:v>
                </c:pt>
                <c:pt idx="9">
                  <c:v>1.61789461722075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Prosecco Bottega Rosé 750ml (1.1%)</c:v>
                </c:pt>
                <c:pt idx="3">
                  <c:v>Champagne E.Nicolas Brut 750ml (11.6%)</c:v>
                </c:pt>
                <c:pt idx="4">
                  <c:v>Mousseux Les Grumes Bulles 750ml (1.0%)</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2676905558989953</c:v>
                </c:pt>
                <c:pt idx="1">
                  <c:v>8.3684462749661945E-2</c:v>
                </c:pt>
                <c:pt idx="2">
                  <c:v>5.7293240736174325E-2</c:v>
                </c:pt>
                <c:pt idx="3">
                  <c:v>5.4229299474683218E-2</c:v>
                </c:pt>
                <c:pt idx="4">
                  <c:v>5.0732362126538803E-2</c:v>
                </c:pt>
                <c:pt idx="5">
                  <c:v>3.6688637150088424E-2</c:v>
                </c:pt>
                <c:pt idx="6">
                  <c:v>3.1584712841389181E-2</c:v>
                </c:pt>
                <c:pt idx="7">
                  <c:v>2.8424660333952984E-2</c:v>
                </c:pt>
                <c:pt idx="8">
                  <c:v>2.1695651448774309E-2</c:v>
                </c:pt>
                <c:pt idx="9">
                  <c:v>1.613489470986995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Malard (6.0%)</c:v>
                </c:pt>
                <c:pt idx="5">
                  <c:v>Patriarche (2.6%)</c:v>
                </c:pt>
                <c:pt idx="6">
                  <c:v>Carlo V (5.4%)</c:v>
                </c:pt>
                <c:pt idx="7">
                  <c:v>Nicolas Feuillatte (4.5%)</c:v>
                </c:pt>
                <c:pt idx="8">
                  <c:v>Laurent Perrier (3.9%)</c:v>
                </c:pt>
                <c:pt idx="9">
                  <c:v>Muré (1.3%)</c:v>
                </c:pt>
              </c:strCache>
            </c:strRef>
          </c:cat>
          <c:val>
            <c:numRef>
              <c:f>Sheet1!$B$2:$B$11</c:f>
              <c:numCache>
                <c:formatCode>General</c:formatCode>
                <c:ptCount val="10"/>
                <c:pt idx="0">
                  <c:v>0.15618656594707978</c:v>
                </c:pt>
                <c:pt idx="1">
                  <c:v>0.10864630435651056</c:v>
                </c:pt>
                <c:pt idx="2">
                  <c:v>8.8048565356569145E-2</c:v>
                </c:pt>
                <c:pt idx="3">
                  <c:v>5.8309019681690409E-2</c:v>
                </c:pt>
                <c:pt idx="4">
                  <c:v>5.2775838186284112E-2</c:v>
                </c:pt>
                <c:pt idx="5">
                  <c:v>4.5755747583807301E-2</c:v>
                </c:pt>
                <c:pt idx="6">
                  <c:v>4.2251029546859199E-2</c:v>
                </c:pt>
                <c:pt idx="7">
                  <c:v>3.9583329820491148E-2</c:v>
                </c:pt>
                <c:pt idx="8">
                  <c:v>2.8598712585151818E-2</c:v>
                </c:pt>
                <c:pt idx="9">
                  <c:v>2.753631012168413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B$2:$B$15</c:f>
              <c:numCache>
                <c:formatCode>General</c:formatCode>
                <c:ptCount val="14"/>
                <c:pt idx="0">
                  <c:v>142.40520780523354</c:v>
                </c:pt>
                <c:pt idx="1">
                  <c:v>136.12908646132871</c:v>
                </c:pt>
                <c:pt idx="2">
                  <c:v>130.33238045227057</c:v>
                </c:pt>
                <c:pt idx="3">
                  <c:v>123.15025615481842</c:v>
                </c:pt>
                <c:pt idx="4">
                  <c:v>116.57643039471598</c:v>
                </c:pt>
                <c:pt idx="5">
                  <c:v>110.57088915164637</c:v>
                </c:pt>
                <c:pt idx="6">
                  <c:v>105.06502703866265</c:v>
                </c:pt>
                <c:pt idx="7">
                  <c:v>100</c:v>
                </c:pt>
                <c:pt idx="8">
                  <c:v>95.325294080104413</c:v>
                </c:pt>
                <c:pt idx="9">
                  <c:v>90.997478064800319</c:v>
                </c:pt>
                <c:pt idx="10">
                  <c:v>86.979130506764108</c:v>
                </c:pt>
                <c:pt idx="11">
                  <c:v>84.301067779491248</c:v>
                </c:pt>
                <c:pt idx="12">
                  <c:v>81.748281218307639</c:v>
                </c:pt>
                <c:pt idx="13">
                  <c:v>79.2927738444431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C$2:$C$15</c:f>
              <c:numCache>
                <c:formatCode>General</c:formatCode>
                <c:ptCount val="14"/>
                <c:pt idx="0">
                  <c:v>115.41826618943874</c:v>
                </c:pt>
                <c:pt idx="1">
                  <c:v>114.01777562313282</c:v>
                </c:pt>
                <c:pt idx="2">
                  <c:v>112.69190265848302</c:v>
                </c:pt>
                <c:pt idx="3">
                  <c:v>109.81532199698808</c:v>
                </c:pt>
                <c:pt idx="4">
                  <c:v>107.1089296393078</c:v>
                </c:pt>
                <c:pt idx="5">
                  <c:v>104.58427276350176</c:v>
                </c:pt>
                <c:pt idx="6">
                  <c:v>102.22072531842289</c:v>
                </c:pt>
                <c:pt idx="7">
                  <c:v>100</c:v>
                </c:pt>
                <c:pt idx="8">
                  <c:v>97.905998189402084</c:v>
                </c:pt>
                <c:pt idx="9">
                  <c:v>95.924621522554617</c:v>
                </c:pt>
                <c:pt idx="10">
                  <c:v>94.043569625997719</c:v>
                </c:pt>
                <c:pt idx="11">
                  <c:v>93.431092681372988</c:v>
                </c:pt>
                <c:pt idx="12">
                  <c:v>92.815796007889688</c:v>
                </c:pt>
                <c:pt idx="13">
                  <c:v>92.1753009417429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D$2:$D$15</c:f>
              <c:numCache>
                <c:formatCode>General</c:formatCode>
                <c:ptCount val="14"/>
                <c:pt idx="0">
                  <c:v>93.431385289508569</c:v>
                </c:pt>
                <c:pt idx="1">
                  <c:v>96.00157092811088</c:v>
                </c:pt>
                <c:pt idx="2">
                  <c:v>98.316723126374924</c:v>
                </c:pt>
                <c:pt idx="3">
                  <c:v>98.949139674219339</c:v>
                </c:pt>
                <c:pt idx="4">
                  <c:v>99.394494325527887</c:v>
                </c:pt>
                <c:pt idx="5">
                  <c:v>99.706360521034597</c:v>
                </c:pt>
                <c:pt idx="6">
                  <c:v>99.903261572654571</c:v>
                </c:pt>
                <c:pt idx="7">
                  <c:v>100</c:v>
                </c:pt>
                <c:pt idx="8">
                  <c:v>100.00855381827292</c:v>
                </c:pt>
                <c:pt idx="9">
                  <c:v>99.938752873512229</c:v>
                </c:pt>
                <c:pt idx="10">
                  <c:v>99.798787573468474</c:v>
                </c:pt>
                <c:pt idx="11">
                  <c:v>100.86765906782378</c:v>
                </c:pt>
                <c:pt idx="12">
                  <c:v>101.82943794531718</c:v>
                </c:pt>
                <c:pt idx="13">
                  <c:v>102.666338574995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E$2:$E$15</c:f>
              <c:numCache>
                <c:formatCode>General</c:formatCode>
                <c:ptCount val="14"/>
                <c:pt idx="0">
                  <c:v>0.44693692019128417</c:v>
                </c:pt>
                <c:pt idx="1">
                  <c:v>0.4648469940192867</c:v>
                </c:pt>
                <c:pt idx="2">
                  <c:v>0.48163347475895774</c:v>
                </c:pt>
                <c:pt idx="3">
                  <c:v>0.49739888002784582</c:v>
                </c:pt>
                <c:pt idx="4">
                  <c:v>0.51223362382867688</c:v>
                </c:pt>
                <c:pt idx="5">
                  <c:v>0.52621775158588213</c:v>
                </c:pt>
                <c:pt idx="6">
                  <c:v>0.53942238504223994</c:v>
                </c:pt>
                <c:pt idx="7">
                  <c:v>0.55191093208556319</c:v>
                </c:pt>
                <c:pt idx="8">
                  <c:v>0.56374010494497284</c:v>
                </c:pt>
                <c:pt idx="9">
                  <c:v>0.57496078125811656</c:v>
                </c:pt>
                <c:pt idx="10">
                  <c:v>0.58561873558965827</c:v>
                </c:pt>
                <c:pt idx="11">
                  <c:v>0.5957552635840403</c:v>
                </c:pt>
                <c:pt idx="12">
                  <c:v>0.60540771669807947</c:v>
                </c:pt>
                <c:pt idx="13">
                  <c:v>0.6146099621109041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Champagne E.Nicolas Brut 750ml (11.6%)</c:v>
                </c:pt>
                <c:pt idx="3">
                  <c:v>Prosecco Savian Extra Dry Bio 750ml (2.1%)</c:v>
                </c:pt>
                <c:pt idx="4">
                  <c:v>Crémant d'Alsace Muré Prestige Bio 750ml (1.3%)</c:v>
                </c:pt>
                <c:pt idx="5">
                  <c:v>Champagne Heidsieck Monopole Silver Top 750ml (4.2%)</c:v>
                </c:pt>
                <c:pt idx="6">
                  <c:v>Crémant de Bourgogne Patriarche Brut 750ml (1.8%)</c:v>
                </c:pt>
                <c:pt idx="7">
                  <c:v>Champagne Malard Brut 1er Cru 750ml (4.1%)</c:v>
                </c:pt>
                <c:pt idx="8">
                  <c:v>Champagne Nicolas Feuillatte Réserve Exclusive Brut 750ml (3.0%)</c:v>
                </c:pt>
                <c:pt idx="9">
                  <c:v>Crémant Saumur Bouvet Cuvée Saphir Brut 750ml (1.5%)</c:v>
                </c:pt>
              </c:strCache>
            </c:strRef>
          </c:cat>
          <c:val>
            <c:numRef>
              <c:f>Sheet1!$B$2:$B$11</c:f>
              <c:numCache>
                <c:formatCode>General</c:formatCode>
                <c:ptCount val="10"/>
                <c:pt idx="0">
                  <c:v>0.183228968982733</c:v>
                </c:pt>
                <c:pt idx="1">
                  <c:v>0.14648164000519717</c:v>
                </c:pt>
                <c:pt idx="2">
                  <c:v>7.2294517540526418E-2</c:v>
                </c:pt>
                <c:pt idx="3">
                  <c:v>5.2173648056400394E-2</c:v>
                </c:pt>
                <c:pt idx="4">
                  <c:v>3.9941066613715263E-2</c:v>
                </c:pt>
                <c:pt idx="5">
                  <c:v>3.9934081576037915E-2</c:v>
                </c:pt>
                <c:pt idx="6">
                  <c:v>3.4946152391379375E-2</c:v>
                </c:pt>
                <c:pt idx="7">
                  <c:v>2.7183484760958561E-2</c:v>
                </c:pt>
                <c:pt idx="8">
                  <c:v>2.345688754142352E-2</c:v>
                </c:pt>
                <c:pt idx="9">
                  <c:v>2.230181389967382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Bottega 750ml (2.6%)</c:v>
                </c:pt>
                <c:pt idx="1">
                  <c:v>Prosecco Carlo V Cuvée Del Imperator 750ml (5.4%)</c:v>
                </c:pt>
                <c:pt idx="2">
                  <c:v>Champagne E.Nicolas Brut 750ml (11.6%)</c:v>
                </c:pt>
                <c:pt idx="3">
                  <c:v>Prosecco Savian Extra Dry Bio 750ml (2.1%)</c:v>
                </c:pt>
                <c:pt idx="4">
                  <c:v>Crémant d'Alsace Muré Prestige Bio 750ml (1.3%)</c:v>
                </c:pt>
                <c:pt idx="5">
                  <c:v>Crémant de Bourgogne Patriarche Brut 750ml (1.8%)</c:v>
                </c:pt>
                <c:pt idx="6">
                  <c:v>Champagne Heidsieck Monopole Silver Top 750ml (4.2%)</c:v>
                </c:pt>
                <c:pt idx="7">
                  <c:v>Champagne Malard Brut 1er Cru 750ml (4.1%)</c:v>
                </c:pt>
                <c:pt idx="8">
                  <c:v>Crémant Saumur Bouvet Cuvée Saphir Brut 750ml (1.5%)</c:v>
                </c:pt>
                <c:pt idx="9">
                  <c:v>Champagne Nicolas Feuillatte Réserve Exclusive Brut 750ml (3.0%)</c:v>
                </c:pt>
              </c:strCache>
            </c:strRef>
          </c:cat>
          <c:val>
            <c:numRef>
              <c:f>Sheet1!$B$2:$B$11</c:f>
              <c:numCache>
                <c:formatCode>General</c:formatCode>
                <c:ptCount val="10"/>
                <c:pt idx="0">
                  <c:v>0.15244768857485061</c:v>
                </c:pt>
                <c:pt idx="1">
                  <c:v>0.14907583425823351</c:v>
                </c:pt>
                <c:pt idx="2">
                  <c:v>8.4638457035983272E-2</c:v>
                </c:pt>
                <c:pt idx="3">
                  <c:v>4.5729879664096758E-2</c:v>
                </c:pt>
                <c:pt idx="4">
                  <c:v>4.2177358803104782E-2</c:v>
                </c:pt>
                <c:pt idx="5">
                  <c:v>3.8655460804234112E-2</c:v>
                </c:pt>
                <c:pt idx="6">
                  <c:v>2.9169254185667782E-2</c:v>
                </c:pt>
                <c:pt idx="7">
                  <c:v>2.5076786037941414E-2</c:v>
                </c:pt>
                <c:pt idx="8">
                  <c:v>2.4409917817970833E-2</c:v>
                </c:pt>
                <c:pt idx="9">
                  <c:v>2.30617868960591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Aperol Spritz Coffret pour l'apéro 750m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5.95</c:v>
                </c:pt>
                <c:pt idx="1">
                  <c:v>17.95</c:v>
                </c:pt>
                <c:pt idx="2">
                  <c:v>19.95</c:v>
                </c:pt>
                <c:pt idx="3">
                  <c:v>21.95</c:v>
                </c:pt>
                <c:pt idx="4">
                  <c:v>23.95</c:v>
                </c:pt>
              </c:numCache>
            </c:numRef>
          </c:xVal>
          <c:yVal>
            <c:numRef>
              <c:f>Sheet1!$B$2:$B$6</c:f>
              <c:numCache>
                <c:formatCode>General</c:formatCode>
                <c:ptCount val="5"/>
                <c:pt idx="0">
                  <c:v>0.47346799452580046</c:v>
                </c:pt>
                <c:pt idx="1">
                  <c:v>0.20347711740209112</c:v>
                </c:pt>
                <c:pt idx="2">
                  <c:v>0</c:v>
                </c:pt>
                <c:pt idx="3">
                  <c:v>-0.10466025110323163</c:v>
                </c:pt>
                <c:pt idx="4">
                  <c:v>-0.195930315813338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3.95"/>
          <c:min val="15.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B$2:$B$18</c:f>
              <c:numCache>
                <c:formatCode>General</c:formatCode>
                <c:ptCount val="17"/>
                <c:pt idx="0">
                  <c:v>147.33556255496973</c:v>
                </c:pt>
                <c:pt idx="1">
                  <c:v>139.8330042532539</c:v>
                </c:pt>
                <c:pt idx="2">
                  <c:v>132.86270804731305</c:v>
                </c:pt>
                <c:pt idx="3">
                  <c:v>126.38059532323516</c:v>
                </c:pt>
                <c:pt idx="4">
                  <c:v>120.3459602786332</c:v>
                </c:pt>
                <c:pt idx="5">
                  <c:v>114.72194506621405</c:v>
                </c:pt>
                <c:pt idx="6">
                  <c:v>109.47549440039781</c:v>
                </c:pt>
                <c:pt idx="7">
                  <c:v>104.57702862409029</c:v>
                </c:pt>
                <c:pt idx="8">
                  <c:v>100</c:v>
                </c:pt>
                <c:pt idx="9">
                  <c:v>97.252244730013359</c:v>
                </c:pt>
                <c:pt idx="10">
                  <c:v>94.595223652625975</c:v>
                </c:pt>
                <c:pt idx="11">
                  <c:v>92.026531518701916</c:v>
                </c:pt>
                <c:pt idx="12">
                  <c:v>89.543801104252395</c:v>
                </c:pt>
                <c:pt idx="13">
                  <c:v>87.144692671100358</c:v>
                </c:pt>
                <c:pt idx="14">
                  <c:v>84.826883992369105</c:v>
                </c:pt>
                <c:pt idx="15">
                  <c:v>82.588061604173618</c:v>
                </c:pt>
                <c:pt idx="16">
                  <c:v>80.42591382874701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C$2:$C$18</c:f>
              <c:numCache>
                <c:formatCode>General</c:formatCode>
                <c:ptCount val="17"/>
                <c:pt idx="0">
                  <c:v>118.26603121181168</c:v>
                </c:pt>
                <c:pt idx="1">
                  <c:v>115.69093253738529</c:v>
                </c:pt>
                <c:pt idx="2">
                  <c:v>113.19973301942797</c:v>
                </c:pt>
                <c:pt idx="3">
                  <c:v>110.79315168268515</c:v>
                </c:pt>
                <c:pt idx="4">
                  <c:v>108.4705934915134</c:v>
                </c:pt>
                <c:pt idx="5">
                  <c:v>106.2310087300398</c:v>
                </c:pt>
                <c:pt idx="6">
                  <c:v>104.07332547285921</c:v>
                </c:pt>
                <c:pt idx="7">
                  <c:v>101.99659969464996</c:v>
                </c:pt>
                <c:pt idx="8">
                  <c:v>100</c:v>
                </c:pt>
                <c:pt idx="9">
                  <c:v>99.660995706511983</c:v>
                </c:pt>
                <c:pt idx="10">
                  <c:v>99.28078619453899</c:v>
                </c:pt>
                <c:pt idx="11">
                  <c:v>98.863587987013901</c:v>
                </c:pt>
                <c:pt idx="12">
                  <c:v>98.413413431667493</c:v>
                </c:pt>
                <c:pt idx="13">
                  <c:v>97.934064382135361</c:v>
                </c:pt>
                <c:pt idx="14">
                  <c:v>97.429124897202186</c:v>
                </c:pt>
                <c:pt idx="15">
                  <c:v>96.901953836214616</c:v>
                </c:pt>
                <c:pt idx="16">
                  <c:v>96.3556782197055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D$2:$D$18</c:f>
              <c:numCache>
                <c:formatCode>General</c:formatCode>
                <c:ptCount val="17"/>
                <c:pt idx="0">
                  <c:v>88.25363270836533</c:v>
                </c:pt>
                <c:pt idx="1">
                  <c:v>90.768792234568323</c:v>
                </c:pt>
                <c:pt idx="2">
                  <c:v>92.903998860151205</c:v>
                </c:pt>
                <c:pt idx="3">
                  <c:v>94.706260655757617</c:v>
                </c:pt>
                <c:pt idx="4">
                  <c:v>96.216444433293276</c:v>
                </c:pt>
                <c:pt idx="5">
                  <c:v>97.470524755505167</c:v>
                </c:pt>
                <c:pt idx="6">
                  <c:v>98.500507493089842</c:v>
                </c:pt>
                <c:pt idx="7">
                  <c:v>99.335072302080746</c:v>
                </c:pt>
                <c:pt idx="8">
                  <c:v>100</c:v>
                </c:pt>
                <c:pt idx="9">
                  <c:v>102.12704396460055</c:v>
                </c:pt>
                <c:pt idx="10">
                  <c:v>104.07845409399197</c:v>
                </c:pt>
                <c:pt idx="11">
                  <c:v>105.8651076869278</c:v>
                </c:pt>
                <c:pt idx="12">
                  <c:v>107.49744543593206</c:v>
                </c:pt>
                <c:pt idx="13">
                  <c:v>108.98546777663934</c:v>
                </c:pt>
                <c:pt idx="14">
                  <c:v>110.33872880210419</c:v>
                </c:pt>
                <c:pt idx="15">
                  <c:v>111.56632883370825</c:v>
                </c:pt>
                <c:pt idx="16">
                  <c:v>112.6769068427808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E$2:$E$18</c:f>
              <c:numCache>
                <c:formatCode>General</c:formatCode>
                <c:ptCount val="17"/>
                <c:pt idx="0">
                  <c:v>0.37460815047021939</c:v>
                </c:pt>
                <c:pt idx="1">
                  <c:v>0.39361702127659576</c:v>
                </c:pt>
                <c:pt idx="2">
                  <c:v>0.41150442477876098</c:v>
                </c:pt>
                <c:pt idx="3">
                  <c:v>0.42836676217765035</c:v>
                </c:pt>
                <c:pt idx="4">
                  <c:v>0.44428969359331483</c:v>
                </c:pt>
                <c:pt idx="5">
                  <c:v>0.4593495934959349</c:v>
                </c:pt>
                <c:pt idx="6">
                  <c:v>0.47361477572559357</c:v>
                </c:pt>
                <c:pt idx="7">
                  <c:v>0.48714652956298193</c:v>
                </c:pt>
                <c:pt idx="8">
                  <c:v>0.5</c:v>
                </c:pt>
                <c:pt idx="9">
                  <c:v>0.51222493887530562</c:v>
                </c:pt>
                <c:pt idx="10">
                  <c:v>0.52386634844868729</c:v>
                </c:pt>
                <c:pt idx="11">
                  <c:v>0.53496503496503489</c:v>
                </c:pt>
                <c:pt idx="12">
                  <c:v>0.54555808656036442</c:v>
                </c:pt>
                <c:pt idx="13">
                  <c:v>0.5556792873051225</c:v>
                </c:pt>
                <c:pt idx="14">
                  <c:v>0.565359477124183</c:v>
                </c:pt>
                <c:pt idx="15">
                  <c:v>0.57462686567164178</c:v>
                </c:pt>
                <c:pt idx="16">
                  <c:v>0.5835073068893527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Malard Brut 1er Cru 750ml (4.1%)</c:v>
                </c:pt>
                <c:pt idx="5">
                  <c:v>Prosecco Bottega Rosé 750ml (1.1%)</c:v>
                </c:pt>
                <c:pt idx="6">
                  <c:v>Champagne Vranken Demoiselle Rosé Prestige 750ml (2.0%)</c:v>
                </c:pt>
                <c:pt idx="7">
                  <c:v>Champagne Ruinart Brut 750ml (7.3%)</c:v>
                </c:pt>
                <c:pt idx="8">
                  <c:v>Crémant d'Alsace Muré Prestige Bio 750ml (1.3%)</c:v>
                </c:pt>
                <c:pt idx="9">
                  <c:v>Champagne Nicolas Feuillatte Réserve Exclusive Brut 750ml (3.0%)</c:v>
                </c:pt>
              </c:strCache>
            </c:strRef>
          </c:cat>
          <c:val>
            <c:numRef>
              <c:f>Sheet1!$B$2:$B$11</c:f>
              <c:numCache>
                <c:formatCode>General</c:formatCode>
                <c:ptCount val="10"/>
                <c:pt idx="0">
                  <c:v>0.22599861390112344</c:v>
                </c:pt>
                <c:pt idx="1">
                  <c:v>9.1272466441752576E-2</c:v>
                </c:pt>
                <c:pt idx="2">
                  <c:v>6.6767148739773297E-2</c:v>
                </c:pt>
                <c:pt idx="3">
                  <c:v>4.4610820058638249E-2</c:v>
                </c:pt>
                <c:pt idx="4">
                  <c:v>4.3049003563297293E-2</c:v>
                </c:pt>
                <c:pt idx="5">
                  <c:v>3.1587176813953406E-2</c:v>
                </c:pt>
                <c:pt idx="6">
                  <c:v>2.9405830443338866E-2</c:v>
                </c:pt>
                <c:pt idx="7">
                  <c:v>2.9006866010837285E-2</c:v>
                </c:pt>
                <c:pt idx="8">
                  <c:v>2.6068600940732434E-2</c:v>
                </c:pt>
                <c:pt idx="9">
                  <c:v>2.57952806234847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Vranken Demoiselle Rosé Prestige 750ml (2.0%)</c:v>
                </c:pt>
                <c:pt idx="5">
                  <c:v>Champagne Ruinart Brut 750ml (7.3%)</c:v>
                </c:pt>
                <c:pt idx="6">
                  <c:v>Prosecco Bottega Rosé 750ml (1.1%)</c:v>
                </c:pt>
                <c:pt idx="7">
                  <c:v>Crémant d'Alsace Muré Prestige Bio 750ml (1.3%)</c:v>
                </c:pt>
                <c:pt idx="8">
                  <c:v>Champagne Malard Brut 1er Cru 750ml (4.1%)</c:v>
                </c:pt>
                <c:pt idx="9">
                  <c:v>Crémant de Bourgogne Patriarche Brut 750ml (1.8%)</c:v>
                </c:pt>
              </c:strCache>
            </c:strRef>
          </c:cat>
          <c:val>
            <c:numRef>
              <c:f>Sheet1!$B$2:$B$11</c:f>
              <c:numCache>
                <c:formatCode>General</c:formatCode>
                <c:ptCount val="10"/>
                <c:pt idx="0">
                  <c:v>0.185704728903788</c:v>
                </c:pt>
                <c:pt idx="1">
                  <c:v>9.9124462888716153E-2</c:v>
                </c:pt>
                <c:pt idx="2">
                  <c:v>5.4021521330349459E-2</c:v>
                </c:pt>
                <c:pt idx="3">
                  <c:v>4.527339349539132E-2</c:v>
                </c:pt>
                <c:pt idx="4">
                  <c:v>3.4882617609390799E-2</c:v>
                </c:pt>
                <c:pt idx="5">
                  <c:v>3.3764688167314226E-2</c:v>
                </c:pt>
                <c:pt idx="6">
                  <c:v>3.0520110281220324E-2</c:v>
                </c:pt>
                <c:pt idx="7">
                  <c:v>2.8290862637694408E-2</c:v>
                </c:pt>
                <c:pt idx="8">
                  <c:v>2.791654967449966E-2</c:v>
                </c:pt>
                <c:pt idx="9">
                  <c:v>2.64007825718757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3.950000000000003</c:v>
                </c:pt>
                <c:pt idx="2">
                  <c:v>34.950000000000003</c:v>
                </c:pt>
                <c:pt idx="3">
                  <c:v>35.85</c:v>
                </c:pt>
                <c:pt idx="4">
                  <c:v>37.950000000000003</c:v>
                </c:pt>
              </c:numCache>
            </c:numRef>
          </c:xVal>
          <c:yVal>
            <c:numRef>
              <c:f>Sheet1!$B$2:$B$6</c:f>
              <c:numCache>
                <c:formatCode>General</c:formatCode>
                <c:ptCount val="5"/>
                <c:pt idx="0">
                  <c:v>0.33223526056524311</c:v>
                </c:pt>
                <c:pt idx="1">
                  <c:v>9.5522187633575908E-2</c:v>
                </c:pt>
                <c:pt idx="2">
                  <c:v>0</c:v>
                </c:pt>
                <c:pt idx="3">
                  <c:v>-4.8249972776463528E-2</c:v>
                </c:pt>
                <c:pt idx="4">
                  <c:v>-0.1426743275960029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95</c:v>
                </c:pt>
                <c:pt idx="1">
                  <c:v>53.85</c:v>
                </c:pt>
                <c:pt idx="2">
                  <c:v>55.85</c:v>
                </c:pt>
                <c:pt idx="3">
                  <c:v>57.45</c:v>
                </c:pt>
                <c:pt idx="4">
                  <c:v>59</c:v>
                </c:pt>
              </c:numCache>
            </c:numRef>
          </c:xVal>
          <c:yVal>
            <c:numRef>
              <c:f>Sheet1!$B$9:$B$13</c:f>
              <c:numCache>
                <c:formatCode>General</c:formatCode>
                <c:ptCount val="5"/>
                <c:pt idx="0">
                  <c:v>0.26959752398630527</c:v>
                </c:pt>
                <c:pt idx="1">
                  <c:v>6.2862083843532118E-2</c:v>
                </c:pt>
                <c:pt idx="2">
                  <c:v>0</c:v>
                </c:pt>
                <c:pt idx="3">
                  <c:v>-2.8464783667516595E-2</c:v>
                </c:pt>
                <c:pt idx="4">
                  <c:v>-5.4557195799575138E-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2</c:v>
                </c:pt>
                <c:pt idx="1">
                  <c:v>75</c:v>
                </c:pt>
                <c:pt idx="2">
                  <c:v>79</c:v>
                </c:pt>
                <c:pt idx="3">
                  <c:v>85</c:v>
                </c:pt>
                <c:pt idx="4">
                  <c:v>89</c:v>
                </c:pt>
              </c:numCache>
            </c:numRef>
          </c:xVal>
          <c:yVal>
            <c:numRef>
              <c:f>Sheet1!$B$16:$B$20</c:f>
              <c:numCache>
                <c:formatCode>General</c:formatCode>
                <c:ptCount val="5"/>
                <c:pt idx="0">
                  <c:v>0.20924805268961139</c:v>
                </c:pt>
                <c:pt idx="1">
                  <c:v>0.10859352302223121</c:v>
                </c:pt>
                <c:pt idx="2">
                  <c:v>0</c:v>
                </c:pt>
                <c:pt idx="3">
                  <c:v>-0.10553862646826102</c:v>
                </c:pt>
                <c:pt idx="4">
                  <c:v>-0.1669134428248868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2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2.95</c:v>
                </c:pt>
                <c:pt idx="1">
                  <c:v>44.95</c:v>
                </c:pt>
                <c:pt idx="2">
                  <c:v>47.95</c:v>
                </c:pt>
                <c:pt idx="3">
                  <c:v>49.95</c:v>
                </c:pt>
                <c:pt idx="4">
                  <c:v>51.85</c:v>
                </c:pt>
              </c:numCache>
            </c:numRef>
          </c:xVal>
          <c:yVal>
            <c:numRef>
              <c:f>Sheet1!$B$23:$B$27</c:f>
              <c:numCache>
                <c:formatCode>General</c:formatCode>
                <c:ptCount val="5"/>
                <c:pt idx="0">
                  <c:v>0.36606905028373377</c:v>
                </c:pt>
                <c:pt idx="1">
                  <c:v>0.13418034150022054</c:v>
                </c:pt>
                <c:pt idx="2">
                  <c:v>0</c:v>
                </c:pt>
                <c:pt idx="3">
                  <c:v>-7.3640395655458893E-2</c:v>
                </c:pt>
                <c:pt idx="4">
                  <c:v>-0.1624626258903660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9"/>
          <c:min val="31.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B$2:$B$40</c:f>
              <c:numCache>
                <c:formatCode>General</c:formatCode>
                <c:ptCount val="39"/>
                <c:pt idx="0">
                  <c:v>161.91409502651277</c:v>
                </c:pt>
                <c:pt idx="1">
                  <c:v>154.09713068097301</c:v>
                </c:pt>
                <c:pt idx="2">
                  <c:v>146.79656695636916</c:v>
                </c:pt>
                <c:pt idx="3">
                  <c:v>139.99341014389066</c:v>
                </c:pt>
                <c:pt idx="4">
                  <c:v>133.66174341493931</c:v>
                </c:pt>
                <c:pt idx="5">
                  <c:v>127.77136473645581</c:v>
                </c:pt>
                <c:pt idx="6">
                  <c:v>124.03536276602497</c:v>
                </c:pt>
                <c:pt idx="7">
                  <c:v>120.7158576823589</c:v>
                </c:pt>
                <c:pt idx="8">
                  <c:v>117.59226804031313</c:v>
                </c:pt>
                <c:pt idx="9">
                  <c:v>114.64799089073428</c:v>
                </c:pt>
                <c:pt idx="10">
                  <c:v>111.86794467142759</c:v>
                </c:pt>
                <c:pt idx="11">
                  <c:v>109.23851249284691</c:v>
                </c:pt>
                <c:pt idx="12">
                  <c:v>106.74744565086478</c:v>
                </c:pt>
                <c:pt idx="13">
                  <c:v>104.38374755799499</c:v>
                </c:pt>
                <c:pt idx="14">
                  <c:v>102.13755143262</c:v>
                </c:pt>
                <c:pt idx="15">
                  <c:v>100</c:v>
                </c:pt>
                <c:pt idx="16">
                  <c:v>95.591863320979414</c:v>
                </c:pt>
                <c:pt idx="17">
                  <c:v>91.271904072417712</c:v>
                </c:pt>
                <c:pt idx="18">
                  <c:v>87.28593269165799</c:v>
                </c:pt>
                <c:pt idx="19">
                  <c:v>83.604402303890339</c:v>
                </c:pt>
                <c:pt idx="20">
                  <c:v>80.199908192448348</c:v>
                </c:pt>
                <c:pt idx="21">
                  <c:v>77.046969919591504</c:v>
                </c:pt>
                <c:pt idx="22">
                  <c:v>74.121987053186629</c:v>
                </c:pt>
                <c:pt idx="23">
                  <c:v>71.403266906691627</c:v>
                </c:pt>
                <c:pt idx="24">
                  <c:v>68.87104785177749</c:v>
                </c:pt>
                <c:pt idx="25">
                  <c:v>66.507479067313341</c:v>
                </c:pt>
                <c:pt idx="26">
                  <c:v>65.287362802797873</c:v>
                </c:pt>
                <c:pt idx="27">
                  <c:v>64.219862335478808</c:v>
                </c:pt>
                <c:pt idx="28">
                  <c:v>63.187530528015913</c:v>
                </c:pt>
                <c:pt idx="29">
                  <c:v>62.188578193422238</c:v>
                </c:pt>
                <c:pt idx="30">
                  <c:v>61.221336906750579</c:v>
                </c:pt>
                <c:pt idx="31">
                  <c:v>60.284249984262416</c:v>
                </c:pt>
                <c:pt idx="32">
                  <c:v>59.375864075396237</c:v>
                </c:pt>
                <c:pt idx="33">
                  <c:v>58.494821350764028</c:v>
                </c:pt>
                <c:pt idx="34">
                  <c:v>57.639852263776149</c:v>
                </c:pt>
                <c:pt idx="35">
                  <c:v>56.809768859192545</c:v>
                </c:pt>
                <c:pt idx="36">
                  <c:v>55.846747692743058</c:v>
                </c:pt>
                <c:pt idx="37">
                  <c:v>54.897253028789564</c:v>
                </c:pt>
                <c:pt idx="38">
                  <c:v>53.9777517955650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C$2:$C$40</c:f>
              <c:numCache>
                <c:formatCode>General</c:formatCode>
                <c:ptCount val="39"/>
                <c:pt idx="0">
                  <c:v>132.89324696279692</c:v>
                </c:pt>
                <c:pt idx="1">
                  <c:v>128.27674767848342</c:v>
                </c:pt>
                <c:pt idx="2">
                  <c:v>123.91919648991951</c:v>
                </c:pt>
                <c:pt idx="3">
                  <c:v>119.82144075724509</c:v>
                </c:pt>
                <c:pt idx="4">
                  <c:v>115.97751313576516</c:v>
                </c:pt>
                <c:pt idx="5">
                  <c:v>112.37657131745094</c:v>
                </c:pt>
                <c:pt idx="6">
                  <c:v>110.57626315878521</c:v>
                </c:pt>
                <c:pt idx="7">
                  <c:v>109.06654198772554</c:v>
                </c:pt>
                <c:pt idx="8">
                  <c:v>107.65822102186</c:v>
                </c:pt>
                <c:pt idx="9">
                  <c:v>106.34266131768429</c:v>
                </c:pt>
                <c:pt idx="10">
                  <c:v>105.11190354664181</c:v>
                </c:pt>
                <c:pt idx="11">
                  <c:v>103.958698253832</c:v>
                </c:pt>
                <c:pt idx="12">
                  <c:v>102.87649443097418</c:v>
                </c:pt>
                <c:pt idx="13">
                  <c:v>101.85940284879165</c:v>
                </c:pt>
                <c:pt idx="14">
                  <c:v>100.90214566890758</c:v>
                </c:pt>
                <c:pt idx="15">
                  <c:v>100</c:v>
                </c:pt>
                <c:pt idx="16">
                  <c:v>96.728293207426148</c:v>
                </c:pt>
                <c:pt idx="17">
                  <c:v>93.442920516908927</c:v>
                </c:pt>
                <c:pt idx="18">
                  <c:v>90.403425514074371</c:v>
                </c:pt>
                <c:pt idx="19">
                  <c:v>87.59018672802766</c:v>
                </c:pt>
                <c:pt idx="20">
                  <c:v>84.984556966238372</c:v>
                </c:pt>
                <c:pt idx="21">
                  <c:v>82.56873697994223</c:v>
                </c:pt>
                <c:pt idx="22">
                  <c:v>80.325825518684596</c:v>
                </c:pt>
                <c:pt idx="23">
                  <c:v>78.239948019657419</c:v>
                </c:pt>
                <c:pt idx="24">
                  <c:v>76.296384701713734</c:v>
                </c:pt>
                <c:pt idx="25">
                  <c:v>74.481653510688062</c:v>
                </c:pt>
                <c:pt idx="26">
                  <c:v>73.910936288221279</c:v>
                </c:pt>
                <c:pt idx="27">
                  <c:v>73.485952614940814</c:v>
                </c:pt>
                <c:pt idx="28">
                  <c:v>73.075749793369454</c:v>
                </c:pt>
                <c:pt idx="29">
                  <c:v>72.67950871241014</c:v>
                </c:pt>
                <c:pt idx="30">
                  <c:v>72.296467045065398</c:v>
                </c:pt>
                <c:pt idx="31">
                  <c:v>71.92591569334725</c:v>
                </c:pt>
                <c:pt idx="32">
                  <c:v>71.567195329588088</c:v>
                </c:pt>
                <c:pt idx="33">
                  <c:v>71.219693063984224</c:v>
                </c:pt>
                <c:pt idx="34">
                  <c:v>70.882839259859992</c:v>
                </c:pt>
                <c:pt idx="35">
                  <c:v>70.556104510811181</c:v>
                </c:pt>
                <c:pt idx="36">
                  <c:v>70.040421754457526</c:v>
                </c:pt>
                <c:pt idx="37">
                  <c:v>69.518384315234158</c:v>
                </c:pt>
                <c:pt idx="38">
                  <c:v>69.0117544653177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D$2:$D$40</c:f>
              <c:numCache>
                <c:formatCode>General</c:formatCode>
                <c:ptCount val="39"/>
                <c:pt idx="0">
                  <c:v>85.826644356159008</c:v>
                </c:pt>
                <c:pt idx="1">
                  <c:v>86.51066985598483</c:v>
                </c:pt>
                <c:pt idx="2">
                  <c:v>87.010997707221293</c:v>
                </c:pt>
                <c:pt idx="3">
                  <c:v>87.364308586037041</c:v>
                </c:pt>
                <c:pt idx="4">
                  <c:v>87.60036567169584</c:v>
                </c:pt>
                <c:pt idx="5">
                  <c:v>87.742741698718973</c:v>
                </c:pt>
                <c:pt idx="6">
                  <c:v>89.062986046281097</c:v>
                </c:pt>
                <c:pt idx="7">
                  <c:v>90.461256759461847</c:v>
                </c:pt>
                <c:pt idx="8">
                  <c:v>91.804489961297023</c:v>
                </c:pt>
                <c:pt idx="9">
                  <c:v>93.097616663152621</c:v>
                </c:pt>
                <c:pt idx="10">
                  <c:v>94.344770380790393</c:v>
                </c:pt>
                <c:pt idx="11">
                  <c:v>95.549475839607908</c:v>
                </c:pt>
                <c:pt idx="12">
                  <c:v>96.714790984430039</c:v>
                </c:pt>
                <c:pt idx="13">
                  <c:v>97.843412497970164</c:v>
                </c:pt>
                <c:pt idx="14">
                  <c:v>98.937753455407545</c:v>
                </c:pt>
                <c:pt idx="15">
                  <c:v>100</c:v>
                </c:pt>
                <c:pt idx="16">
                  <c:v>98.586595881160406</c:v>
                </c:pt>
                <c:pt idx="17">
                  <c:v>96.990695054398685</c:v>
                </c:pt>
                <c:pt idx="18">
                  <c:v>95.489497794257304</c:v>
                </c:pt>
                <c:pt idx="19">
                  <c:v>94.081144447234948</c:v>
                </c:pt>
                <c:pt idx="20">
                  <c:v>92.762550453170206</c:v>
                </c:pt>
                <c:pt idx="21">
                  <c:v>91.529483062371767</c:v>
                </c:pt>
                <c:pt idx="22">
                  <c:v>90.376808775376674</c:v>
                </c:pt>
                <c:pt idx="23">
                  <c:v>89.298822522403839</c:v>
                </c:pt>
                <c:pt idx="24">
                  <c:v>88.289576381413994</c:v>
                </c:pt>
                <c:pt idx="25">
                  <c:v>87.343155466847634</c:v>
                </c:pt>
                <c:pt idx="26">
                  <c:v>87.786140711030214</c:v>
                </c:pt>
                <c:pt idx="27">
                  <c:v>88.362667724756477</c:v>
                </c:pt>
                <c:pt idx="28">
                  <c:v>88.921800479902046</c:v>
                </c:pt>
                <c:pt idx="29">
                  <c:v>89.464270383519789</c:v>
                </c:pt>
                <c:pt idx="30">
                  <c:v>89.990762144885224</c:v>
                </c:pt>
                <c:pt idx="31">
                  <c:v>90.501919149306147</c:v>
                </c:pt>
                <c:pt idx="32">
                  <c:v>90.998348075450608</c:v>
                </c:pt>
                <c:pt idx="33">
                  <c:v>91.480622864352682</c:v>
                </c:pt>
                <c:pt idx="34">
                  <c:v>91.949288135071498</c:v>
                </c:pt>
                <c:pt idx="35">
                  <c:v>92.404862129363281</c:v>
                </c:pt>
                <c:pt idx="36">
                  <c:v>92.588029069547716</c:v>
                </c:pt>
                <c:pt idx="37">
                  <c:v>92.733705617554222</c:v>
                </c:pt>
                <c:pt idx="38">
                  <c:v>92.87149525728172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E$2:$E$40</c:f>
              <c:numCache>
                <c:formatCode>General</c:formatCode>
                <c:ptCount val="39"/>
                <c:pt idx="0">
                  <c:v>0.26111111111111118</c:v>
                </c:pt>
                <c:pt idx="1">
                  <c:v>0.27234042553191495</c:v>
                </c:pt>
                <c:pt idx="2">
                  <c:v>0.28323353293413173</c:v>
                </c:pt>
                <c:pt idx="3">
                  <c:v>0.2938053097345133</c:v>
                </c:pt>
                <c:pt idx="4">
                  <c:v>0.30406976744186059</c:v>
                </c:pt>
                <c:pt idx="5">
                  <c:v>0.3140401146131806</c:v>
                </c:pt>
                <c:pt idx="6">
                  <c:v>0.32372881355932204</c:v>
                </c:pt>
                <c:pt idx="7">
                  <c:v>0.33314763231197764</c:v>
                </c:pt>
                <c:pt idx="8">
                  <c:v>0.3423076923076922</c:v>
                </c:pt>
                <c:pt idx="9">
                  <c:v>0.35121951219512193</c:v>
                </c:pt>
                <c:pt idx="10">
                  <c:v>0.35989304812834233</c:v>
                </c:pt>
                <c:pt idx="11">
                  <c:v>0.36833773087071231</c:v>
                </c:pt>
                <c:pt idx="12">
                  <c:v>0.37656249999999997</c:v>
                </c:pt>
                <c:pt idx="13">
                  <c:v>0.38457583547557844</c:v>
                </c:pt>
                <c:pt idx="14">
                  <c:v>0.3923857868020304</c:v>
                </c:pt>
                <c:pt idx="15">
                  <c:v>0.4</c:v>
                </c:pt>
                <c:pt idx="16">
                  <c:v>0.4074257425742574</c:v>
                </c:pt>
                <c:pt idx="17">
                  <c:v>0.41466992665036673</c:v>
                </c:pt>
                <c:pt idx="18">
                  <c:v>0.42173913043478256</c:v>
                </c:pt>
                <c:pt idx="19">
                  <c:v>0.42863961813842488</c:v>
                </c:pt>
                <c:pt idx="20">
                  <c:v>0.43537735849056614</c:v>
                </c:pt>
                <c:pt idx="21">
                  <c:v>0.441958041958042</c:v>
                </c:pt>
                <c:pt idx="22">
                  <c:v>0.44838709677419347</c:v>
                </c:pt>
                <c:pt idx="23">
                  <c:v>0.45466970387243744</c:v>
                </c:pt>
                <c:pt idx="24">
                  <c:v>0.46081081081081082</c:v>
                </c:pt>
                <c:pt idx="25">
                  <c:v>0.46681514476614699</c:v>
                </c:pt>
                <c:pt idx="26">
                  <c:v>0.47268722466960361</c:v>
                </c:pt>
                <c:pt idx="27">
                  <c:v>0.47843137254901968</c:v>
                </c:pt>
                <c:pt idx="28">
                  <c:v>0.48405172413793107</c:v>
                </c:pt>
                <c:pt idx="29">
                  <c:v>0.48955223880597032</c:v>
                </c:pt>
                <c:pt idx="30">
                  <c:v>0.49493670886075952</c:v>
                </c:pt>
                <c:pt idx="31">
                  <c:v>0.50020876826722338</c:v>
                </c:pt>
                <c:pt idx="32">
                  <c:v>0.50537190082644634</c:v>
                </c:pt>
                <c:pt idx="33">
                  <c:v>0.5104294478527609</c:v>
                </c:pt>
                <c:pt idx="34">
                  <c:v>0.51538461538461544</c:v>
                </c:pt>
                <c:pt idx="35">
                  <c:v>0.52024048096192377</c:v>
                </c:pt>
                <c:pt idx="36">
                  <c:v>0.52500000000000013</c:v>
                </c:pt>
                <c:pt idx="37">
                  <c:v>0.52966601178781936</c:v>
                </c:pt>
                <c:pt idx="38">
                  <c:v>0.534241245136186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Prosecco Carlo V Cuvée Del Imperator 750ml (5.4%)</c:v>
                </c:pt>
                <c:pt idx="6">
                  <c:v>Champagne E.Nicolas Rosé 750ml (0.9%)</c:v>
                </c:pt>
                <c:pt idx="7">
                  <c:v>Champagne Château de Bligny 750ml (1.3%)</c:v>
                </c:pt>
                <c:pt idx="8">
                  <c:v>Champagne Besserat de Bellefon Bleu Brut 750ml (1.7%)</c:v>
                </c:pt>
                <c:pt idx="9">
                  <c:v>Champagne Georges Vesselle Grand Cru Brut 750ml (1.0%)</c:v>
                </c:pt>
              </c:strCache>
            </c:strRef>
          </c:cat>
          <c:val>
            <c:numRef>
              <c:f>Sheet1!$B$2:$B$11</c:f>
              <c:numCache>
                <c:formatCode>General</c:formatCode>
                <c:ptCount val="10"/>
                <c:pt idx="0">
                  <c:v>0.31413488689790431</c:v>
                </c:pt>
                <c:pt idx="1">
                  <c:v>9.9069922005941585E-2</c:v>
                </c:pt>
                <c:pt idx="2">
                  <c:v>4.4870421988043106E-2</c:v>
                </c:pt>
                <c:pt idx="3">
                  <c:v>4.3145320187149665E-2</c:v>
                </c:pt>
                <c:pt idx="4">
                  <c:v>3.9844057705456279E-2</c:v>
                </c:pt>
                <c:pt idx="5">
                  <c:v>2.2065583391090417E-2</c:v>
                </c:pt>
                <c:pt idx="6">
                  <c:v>2.0563195392476086E-2</c:v>
                </c:pt>
                <c:pt idx="7">
                  <c:v>1.9622123647068761E-2</c:v>
                </c:pt>
                <c:pt idx="8">
                  <c:v>1.8555516939193228E-2</c:v>
                </c:pt>
                <c:pt idx="9">
                  <c:v>1.761779437405317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Champagne Laurent-Perrier Blanc La Cuvée 750ml (2.7%)</c:v>
                </c:pt>
                <c:pt idx="6">
                  <c:v>Prosecco Carlo V Cuvée Del Imperator 750ml (5.4%)</c:v>
                </c:pt>
                <c:pt idx="7">
                  <c:v>Champagne E.Nicolas Rosé 750ml (0.9%)</c:v>
                </c:pt>
                <c:pt idx="8">
                  <c:v>Champagne Château de Bligny 750ml (1.3%)</c:v>
                </c:pt>
                <c:pt idx="9">
                  <c:v>Champagne Vranken Demoiselle Rosé Prestige 750ml (2.0%)</c:v>
                </c:pt>
              </c:strCache>
            </c:strRef>
          </c:cat>
          <c:val>
            <c:numRef>
              <c:f>Sheet1!$B$2:$B$11</c:f>
              <c:numCache>
                <c:formatCode>General</c:formatCode>
                <c:ptCount val="10"/>
                <c:pt idx="0">
                  <c:v>0.29529789905838061</c:v>
                </c:pt>
                <c:pt idx="1">
                  <c:v>6.7779771872932132E-2</c:v>
                </c:pt>
                <c:pt idx="2">
                  <c:v>4.6262169362525432E-2</c:v>
                </c:pt>
                <c:pt idx="3">
                  <c:v>3.4417393384957848E-2</c:v>
                </c:pt>
                <c:pt idx="4">
                  <c:v>3.4289338463766229E-2</c:v>
                </c:pt>
                <c:pt idx="5">
                  <c:v>2.5982746078831487E-2</c:v>
                </c:pt>
                <c:pt idx="6">
                  <c:v>2.5695086104387695E-2</c:v>
                </c:pt>
                <c:pt idx="7">
                  <c:v>2.3843970832044984E-2</c:v>
                </c:pt>
                <c:pt idx="8">
                  <c:v>2.0630599101643846E-2</c:v>
                </c:pt>
                <c:pt idx="9">
                  <c:v>1.986616000700834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B$2:$B$71</c:f>
              <c:numCache>
                <c:formatCode>General</c:formatCode>
                <c:ptCount val="70"/>
                <c:pt idx="0">
                  <c:v>172.87340696796448</c:v>
                </c:pt>
                <c:pt idx="1">
                  <c:v>168.74381177232499</c:v>
                </c:pt>
                <c:pt idx="2">
                  <c:v>164.80534519926084</c:v>
                </c:pt>
                <c:pt idx="3">
                  <c:v>161.04787912919338</c:v>
                </c:pt>
                <c:pt idx="4">
                  <c:v>157.46170493469108</c:v>
                </c:pt>
                <c:pt idx="5">
                  <c:v>154.03751665838175</c:v>
                </c:pt>
                <c:pt idx="6">
                  <c:v>150.76640851989382</c:v>
                </c:pt>
                <c:pt idx="7">
                  <c:v>147.63987930269721</c:v>
                </c:pt>
                <c:pt idx="8">
                  <c:v>144.64983808858167</c:v>
                </c:pt>
                <c:pt idx="9">
                  <c:v>141.78860772082137</c:v>
                </c:pt>
                <c:pt idx="10">
                  <c:v>140.33030088254571</c:v>
                </c:pt>
                <c:pt idx="11">
                  <c:v>139.04289850484886</c:v>
                </c:pt>
                <c:pt idx="12">
                  <c:v>137.77862475822121</c:v>
                </c:pt>
                <c:pt idx="13">
                  <c:v>136.53683925242325</c:v>
                </c:pt>
                <c:pt idx="14">
                  <c:v>135.31692379445371</c:v>
                </c:pt>
                <c:pt idx="15">
                  <c:v>134.11828137183096</c:v>
                </c:pt>
                <c:pt idx="16">
                  <c:v>132.94033522485981</c:v>
                </c:pt>
                <c:pt idx="17">
                  <c:v>131.78252799543165</c:v>
                </c:pt>
                <c:pt idx="18">
                  <c:v>130.13409102330115</c:v>
                </c:pt>
                <c:pt idx="19">
                  <c:v>128.40162777426096</c:v>
                </c:pt>
                <c:pt idx="20">
                  <c:v>126.71382506660289</c:v>
                </c:pt>
                <c:pt idx="21">
                  <c:v>125.06907949111259</c:v>
                </c:pt>
                <c:pt idx="22">
                  <c:v>123.46585046201648</c:v>
                </c:pt>
                <c:pt idx="23">
                  <c:v>121.90265889648076</c:v>
                </c:pt>
                <c:pt idx="24">
                  <c:v>120.37808569786412</c:v>
                </c:pt>
                <c:pt idx="25">
                  <c:v>118.89077006974891</c:v>
                </c:pt>
                <c:pt idx="26">
                  <c:v>117.4394076917247</c:v>
                </c:pt>
                <c:pt idx="27">
                  <c:v>116.02274878931078</c:v>
                </c:pt>
                <c:pt idx="28">
                  <c:v>114.63959612984922</c:v>
                </c:pt>
                <c:pt idx="29">
                  <c:v>113.28880297409883</c:v>
                </c:pt>
                <c:pt idx="30">
                  <c:v>111.96927101019556</c:v>
                </c:pt>
                <c:pt idx="31">
                  <c:v>110.67994829294545</c:v>
                </c:pt>
                <c:pt idx="32">
                  <c:v>109.41982720753096</c:v>
                </c:pt>
                <c:pt idx="33">
                  <c:v>108.18794247287926</c:v>
                </c:pt>
                <c:pt idx="34">
                  <c:v>106.98336919639732</c:v>
                </c:pt>
                <c:pt idx="35">
                  <c:v>105.80522098864573</c:v>
                </c:pt>
                <c:pt idx="36">
                  <c:v>104.65264814386627</c:v>
                </c:pt>
                <c:pt idx="37">
                  <c:v>103.52483589011541</c:v>
                </c:pt>
                <c:pt idx="38">
                  <c:v>101.80924692064994</c:v>
                </c:pt>
                <c:pt idx="39">
                  <c:v>100</c:v>
                </c:pt>
                <c:pt idx="40">
                  <c:v>98.251412764469066</c:v>
                </c:pt>
                <c:pt idx="41">
                  <c:v>96.560843087693712</c:v>
                </c:pt>
                <c:pt idx="42">
                  <c:v>94.925769753315578</c:v>
                </c:pt>
                <c:pt idx="43">
                  <c:v>93.343786827489041</c:v>
                </c:pt>
                <c:pt idx="44">
                  <c:v>91.812597877710118</c:v>
                </c:pt>
                <c:pt idx="45">
                  <c:v>90.330010222508776</c:v>
                </c:pt>
                <c:pt idx="46">
                  <c:v>88.893929363914197</c:v>
                </c:pt>
                <c:pt idx="47">
                  <c:v>87.502353714683991</c:v>
                </c:pt>
                <c:pt idx="48">
                  <c:v>86.153369691666867</c:v>
                </c:pt>
                <c:pt idx="49">
                  <c:v>84.84514721006191</c:v>
                </c:pt>
                <c:pt idx="50">
                  <c:v>83.958250291618114</c:v>
                </c:pt>
                <c:pt idx="51">
                  <c:v>83.179904370559328</c:v>
                </c:pt>
                <c:pt idx="52">
                  <c:v>82.411530896088507</c:v>
                </c:pt>
                <c:pt idx="53">
                  <c:v>81.652940305190683</c:v>
                </c:pt>
                <c:pt idx="54">
                  <c:v>80.90394924799827</c:v>
                </c:pt>
                <c:pt idx="55">
                  <c:v>80.164380356922919</c:v>
                </c:pt>
                <c:pt idx="56">
                  <c:v>79.434062015253659</c:v>
                </c:pt>
                <c:pt idx="57">
                  <c:v>78.712828125398971</c:v>
                </c:pt>
                <c:pt idx="58">
                  <c:v>78.043992787227495</c:v>
                </c:pt>
                <c:pt idx="59">
                  <c:v>77.394902485213692</c:v>
                </c:pt>
                <c:pt idx="60">
                  <c:v>76.754564720943065</c:v>
                </c:pt>
                <c:pt idx="61">
                  <c:v>76.122845829029146</c:v>
                </c:pt>
                <c:pt idx="62">
                  <c:v>75.499613003490651</c:v>
                </c:pt>
                <c:pt idx="63">
                  <c:v>74.884734292007209</c:v>
                </c:pt>
                <c:pt idx="64">
                  <c:v>74.278078602555027</c:v>
                </c:pt>
                <c:pt idx="65">
                  <c:v>73.679515720380067</c:v>
                </c:pt>
                <c:pt idx="66">
                  <c:v>73.088916333416194</c:v>
                </c:pt>
                <c:pt idx="67">
                  <c:v>72.506152064414309</c:v>
                </c:pt>
                <c:pt idx="68">
                  <c:v>71.931095508206326</c:v>
                </c:pt>
                <c:pt idx="69">
                  <c:v>71.363620272698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C$2:$C$71</c:f>
              <c:numCache>
                <c:formatCode>General</c:formatCode>
                <c:ptCount val="70"/>
                <c:pt idx="0">
                  <c:v>125.53927376299592</c:v>
                </c:pt>
                <c:pt idx="1">
                  <c:v>123.71271966450517</c:v>
                </c:pt>
                <c:pt idx="2">
                  <c:v>121.97142694358902</c:v>
                </c:pt>
                <c:pt idx="3">
                  <c:v>120.31166477763142</c:v>
                </c:pt>
                <c:pt idx="4">
                  <c:v>118.72975353698982</c:v>
                </c:pt>
                <c:pt idx="5">
                  <c:v>117.22206478275554</c:v>
                </c:pt>
                <c:pt idx="6">
                  <c:v>115.78503180659551</c:v>
                </c:pt>
                <c:pt idx="7">
                  <c:v>114.41516557956075</c:v>
                </c:pt>
                <c:pt idx="8">
                  <c:v>113.10907207935949</c:v>
                </c:pt>
                <c:pt idx="9">
                  <c:v>111.86346818091369</c:v>
                </c:pt>
                <c:pt idx="10">
                  <c:v>111.70046984295301</c:v>
                </c:pt>
                <c:pt idx="11">
                  <c:v>111.65482469062911</c:v>
                </c:pt>
                <c:pt idx="12">
                  <c:v>111.60980130019904</c:v>
                </c:pt>
                <c:pt idx="13">
                  <c:v>111.56536394098757</c:v>
                </c:pt>
                <c:pt idx="14">
                  <c:v>111.52147719596542</c:v>
                </c:pt>
                <c:pt idx="15">
                  <c:v>111.47810589454714</c:v>
                </c:pt>
                <c:pt idx="16">
                  <c:v>111.43521507764007</c:v>
                </c:pt>
                <c:pt idx="17">
                  <c:v>111.39276998867487</c:v>
                </c:pt>
                <c:pt idx="18">
                  <c:v>110.91322785909456</c:v>
                </c:pt>
                <c:pt idx="19">
                  <c:v>110.33788124956693</c:v>
                </c:pt>
                <c:pt idx="20">
                  <c:v>109.77711738020869</c:v>
                </c:pt>
                <c:pt idx="21">
                  <c:v>109.23045983378587</c:v>
                </c:pt>
                <c:pt idx="22">
                  <c:v>108.69744359717724</c:v>
                </c:pt>
                <c:pt idx="23">
                  <c:v>108.17761603493518</c:v>
                </c:pt>
                <c:pt idx="24">
                  <c:v>107.67053763217187</c:v>
                </c:pt>
                <c:pt idx="25">
                  <c:v>107.17578252190711</c:v>
                </c:pt>
                <c:pt idx="26">
                  <c:v>106.69293881709831</c:v>
                </c:pt>
                <c:pt idx="27">
                  <c:v>106.22160877055624</c:v>
                </c:pt>
                <c:pt idx="28">
                  <c:v>105.76140878720733</c:v>
                </c:pt>
                <c:pt idx="29">
                  <c:v>105.31196931293125</c:v>
                </c:pt>
                <c:pt idx="30">
                  <c:v>104.87293462294522</c:v>
                </c:pt>
                <c:pt idx="31">
                  <c:v>104.44396253065314</c:v>
                </c:pt>
                <c:pt idx="32">
                  <c:v>104.02472403542401</c:v>
                </c:pt>
                <c:pt idx="33">
                  <c:v>103.61490292511964</c:v>
                </c:pt>
                <c:pt idx="34">
                  <c:v>103.21419534659073</c:v>
                </c:pt>
                <c:pt idx="35">
                  <c:v>102.82230935494768</c:v>
                </c:pt>
                <c:pt idx="36">
                  <c:v>102.43896445026436</c:v>
                </c:pt>
                <c:pt idx="37">
                  <c:v>102.06389110856237</c:v>
                </c:pt>
                <c:pt idx="38">
                  <c:v>101.09065401008581</c:v>
                </c:pt>
                <c:pt idx="39">
                  <c:v>100</c:v>
                </c:pt>
                <c:pt idx="40">
                  <c:v>98.945025412340314</c:v>
                </c:pt>
                <c:pt idx="41">
                  <c:v>97.924321091996006</c:v>
                </c:pt>
                <c:pt idx="42">
                  <c:v>96.936528082680098</c:v>
                </c:pt>
                <c:pt idx="43">
                  <c:v>95.980336006117497</c:v>
                </c:pt>
                <c:pt idx="44">
                  <c:v>95.054481051680057</c:v>
                </c:pt>
                <c:pt idx="45">
                  <c:v>94.157743759746538</c:v>
                </c:pt>
                <c:pt idx="46">
                  <c:v>93.288946758558168</c:v>
                </c:pt>
                <c:pt idx="47">
                  <c:v>92.446952581077952</c:v>
                </c:pt>
                <c:pt idx="48">
                  <c:v>91.630661651786951</c:v>
                </c:pt>
                <c:pt idx="49">
                  <c:v>90.839010498452566</c:v>
                </c:pt>
                <c:pt idx="50">
                  <c:v>90.482215772699973</c:v>
                </c:pt>
                <c:pt idx="51">
                  <c:v>90.230493019002949</c:v>
                </c:pt>
                <c:pt idx="52">
                  <c:v>89.978703861426993</c:v>
                </c:pt>
                <c:pt idx="53">
                  <c:v>89.726850188927941</c:v>
                </c:pt>
                <c:pt idx="54">
                  <c:v>89.474935441917353</c:v>
                </c:pt>
                <c:pt idx="55">
                  <c:v>89.22296457271824</c:v>
                </c:pt>
                <c:pt idx="56">
                  <c:v>88.970943995737159</c:v>
                </c:pt>
                <c:pt idx="57">
                  <c:v>88.71888152752912</c:v>
                </c:pt>
                <c:pt idx="58">
                  <c:v>88.516145285968832</c:v>
                </c:pt>
                <c:pt idx="59">
                  <c:v>88.3265335210139</c:v>
                </c:pt>
                <c:pt idx="60">
                  <c:v>88.137827507037471</c:v>
                </c:pt>
                <c:pt idx="61">
                  <c:v>87.950057430732073</c:v>
                </c:pt>
                <c:pt idx="62">
                  <c:v>87.763250723907973</c:v>
                </c:pt>
                <c:pt idx="63">
                  <c:v>87.57743208717585</c:v>
                </c:pt>
                <c:pt idx="64">
                  <c:v>87.392623527908185</c:v>
                </c:pt>
                <c:pt idx="65">
                  <c:v>87.208844410673763</c:v>
                </c:pt>
                <c:pt idx="66">
                  <c:v>87.026111518401521</c:v>
                </c:pt>
                <c:pt idx="67">
                  <c:v>86.844439122615242</c:v>
                </c:pt>
                <c:pt idx="68">
                  <c:v>86.663839061171132</c:v>
                </c:pt>
                <c:pt idx="69">
                  <c:v>86.484320822052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D$2:$D$71</c:f>
              <c:numCache>
                <c:formatCode>General</c:formatCode>
                <c:ptCount val="70"/>
                <c:pt idx="0">
                  <c:v>52.307189661980701</c:v>
                </c:pt>
                <c:pt idx="1">
                  <c:v>54.075270153076985</c:v>
                </c:pt>
                <c:pt idx="2">
                  <c:v>55.760320657546835</c:v>
                </c:pt>
                <c:pt idx="3">
                  <c:v>57.368986985935877</c:v>
                </c:pt>
                <c:pt idx="4">
                  <c:v>58.907347411189846</c:v>
                </c:pt>
                <c:pt idx="5">
                  <c:v>60.380943582827726</c:v>
                </c:pt>
                <c:pt idx="6">
                  <c:v>61.794815509226851</c:v>
                </c:pt>
                <c:pt idx="7">
                  <c:v>63.153539215316833</c:v>
                </c:pt>
                <c:pt idx="8">
                  <c:v>64.46126547152106</c:v>
                </c:pt>
                <c:pt idx="9">
                  <c:v>65.721758085187602</c:v>
                </c:pt>
                <c:pt idx="10">
                  <c:v>67.555287906976574</c:v>
                </c:pt>
                <c:pt idx="11">
                  <c:v>69.421990812864436</c:v>
                </c:pt>
                <c:pt idx="12">
                  <c:v>71.254610658221765</c:v>
                </c:pt>
                <c:pt idx="13">
                  <c:v>73.054045608592702</c:v>
                </c:pt>
                <c:pt idx="14">
                  <c:v>74.821160295502636</c:v>
                </c:pt>
                <c:pt idx="15">
                  <c:v>76.556787220830557</c:v>
                </c:pt>
                <c:pt idx="16">
                  <c:v>78.261728104477541</c:v>
                </c:pt>
                <c:pt idx="17">
                  <c:v>79.936755178916982</c:v>
                </c:pt>
                <c:pt idx="18">
                  <c:v>81.263992463048581</c:v>
                </c:pt>
                <c:pt idx="19">
                  <c:v>82.478298813509554</c:v>
                </c:pt>
                <c:pt idx="20">
                  <c:v>83.660129139109046</c:v>
                </c:pt>
                <c:pt idx="21">
                  <c:v>84.810792101269485</c:v>
                </c:pt>
                <c:pt idx="22">
                  <c:v>85.931525393091661</c:v>
                </c:pt>
                <c:pt idx="23">
                  <c:v>87.023500413939786</c:v>
                </c:pt>
                <c:pt idx="24">
                  <c:v>88.087826658737526</c:v>
                </c:pt>
                <c:pt idx="25">
                  <c:v>89.12555581766587</c:v>
                </c:pt>
                <c:pt idx="26">
                  <c:v>90.137685588856002</c:v>
                </c:pt>
                <c:pt idx="27">
                  <c:v>91.12516321220545</c:v>
                </c:pt>
                <c:pt idx="28">
                  <c:v>92.088888736638594</c:v>
                </c:pt>
                <c:pt idx="29">
                  <c:v>93.029718035955298</c:v>
                </c:pt>
                <c:pt idx="30">
                  <c:v>93.948465590099701</c:v>
                </c:pt>
                <c:pt idx="31">
                  <c:v>94.845907049319507</c:v>
                </c:pt>
                <c:pt idx="32">
                  <c:v>95.722781598576816</c:v>
                </c:pt>
                <c:pt idx="33">
                  <c:v>96.579794138879336</c:v>
                </c:pt>
                <c:pt idx="34">
                  <c:v>97.417617301154309</c:v>
                </c:pt>
                <c:pt idx="35">
                  <c:v>98.236893307054501</c:v>
                </c:pt>
                <c:pt idx="36">
                  <c:v>99.038235689796181</c:v>
                </c:pt>
                <c:pt idx="37">
                  <c:v>99.822230886892399</c:v>
                </c:pt>
                <c:pt idx="38">
                  <c:v>99.988623763985927</c:v>
                </c:pt>
                <c:pt idx="39">
                  <c:v>100</c:v>
                </c:pt>
                <c:pt idx="40">
                  <c:v>100.00841227742453</c:v>
                </c:pt>
                <c:pt idx="41">
                  <c:v>100.01437824819783</c:v>
                </c:pt>
                <c:pt idx="42">
                  <c:v>100.01835396754919</c:v>
                </c:pt>
                <c:pt idx="43">
                  <c:v>100.02073867494884</c:v>
                </c:pt>
                <c:pt idx="44">
                  <c:v>100.02187880382868</c:v>
                </c:pt>
                <c:pt idx="45">
                  <c:v>100.02207140518142</c:v>
                </c:pt>
                <c:pt idx="46">
                  <c:v>100.02156715982618</c:v>
                </c:pt>
                <c:pt idx="47">
                  <c:v>100.02057313023246</c:v>
                </c:pt>
                <c:pt idx="48">
                  <c:v>100.01925537165613</c:v>
                </c:pt>
                <c:pt idx="49">
                  <c:v>100.01774148940059</c:v>
                </c:pt>
                <c:pt idx="50">
                  <c:v>100.4736428740179</c:v>
                </c:pt>
                <c:pt idx="51">
                  <c:v>101.02966925694541</c:v>
                </c:pt>
                <c:pt idx="52">
                  <c:v>101.57014859367703</c:v>
                </c:pt>
                <c:pt idx="53">
                  <c:v>102.09537886514542</c:v>
                </c:pt>
                <c:pt idx="54">
                  <c:v>102.60565237246134</c:v>
                </c:pt>
                <c:pt idx="55">
                  <c:v>103.10125599552751</c:v>
                </c:pt>
                <c:pt idx="56">
                  <c:v>103.58247142618555</c:v>
                </c:pt>
                <c:pt idx="57">
                  <c:v>104.04957537606381</c:v>
                </c:pt>
                <c:pt idx="58">
                  <c:v>104.56108618775184</c:v>
                </c:pt>
                <c:pt idx="59">
                  <c:v>105.07548277320143</c:v>
                </c:pt>
                <c:pt idx="60">
                  <c:v>105.57870383288521</c:v>
                </c:pt>
                <c:pt idx="61">
                  <c:v>106.07103267163718</c:v>
                </c:pt>
                <c:pt idx="62">
                  <c:v>106.552744245985</c:v>
                </c:pt>
                <c:pt idx="63">
                  <c:v>107.0241052327828</c:v>
                </c:pt>
                <c:pt idx="64">
                  <c:v>107.48537411514225</c:v>
                </c:pt>
                <c:pt idx="65">
                  <c:v>107.93680128421914</c:v>
                </c:pt>
                <c:pt idx="66">
                  <c:v>108.37862915534453</c:v>
                </c:pt>
                <c:pt idx="67">
                  <c:v>108.8110922969536</c:v>
                </c:pt>
                <c:pt idx="68">
                  <c:v>109.23441757075969</c:v>
                </c:pt>
                <c:pt idx="69">
                  <c:v>109.648824281656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E$2:$E$71</c:f>
              <c:numCache>
                <c:formatCode>General</c:formatCode>
                <c:ptCount val="70"/>
                <c:pt idx="0">
                  <c:v>0.16785714285714295</c:v>
                </c:pt>
                <c:pt idx="1">
                  <c:v>0.17603143418467582</c:v>
                </c:pt>
                <c:pt idx="2">
                  <c:v>0.18404669260700404</c:v>
                </c:pt>
                <c:pt idx="3">
                  <c:v>0.19190751445086704</c:v>
                </c:pt>
                <c:pt idx="4">
                  <c:v>0.19961832061068702</c:v>
                </c:pt>
                <c:pt idx="5">
                  <c:v>0.2071833648393194</c:v>
                </c:pt>
                <c:pt idx="6">
                  <c:v>0.21460674157303378</c:v>
                </c:pt>
                <c:pt idx="7">
                  <c:v>0.2218923933209648</c:v>
                </c:pt>
                <c:pt idx="8">
                  <c:v>0.22904411764705893</c:v>
                </c:pt>
                <c:pt idx="9">
                  <c:v>0.23606557377049187</c:v>
                </c:pt>
                <c:pt idx="10">
                  <c:v>0.24296028880866427</c:v>
                </c:pt>
                <c:pt idx="11">
                  <c:v>0.24973166368515218</c:v>
                </c:pt>
                <c:pt idx="12">
                  <c:v>0.25638297872340438</c:v>
                </c:pt>
                <c:pt idx="13">
                  <c:v>0.26291739894551841</c:v>
                </c:pt>
                <c:pt idx="14">
                  <c:v>0.26933797909407664</c:v>
                </c:pt>
                <c:pt idx="15">
                  <c:v>0.27564766839378241</c:v>
                </c:pt>
                <c:pt idx="16">
                  <c:v>0.2818493150684932</c:v>
                </c:pt>
                <c:pt idx="17">
                  <c:v>0.28794567062818338</c:v>
                </c:pt>
                <c:pt idx="18">
                  <c:v>0.293939393939394</c:v>
                </c:pt>
                <c:pt idx="19">
                  <c:v>0.29983305509181962</c:v>
                </c:pt>
                <c:pt idx="20">
                  <c:v>0.30562913907284778</c:v>
                </c:pt>
                <c:pt idx="21">
                  <c:v>0.31133004926108376</c:v>
                </c:pt>
                <c:pt idx="22">
                  <c:v>0.31693811074918582</c:v>
                </c:pt>
                <c:pt idx="23">
                  <c:v>0.32245557350565429</c:v>
                </c:pt>
                <c:pt idx="24">
                  <c:v>0.3278846153846155</c:v>
                </c:pt>
                <c:pt idx="25">
                  <c:v>0.33322734499205098</c:v>
                </c:pt>
                <c:pt idx="26">
                  <c:v>0.33848580441640391</c:v>
                </c:pt>
                <c:pt idx="27">
                  <c:v>0.34366197183098596</c:v>
                </c:pt>
                <c:pt idx="28">
                  <c:v>0.34875776397515534</c:v>
                </c:pt>
                <c:pt idx="29">
                  <c:v>0.35377503852080139</c:v>
                </c:pt>
                <c:pt idx="30">
                  <c:v>0.35871559633027522</c:v>
                </c:pt>
                <c:pt idx="31">
                  <c:v>0.36358118361153269</c:v>
                </c:pt>
                <c:pt idx="32">
                  <c:v>0.36837349397590363</c:v>
                </c:pt>
                <c:pt idx="33">
                  <c:v>0.3730941704035875</c:v>
                </c:pt>
                <c:pt idx="34">
                  <c:v>0.3777448071216617</c:v>
                </c:pt>
                <c:pt idx="35">
                  <c:v>0.38232695139911643</c:v>
                </c:pt>
                <c:pt idx="36">
                  <c:v>0.38684210526315793</c:v>
                </c:pt>
                <c:pt idx="37">
                  <c:v>0.39129172714078386</c:v>
                </c:pt>
                <c:pt idx="38">
                  <c:v>0.39567723342939481</c:v>
                </c:pt>
                <c:pt idx="39">
                  <c:v>0.4</c:v>
                </c:pt>
                <c:pt idx="40">
                  <c:v>0.40426136363636356</c:v>
                </c:pt>
                <c:pt idx="41">
                  <c:v>0.40846262341325817</c:v>
                </c:pt>
                <c:pt idx="42">
                  <c:v>0.41260504201680676</c:v>
                </c:pt>
                <c:pt idx="43">
                  <c:v>0.41668984700973571</c:v>
                </c:pt>
                <c:pt idx="44">
                  <c:v>0.42071823204419895</c:v>
                </c:pt>
                <c:pt idx="45">
                  <c:v>0.42469135802469143</c:v>
                </c:pt>
                <c:pt idx="46">
                  <c:v>0.4286103542234333</c:v>
                </c:pt>
                <c:pt idx="47">
                  <c:v>0.43247631935047359</c:v>
                </c:pt>
                <c:pt idx="48">
                  <c:v>0.43629032258064515</c:v>
                </c:pt>
                <c:pt idx="49">
                  <c:v>0.44005340453938574</c:v>
                </c:pt>
                <c:pt idx="50">
                  <c:v>0.44376657824933696</c:v>
                </c:pt>
                <c:pt idx="51">
                  <c:v>0.44743083003952566</c:v>
                </c:pt>
                <c:pt idx="52">
                  <c:v>0.4510471204188482</c:v>
                </c:pt>
                <c:pt idx="53">
                  <c:v>0.45461638491547474</c:v>
                </c:pt>
                <c:pt idx="54">
                  <c:v>0.458139534883721</c:v>
                </c:pt>
                <c:pt idx="55">
                  <c:v>0.46161745827984602</c:v>
                </c:pt>
                <c:pt idx="56">
                  <c:v>0.46505102040816332</c:v>
                </c:pt>
                <c:pt idx="57">
                  <c:v>0.46844106463878316</c:v>
                </c:pt>
                <c:pt idx="58">
                  <c:v>0.47178841309823677</c:v>
                </c:pt>
                <c:pt idx="59">
                  <c:v>0.47509386733416775</c:v>
                </c:pt>
                <c:pt idx="60">
                  <c:v>0.47835820895522396</c:v>
                </c:pt>
                <c:pt idx="61">
                  <c:v>0.48158220024721887</c:v>
                </c:pt>
                <c:pt idx="62">
                  <c:v>0.4847665847665848</c:v>
                </c:pt>
                <c:pt idx="63">
                  <c:v>0.4879120879120879</c:v>
                </c:pt>
                <c:pt idx="64">
                  <c:v>0.49101941747572814</c:v>
                </c:pt>
                <c:pt idx="65">
                  <c:v>0.49408926417370319</c:v>
                </c:pt>
                <c:pt idx="66">
                  <c:v>0.49712230215827335</c:v>
                </c:pt>
                <c:pt idx="67">
                  <c:v>0.50011918951132295</c:v>
                </c:pt>
                <c:pt idx="68">
                  <c:v>0.50308056872037921</c:v>
                </c:pt>
                <c:pt idx="69">
                  <c:v>0.5060070671378091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Ruinart Brut 750ml (7.3%)</c:v>
                </c:pt>
                <c:pt idx="2">
                  <c:v>Champagne E.Nicolas Brut 750ml (11.6%)</c:v>
                </c:pt>
                <c:pt idx="3">
                  <c:v>Champagne Malard Brut 1er Cru 750ml (4.1%)</c:v>
                </c:pt>
                <c:pt idx="4">
                  <c:v>Champagne Heidsieck Monopole Silver Top 750ml (4.2%)</c:v>
                </c:pt>
                <c:pt idx="5">
                  <c:v>Champagne Deutz Brut Classique 750ml (3.4%)</c:v>
                </c:pt>
                <c:pt idx="6">
                  <c:v>Champagne Nicolas Feuillatte Réserve Exclusive Brut 750ml (3.0%)</c:v>
                </c:pt>
                <c:pt idx="7">
                  <c:v>Champagne Laurent-Perrier Blanc La Cuvée 750ml (2.7%)</c:v>
                </c:pt>
                <c:pt idx="8">
                  <c:v>Champagne Taittinger Prestige Brut 750ml (1.6%)</c:v>
                </c:pt>
                <c:pt idx="9">
                  <c:v>Champagne Vranken Demoiselle Tête de Cuvée 750ml (1.4%)</c:v>
                </c:pt>
              </c:strCache>
            </c:strRef>
          </c:cat>
          <c:val>
            <c:numRef>
              <c:f>Sheet1!$B$2:$B$11</c:f>
              <c:numCache>
                <c:formatCode>General</c:formatCode>
                <c:ptCount val="10"/>
                <c:pt idx="0">
                  <c:v>0.11940838316500031</c:v>
                </c:pt>
                <c:pt idx="1">
                  <c:v>7.6633542969507584E-2</c:v>
                </c:pt>
                <c:pt idx="2">
                  <c:v>6.2962063678389094E-2</c:v>
                </c:pt>
                <c:pt idx="3">
                  <c:v>4.9375511472560141E-2</c:v>
                </c:pt>
                <c:pt idx="4">
                  <c:v>4.3596344030431618E-2</c:v>
                </c:pt>
                <c:pt idx="5">
                  <c:v>4.144891460520251E-2</c:v>
                </c:pt>
                <c:pt idx="6">
                  <c:v>4.0374800172870186E-2</c:v>
                </c:pt>
                <c:pt idx="7">
                  <c:v>3.0468942772148285E-2</c:v>
                </c:pt>
                <c:pt idx="8">
                  <c:v>2.9746427756218566E-2</c:v>
                </c:pt>
                <c:pt idx="9">
                  <c:v>2.835889346764632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E.Nicolas Brut 750ml (11.6%)</c:v>
                </c:pt>
                <c:pt idx="2">
                  <c:v>Champagne Ruinart Brut 750ml (7.3%)</c:v>
                </c:pt>
                <c:pt idx="3">
                  <c:v>Champagne Malard Brut 1er Cru 750ml (4.1%)</c:v>
                </c:pt>
                <c:pt idx="4">
                  <c:v>Champagne Nicolas Feuillatte Réserve Exclusive Brut 750ml (3.0%)</c:v>
                </c:pt>
                <c:pt idx="5">
                  <c:v>Champagne Heidsieck Monopole Silver Top 750ml (4.2%)</c:v>
                </c:pt>
                <c:pt idx="6">
                  <c:v>Champagne Deutz Brut Classique 750ml (3.4%)</c:v>
                </c:pt>
                <c:pt idx="7">
                  <c:v>Prosecco Bottega 750ml (2.6%)</c:v>
                </c:pt>
                <c:pt idx="8">
                  <c:v>Champagne Laurent-Perrier Blanc La Cuvée 750ml (2.7%)</c:v>
                </c:pt>
                <c:pt idx="9">
                  <c:v>Champagne Taittinger Prestige Brut 750ml (1.6%)</c:v>
                </c:pt>
              </c:strCache>
            </c:strRef>
          </c:cat>
          <c:val>
            <c:numRef>
              <c:f>Sheet1!$B$2:$B$11</c:f>
              <c:numCache>
                <c:formatCode>General</c:formatCode>
                <c:ptCount val="10"/>
                <c:pt idx="0">
                  <c:v>0.13509596001987867</c:v>
                </c:pt>
                <c:pt idx="1">
                  <c:v>9.1276309488285606E-2</c:v>
                </c:pt>
                <c:pt idx="2">
                  <c:v>6.3294657685563138E-2</c:v>
                </c:pt>
                <c:pt idx="3">
                  <c:v>5.2348329264343837E-2</c:v>
                </c:pt>
                <c:pt idx="4">
                  <c:v>3.9621039020374324E-2</c:v>
                </c:pt>
                <c:pt idx="5">
                  <c:v>3.4531867531854721E-2</c:v>
                </c:pt>
                <c:pt idx="6">
                  <c:v>3.0282390666694265E-2</c:v>
                </c:pt>
                <c:pt idx="7">
                  <c:v>2.8828659154699465E-2</c:v>
                </c:pt>
                <c:pt idx="8">
                  <c:v>2.7046625476430306E-2</c:v>
                </c:pt>
                <c:pt idx="9">
                  <c:v>2.52702219477125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B$2:$B$93</c:f>
              <c:numCache>
                <c:formatCode>General</c:formatCode>
                <c:ptCount val="92"/>
                <c:pt idx="0">
                  <c:v>146.67582601041735</c:v>
                </c:pt>
                <c:pt idx="1">
                  <c:v>144.51433082615705</c:v>
                </c:pt>
                <c:pt idx="2">
                  <c:v>142.41644895738995</c:v>
                </c:pt>
                <c:pt idx="3">
                  <c:v>140.37933294456161</c:v>
                </c:pt>
                <c:pt idx="4">
                  <c:v>138.40028528686133</c:v>
                </c:pt>
                <c:pt idx="5">
                  <c:v>136.47674975901259</c:v>
                </c:pt>
                <c:pt idx="6">
                  <c:v>134.67292569306804</c:v>
                </c:pt>
                <c:pt idx="7">
                  <c:v>132.92079976092893</c:v>
                </c:pt>
                <c:pt idx="8">
                  <c:v>131.20111085877676</c:v>
                </c:pt>
                <c:pt idx="9">
                  <c:v>129.51312185683744</c:v>
                </c:pt>
                <c:pt idx="10">
                  <c:v>127.85611414142957</c:v>
                </c:pt>
                <c:pt idx="11">
                  <c:v>126.2293870360609</c:v>
                </c:pt>
                <c:pt idx="12">
                  <c:v>124.63225722538982</c:v>
                </c:pt>
                <c:pt idx="13">
                  <c:v>123.06405818782575</c:v>
                </c:pt>
                <c:pt idx="14">
                  <c:v>121.82016094182779</c:v>
                </c:pt>
                <c:pt idx="15">
                  <c:v>120.66757764146121</c:v>
                </c:pt>
                <c:pt idx="16">
                  <c:v>119.53087646076584</c:v>
                </c:pt>
                <c:pt idx="17">
                  <c:v>118.40980866391268</c:v>
                </c:pt>
                <c:pt idx="18">
                  <c:v>117.3041295663887</c:v>
                </c:pt>
                <c:pt idx="19">
                  <c:v>116.21359835850566</c:v>
                </c:pt>
                <c:pt idx="20">
                  <c:v>115.13797795252461</c:v>
                </c:pt>
                <c:pt idx="21">
                  <c:v>114.07703485108462</c:v>
                </c:pt>
                <c:pt idx="22">
                  <c:v>113.0305390346473</c:v>
                </c:pt>
                <c:pt idx="23">
                  <c:v>111.99826386572779</c:v>
                </c:pt>
                <c:pt idx="24">
                  <c:v>110.97998600775014</c:v>
                </c:pt>
                <c:pt idx="25">
                  <c:v>109.9754853565011</c:v>
                </c:pt>
                <c:pt idx="26">
                  <c:v>108.98454498227288</c:v>
                </c:pt>
                <c:pt idx="27">
                  <c:v>108.00695108094232</c:v>
                </c:pt>
                <c:pt idx="28">
                  <c:v>107.04249293239066</c:v>
                </c:pt>
                <c:pt idx="29">
                  <c:v>106.09096286482864</c:v>
                </c:pt>
                <c:pt idx="30">
                  <c:v>105.15215622375116</c:v>
                </c:pt>
                <c:pt idx="31">
                  <c:v>104.22587134440992</c:v>
                </c:pt>
                <c:pt idx="32">
                  <c:v>103.31190952683671</c:v>
                </c:pt>
                <c:pt idx="33">
                  <c:v>102.41007501260073</c:v>
                </c:pt>
                <c:pt idx="34">
                  <c:v>101.22897256230183</c:v>
                </c:pt>
                <c:pt idx="35">
                  <c:v>100</c:v>
                </c:pt>
                <c:pt idx="36">
                  <c:v>98.796757830979743</c:v>
                </c:pt>
                <c:pt idx="37">
                  <c:v>97.618557749082953</c:v>
                </c:pt>
                <c:pt idx="38">
                  <c:v>96.464723721626711</c:v>
                </c:pt>
                <c:pt idx="39">
                  <c:v>95.33459270866139</c:v>
                </c:pt>
                <c:pt idx="40">
                  <c:v>94.227515273643178</c:v>
                </c:pt>
                <c:pt idx="41">
                  <c:v>93.1428560904356</c:v>
                </c:pt>
                <c:pt idx="42">
                  <c:v>92.079994352452317</c:v>
                </c:pt>
                <c:pt idx="43">
                  <c:v>91.038324090368945</c:v>
                </c:pt>
                <c:pt idx="44">
                  <c:v>90.017254405173986</c:v>
                </c:pt>
                <c:pt idx="45">
                  <c:v>89.016209623491832</c:v>
                </c:pt>
                <c:pt idx="46">
                  <c:v>88.034629382085555</c:v>
                </c:pt>
                <c:pt idx="47">
                  <c:v>87.071968648332259</c:v>
                </c:pt>
                <c:pt idx="48">
                  <c:v>86.127697683224142</c:v>
                </c:pt>
                <c:pt idx="49">
                  <c:v>85.201301953168695</c:v>
                </c:pt>
                <c:pt idx="50">
                  <c:v>84.29228199651844</c:v>
                </c:pt>
                <c:pt idx="51">
                  <c:v>83.400153250395846</c:v>
                </c:pt>
                <c:pt idx="52">
                  <c:v>82.524445843004202</c:v>
                </c:pt>
                <c:pt idx="53">
                  <c:v>81.664704356219161</c:v>
                </c:pt>
                <c:pt idx="54">
                  <c:v>81.172024025698676</c:v>
                </c:pt>
                <c:pt idx="55">
                  <c:v>80.771572742425064</c:v>
                </c:pt>
                <c:pt idx="56">
                  <c:v>80.374211422549564</c:v>
                </c:pt>
                <c:pt idx="57">
                  <c:v>79.979906191254983</c:v>
                </c:pt>
                <c:pt idx="58">
                  <c:v>79.588623644000961</c:v>
                </c:pt>
                <c:pt idx="59">
                  <c:v>79.200330839049755</c:v>
                </c:pt>
                <c:pt idx="60">
                  <c:v>78.814995290114595</c:v>
                </c:pt>
                <c:pt idx="61">
                  <c:v>78.432584959125265</c:v>
                </c:pt>
                <c:pt idx="62">
                  <c:v>78.053068249111718</c:v>
                </c:pt>
                <c:pt idx="63">
                  <c:v>77.676413997205472</c:v>
                </c:pt>
                <c:pt idx="64">
                  <c:v>77.302591467751</c:v>
                </c:pt>
                <c:pt idx="65">
                  <c:v>76.931570345534368</c:v>
                </c:pt>
                <c:pt idx="66">
                  <c:v>76.563320729120704</c:v>
                </c:pt>
                <c:pt idx="67">
                  <c:v>76.197813124300851</c:v>
                </c:pt>
                <c:pt idx="68">
                  <c:v>75.83501843764796</c:v>
                </c:pt>
                <c:pt idx="69">
                  <c:v>75.474907970179203</c:v>
                </c:pt>
                <c:pt idx="70">
                  <c:v>75.117453411123407</c:v>
                </c:pt>
                <c:pt idx="71">
                  <c:v>74.762626831791906</c:v>
                </c:pt>
                <c:pt idx="72">
                  <c:v>74.410400679551529</c:v>
                </c:pt>
                <c:pt idx="73">
                  <c:v>74.060747771898548</c:v>
                </c:pt>
                <c:pt idx="74">
                  <c:v>73.126956593350855</c:v>
                </c:pt>
                <c:pt idx="75">
                  <c:v>72.059607599750535</c:v>
                </c:pt>
                <c:pt idx="76">
                  <c:v>71.006548520517896</c:v>
                </c:pt>
                <c:pt idx="77">
                  <c:v>69.967780744789422</c:v>
                </c:pt>
                <c:pt idx="78">
                  <c:v>68.94330462005675</c:v>
                </c:pt>
                <c:pt idx="79">
                  <c:v>67.933118330107789</c:v>
                </c:pt>
                <c:pt idx="80">
                  <c:v>66.937216789271091</c:v>
                </c:pt>
                <c:pt idx="81">
                  <c:v>65.955590573677839</c:v>
                </c:pt>
                <c:pt idx="82">
                  <c:v>64.988224909380278</c:v>
                </c:pt>
                <c:pt idx="83">
                  <c:v>64.035098735606695</c:v>
                </c:pt>
                <c:pt idx="84">
                  <c:v>63.096183859326906</c:v>
                </c:pt>
                <c:pt idx="85">
                  <c:v>62.171444214708274</c:v>
                </c:pt>
                <c:pt idx="86">
                  <c:v>61.260835238100796</c:v>
                </c:pt>
                <c:pt idx="87">
                  <c:v>60.364303366041291</c:v>
                </c:pt>
                <c:pt idx="88">
                  <c:v>59.481785660523393</c:v>
                </c:pt>
                <c:pt idx="89">
                  <c:v>58.613209562601511</c:v>
                </c:pt>
                <c:pt idx="90">
                  <c:v>57.758492772379554</c:v>
                </c:pt>
                <c:pt idx="91">
                  <c:v>56.9175432506875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C$2:$C$93</c:f>
              <c:numCache>
                <c:formatCode>General</c:formatCode>
                <c:ptCount val="92"/>
                <c:pt idx="0">
                  <c:v>118.71244851785544</c:v>
                </c:pt>
                <c:pt idx="1">
                  <c:v>117.74880110423676</c:v>
                </c:pt>
                <c:pt idx="2">
                  <c:v>116.81404515927072</c:v>
                </c:pt>
                <c:pt idx="3">
                  <c:v>115.90684956752419</c:v>
                </c:pt>
                <c:pt idx="4">
                  <c:v>115.02594735189126</c:v>
                </c:pt>
                <c:pt idx="5">
                  <c:v>114.17013236539746</c:v>
                </c:pt>
                <c:pt idx="6">
                  <c:v>113.39217567331394</c:v>
                </c:pt>
                <c:pt idx="7">
                  <c:v>112.63811992411942</c:v>
                </c:pt>
                <c:pt idx="8">
                  <c:v>111.89292420194607</c:v>
                </c:pt>
                <c:pt idx="9">
                  <c:v>111.15647246623985</c:v>
                </c:pt>
                <c:pt idx="10">
                  <c:v>110.42864917901905</c:v>
                </c:pt>
                <c:pt idx="11">
                  <c:v>109.70933928204971</c:v>
                </c:pt>
                <c:pt idx="12">
                  <c:v>108.99842815861113</c:v>
                </c:pt>
                <c:pt idx="13">
                  <c:v>108.29580158502947</c:v>
                </c:pt>
                <c:pt idx="14">
                  <c:v>107.86462398556563</c:v>
                </c:pt>
                <c:pt idx="15">
                  <c:v>107.50162369572578</c:v>
                </c:pt>
                <c:pt idx="16">
                  <c:v>107.14037244526766</c:v>
                </c:pt>
                <c:pt idx="17">
                  <c:v>106.78090312272199</c:v>
                </c:pt>
                <c:pt idx="18">
                  <c:v>106.4232469290437</c:v>
                </c:pt>
                <c:pt idx="19">
                  <c:v>106.06743332593105</c:v>
                </c:pt>
                <c:pt idx="20">
                  <c:v>105.71349000008239</c:v>
                </c:pt>
                <c:pt idx="21">
                  <c:v>105.36144284215314</c:v>
                </c:pt>
                <c:pt idx="22">
                  <c:v>105.01131593908657</c:v>
                </c:pt>
                <c:pt idx="23">
                  <c:v>104.66313157845796</c:v>
                </c:pt>
                <c:pt idx="24">
                  <c:v>104.31691026343553</c:v>
                </c:pt>
                <c:pt idx="25">
                  <c:v>103.97267073699564</c:v>
                </c:pt>
                <c:pt idx="26">
                  <c:v>103.63043001405765</c:v>
                </c:pt>
                <c:pt idx="27">
                  <c:v>103.29020342026737</c:v>
                </c:pt>
                <c:pt idx="28">
                  <c:v>102.95200463623763</c:v>
                </c:pt>
                <c:pt idx="29">
                  <c:v>102.61584574613511</c:v>
                </c:pt>
                <c:pt idx="30">
                  <c:v>102.28173728960111</c:v>
                </c:pt>
                <c:pt idx="31">
                  <c:v>101.94968831609634</c:v>
                </c:pt>
                <c:pt idx="32">
                  <c:v>101.61970644085463</c:v>
                </c:pt>
                <c:pt idx="33">
                  <c:v>101.29179790173579</c:v>
                </c:pt>
                <c:pt idx="34">
                  <c:v>100.67623578238134</c:v>
                </c:pt>
                <c:pt idx="35">
                  <c:v>100</c:v>
                </c:pt>
                <c:pt idx="36">
                  <c:v>99.336338373012524</c:v>
                </c:pt>
                <c:pt idx="37">
                  <c:v>98.68496862984081</c:v>
                </c:pt>
                <c:pt idx="38">
                  <c:v>98.045606394053635</c:v>
                </c:pt>
                <c:pt idx="39">
                  <c:v>97.41796623166546</c:v>
                </c:pt>
                <c:pt idx="40">
                  <c:v>96.80176261108673</c:v>
                </c:pt>
                <c:pt idx="41">
                  <c:v>96.196710776706368</c:v>
                </c:pt>
                <c:pt idx="42">
                  <c:v>95.602527538217672</c:v>
                </c:pt>
                <c:pt idx="43">
                  <c:v>95.018931978686922</c:v>
                </c:pt>
                <c:pt idx="44">
                  <c:v>94.44564608499681</c:v>
                </c:pt>
                <c:pt idx="45">
                  <c:v>93.882395304748641</c:v>
                </c:pt>
                <c:pt idx="46">
                  <c:v>93.328909033984857</c:v>
                </c:pt>
                <c:pt idx="47">
                  <c:v>92.784921040258197</c:v>
                </c:pt>
                <c:pt idx="48">
                  <c:v>92.250169825612943</c:v>
                </c:pt>
                <c:pt idx="49">
                  <c:v>91.724398934021494</c:v>
                </c:pt>
                <c:pt idx="50">
                  <c:v>91.207357207721245</c:v>
                </c:pt>
                <c:pt idx="51">
                  <c:v>90.698798996751179</c:v>
                </c:pt>
                <c:pt idx="52">
                  <c:v>90.198484325823785</c:v>
                </c:pt>
                <c:pt idx="53">
                  <c:v>89.706179022453952</c:v>
                </c:pt>
                <c:pt idx="54">
                  <c:v>89.609560673397411</c:v>
                </c:pt>
                <c:pt idx="55">
                  <c:v>89.609829020383273</c:v>
                </c:pt>
                <c:pt idx="56">
                  <c:v>89.609155410892811</c:v>
                </c:pt>
                <c:pt idx="57">
                  <c:v>89.607552866944062</c:v>
                </c:pt>
                <c:pt idx="58">
                  <c:v>89.605034190563913</c:v>
                </c:pt>
                <c:pt idx="59">
                  <c:v>89.601611968437666</c:v>
                </c:pt>
                <c:pt idx="60">
                  <c:v>89.597298576444899</c:v>
                </c:pt>
                <c:pt idx="61">
                  <c:v>89.592106184080606</c:v>
                </c:pt>
                <c:pt idx="62">
                  <c:v>89.586046758767395</c:v>
                </c:pt>
                <c:pt idx="63">
                  <c:v>89.579132070062897</c:v>
                </c:pt>
                <c:pt idx="64">
                  <c:v>89.571373693758346</c:v>
                </c:pt>
                <c:pt idx="65">
                  <c:v>89.562783015881323</c:v>
                </c:pt>
                <c:pt idx="66">
                  <c:v>89.553371236597343</c:v>
                </c:pt>
                <c:pt idx="67">
                  <c:v>89.543149374015059</c:v>
                </c:pt>
                <c:pt idx="68">
                  <c:v>89.532128267899736</c:v>
                </c:pt>
                <c:pt idx="69">
                  <c:v>89.520318583295975</c:v>
                </c:pt>
                <c:pt idx="70">
                  <c:v>89.507730814061532</c:v>
                </c:pt>
                <c:pt idx="71">
                  <c:v>89.494375286315574</c:v>
                </c:pt>
                <c:pt idx="72">
                  <c:v>89.480262161803836</c:v>
                </c:pt>
                <c:pt idx="73">
                  <c:v>89.46540144118255</c:v>
                </c:pt>
                <c:pt idx="74">
                  <c:v>88.739341505925026</c:v>
                </c:pt>
                <c:pt idx="75">
                  <c:v>87.840661197623874</c:v>
                </c:pt>
                <c:pt idx="76">
                  <c:v>86.947828451826297</c:v>
                </c:pt>
                <c:pt idx="77">
                  <c:v>86.061074947540718</c:v>
                </c:pt>
                <c:pt idx="78">
                  <c:v>85.180631269783973</c:v>
                </c:pt>
                <c:pt idx="79">
                  <c:v>84.306725492682361</c:v>
                </c:pt>
                <c:pt idx="80">
                  <c:v>83.439581745794712</c:v>
                </c:pt>
                <c:pt idx="81">
                  <c:v>82.579418790115071</c:v>
                </c:pt>
                <c:pt idx="82">
                  <c:v>81.726448630014488</c:v>
                </c:pt>
                <c:pt idx="83">
                  <c:v>80.880875186299477</c:v>
                </c:pt>
                <c:pt idx="84">
                  <c:v>80.042893053698521</c:v>
                </c:pt>
                <c:pt idx="85">
                  <c:v>79.212686363510855</c:v>
                </c:pt>
                <c:pt idx="86">
                  <c:v>78.390427768997611</c:v>
                </c:pt>
                <c:pt idx="87">
                  <c:v>77.576277567533381</c:v>
                </c:pt>
                <c:pt idx="88">
                  <c:v>76.770382969700165</c:v>
                </c:pt>
                <c:pt idx="89">
                  <c:v>75.972877521586611</c:v>
                </c:pt>
                <c:pt idx="90">
                  <c:v>75.183880682694806</c:v>
                </c:pt>
                <c:pt idx="91">
                  <c:v>74.40349755819649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D$2:$D$93</c:f>
              <c:numCache>
                <c:formatCode>General</c:formatCode>
                <c:ptCount val="92"/>
                <c:pt idx="0">
                  <c:v>75.295766077650299</c:v>
                </c:pt>
                <c:pt idx="1">
                  <c:v>76.195542615793627</c:v>
                </c:pt>
                <c:pt idx="2">
                  <c:v>77.069635614872141</c:v>
                </c:pt>
                <c:pt idx="3">
                  <c:v>77.919118063777816</c:v>
                </c:pt>
                <c:pt idx="4">
                  <c:v>78.744989904593552</c:v>
                </c:pt>
                <c:pt idx="5">
                  <c:v>79.548183396799288</c:v>
                </c:pt>
                <c:pt idx="6">
                  <c:v>80.369326623282447</c:v>
                </c:pt>
                <c:pt idx="7">
                  <c:v>81.17187883064517</c:v>
                </c:pt>
                <c:pt idx="8">
                  <c:v>81.945966348390584</c:v>
                </c:pt>
                <c:pt idx="9">
                  <c:v>82.692471574888415</c:v>
                </c:pt>
                <c:pt idx="10">
                  <c:v>83.412247991043927</c:v>
                </c:pt>
                <c:pt idx="11">
                  <c:v>84.106121061847077</c:v>
                </c:pt>
                <c:pt idx="12">
                  <c:v>84.774889091574906</c:v>
                </c:pt>
                <c:pt idx="13">
                  <c:v>85.419324036933546</c:v>
                </c:pt>
                <c:pt idx="14">
                  <c:v>86.249757997189491</c:v>
                </c:pt>
                <c:pt idx="15">
                  <c:v>87.111521567639997</c:v>
                </c:pt>
                <c:pt idx="16">
                  <c:v>87.952919664957321</c:v>
                </c:pt>
                <c:pt idx="17">
                  <c:v>88.774428297527493</c:v>
                </c:pt>
                <c:pt idx="18">
                  <c:v>89.576512733399099</c:v>
                </c:pt>
                <c:pt idx="19">
                  <c:v>90.359627644711324</c:v>
                </c:pt>
                <c:pt idx="20">
                  <c:v>91.124217256085899</c:v>
                </c:pt>
                <c:pt idx="21">
                  <c:v>91.870715497425181</c:v>
                </c:pt>
                <c:pt idx="22">
                  <c:v>92.599546161310116</c:v>
                </c:pt>
                <c:pt idx="23">
                  <c:v>93.311123064994632</c:v>
                </c:pt>
                <c:pt idx="24">
                  <c:v>94.005850216798308</c:v>
                </c:pt>
                <c:pt idx="25">
                  <c:v>94.684121986575988</c:v>
                </c:pt>
                <c:pt idx="26">
                  <c:v>95.346323279819401</c:v>
                </c:pt>
                <c:pt idx="27">
                  <c:v>95.992829714875214</c:v>
                </c:pt>
                <c:pt idx="28">
                  <c:v>96.624007802708689</c:v>
                </c:pt>
                <c:pt idx="29">
                  <c:v>97.240215128608199</c:v>
                </c:pt>
                <c:pt idx="30">
                  <c:v>97.841800535225588</c:v>
                </c:pt>
                <c:pt idx="31">
                  <c:v>98.429104306344826</c:v>
                </c:pt>
                <c:pt idx="32">
                  <c:v>99.002458350800694</c:v>
                </c:pt>
                <c:pt idx="33">
                  <c:v>99.562186385998871</c:v>
                </c:pt>
                <c:pt idx="34">
                  <c:v>99.821450696863806</c:v>
                </c:pt>
                <c:pt idx="35">
                  <c:v>100</c:v>
                </c:pt>
                <c:pt idx="36">
                  <c:v>100.1704613603315</c:v>
                </c:pt>
                <c:pt idx="37">
                  <c:v>100.33320062308411</c:v>
                </c:pt>
                <c:pt idx="38">
                  <c:v>100.48855813715618</c:v>
                </c:pt>
                <c:pt idx="39">
                  <c:v>100.63685036765257</c:v>
                </c:pt>
                <c:pt idx="40">
                  <c:v>100.77837145228912</c:v>
                </c:pt>
                <c:pt idx="41">
                  <c:v>100.91339469642296</c:v>
                </c:pt>
                <c:pt idx="42">
                  <c:v>101.04217400299692</c:v>
                </c:pt>
                <c:pt idx="43">
                  <c:v>101.16494523501511</c:v>
                </c:pt>
                <c:pt idx="44">
                  <c:v>101.28192750926981</c:v>
                </c:pt>
                <c:pt idx="45">
                  <c:v>101.393324420974</c:v>
                </c:pt>
                <c:pt idx="46">
                  <c:v>101.49932519970145</c:v>
                </c:pt>
                <c:pt idx="47">
                  <c:v>101.60010579766461</c:v>
                </c:pt>
                <c:pt idx="48">
                  <c:v>101.69582991183808</c:v>
                </c:pt>
                <c:pt idx="49">
                  <c:v>101.78664994182782</c:v>
                </c:pt>
                <c:pt idx="50">
                  <c:v>101.87270788567</c:v>
                </c:pt>
                <c:pt idx="51">
                  <c:v>101.95413617595672</c:v>
                </c:pt>
                <c:pt idx="52">
                  <c:v>102.03105845884221</c:v>
                </c:pt>
                <c:pt idx="53">
                  <c:v>102.10359031856547</c:v>
                </c:pt>
                <c:pt idx="54">
                  <c:v>102.6162461681941</c:v>
                </c:pt>
                <c:pt idx="55">
                  <c:v>103.23307795444536</c:v>
                </c:pt>
                <c:pt idx="56">
                  <c:v>103.84276592579678</c:v>
                </c:pt>
                <c:pt idx="57">
                  <c:v>104.44539473696703</c:v>
                </c:pt>
                <c:pt idx="58">
                  <c:v>105.04104777931833</c:v>
                </c:pt>
                <c:pt idx="59">
                  <c:v>105.6298072035825</c:v>
                </c:pt>
                <c:pt idx="60">
                  <c:v>106.21175394212885</c:v>
                </c:pt>
                <c:pt idx="61">
                  <c:v>106.78696773077783</c:v>
                </c:pt>
                <c:pt idx="62">
                  <c:v>107.35552713017424</c:v>
                </c:pt>
                <c:pt idx="63">
                  <c:v>107.91750954672932</c:v>
                </c:pt>
                <c:pt idx="64">
                  <c:v>108.47299125313444</c:v>
                </c:pt>
                <c:pt idx="65">
                  <c:v>109.02204740846587</c:v>
                </c:pt>
                <c:pt idx="66">
                  <c:v>109.56475207787962</c:v>
                </c:pt>
                <c:pt idx="67">
                  <c:v>110.10117825190979</c:v>
                </c:pt>
                <c:pt idx="68">
                  <c:v>110.63139786537859</c:v>
                </c:pt>
                <c:pt idx="69">
                  <c:v>111.15548181592578</c:v>
                </c:pt>
                <c:pt idx="70">
                  <c:v>111.67349998216507</c:v>
                </c:pt>
                <c:pt idx="71">
                  <c:v>112.18552124147641</c:v>
                </c:pt>
                <c:pt idx="72">
                  <c:v>112.69161348744096</c:v>
                </c:pt>
                <c:pt idx="73">
                  <c:v>113.1918436469284</c:v>
                </c:pt>
                <c:pt idx="74">
                  <c:v>112.78145196516243</c:v>
                </c:pt>
                <c:pt idx="75">
                  <c:v>112.13725365077975</c:v>
                </c:pt>
                <c:pt idx="76">
                  <c:v>111.48581005195885</c:v>
                </c:pt>
                <c:pt idx="77">
                  <c:v>110.82771944447177</c:v>
                </c:pt>
                <c:pt idx="78">
                  <c:v>110.16357851692054</c:v>
                </c:pt>
                <c:pt idx="79">
                  <c:v>109.49398048979562</c:v>
                </c:pt>
                <c:pt idx="80">
                  <c:v>108.8195131674301</c:v>
                </c:pt>
                <c:pt idx="81">
                  <c:v>108.14075695839951</c:v>
                </c:pt>
                <c:pt idx="82">
                  <c:v>107.45828290077171</c:v>
                </c:pt>
                <c:pt idx="83">
                  <c:v>106.77265072822522</c:v>
                </c:pt>
                <c:pt idx="84">
                  <c:v>106.08440701153793</c:v>
                </c:pt>
                <c:pt idx="85">
                  <c:v>105.39408340735861</c:v>
                </c:pt>
                <c:pt idx="86">
                  <c:v>104.70219504264948</c:v>
                </c:pt>
                <c:pt idx="87">
                  <c:v>104.00923905895212</c:v>
                </c:pt>
                <c:pt idx="88">
                  <c:v>103.31569333582561</c:v>
                </c:pt>
                <c:pt idx="89">
                  <c:v>102.62201540771383</c:v>
                </c:pt>
                <c:pt idx="90">
                  <c:v>101.92864158329273</c:v>
                </c:pt>
                <c:pt idx="91">
                  <c:v>101.235986271245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E$2:$E$93</c:f>
              <c:numCache>
                <c:formatCode>General</c:formatCode>
                <c:ptCount val="92"/>
                <c:pt idx="0">
                  <c:v>0.25497237569060777</c:v>
                </c:pt>
                <c:pt idx="1">
                  <c:v>0.26008230452674896</c:v>
                </c:pt>
                <c:pt idx="2">
                  <c:v>0.26512261580381452</c:v>
                </c:pt>
                <c:pt idx="3">
                  <c:v>0.27009472259810546</c:v>
                </c:pt>
                <c:pt idx="4">
                  <c:v>0.27499999999999997</c:v>
                </c:pt>
                <c:pt idx="5">
                  <c:v>0.27983978638184231</c:v>
                </c:pt>
                <c:pt idx="6">
                  <c:v>0.28461538461538438</c:v>
                </c:pt>
                <c:pt idx="7">
                  <c:v>0.28932806324110671</c:v>
                </c:pt>
                <c:pt idx="8">
                  <c:v>0.29397905759162302</c:v>
                </c:pt>
                <c:pt idx="9">
                  <c:v>0.29856957087126135</c:v>
                </c:pt>
                <c:pt idx="10">
                  <c:v>0.30310077519379852</c:v>
                </c:pt>
                <c:pt idx="11">
                  <c:v>0.30757381258023114</c:v>
                </c:pt>
                <c:pt idx="12">
                  <c:v>0.3119897959183674</c:v>
                </c:pt>
                <c:pt idx="13">
                  <c:v>0.31634980988593142</c:v>
                </c:pt>
                <c:pt idx="14">
                  <c:v>0.3206549118387908</c:v>
                </c:pt>
                <c:pt idx="15">
                  <c:v>0.32490613266583224</c:v>
                </c:pt>
                <c:pt idx="16">
                  <c:v>0.32910447761194028</c:v>
                </c:pt>
                <c:pt idx="17">
                  <c:v>0.33325092707045739</c:v>
                </c:pt>
                <c:pt idx="18">
                  <c:v>0.33734643734643738</c:v>
                </c:pt>
                <c:pt idx="19">
                  <c:v>0.34139194139194134</c:v>
                </c:pt>
                <c:pt idx="20">
                  <c:v>0.34538834951456304</c:v>
                </c:pt>
                <c:pt idx="21">
                  <c:v>0.3493365500603135</c:v>
                </c:pt>
                <c:pt idx="22">
                  <c:v>0.35323741007194243</c:v>
                </c:pt>
                <c:pt idx="23">
                  <c:v>0.35709177592371871</c:v>
                </c:pt>
                <c:pt idx="24">
                  <c:v>0.36090047393364921</c:v>
                </c:pt>
                <c:pt idx="25">
                  <c:v>0.36466431095406354</c:v>
                </c:pt>
                <c:pt idx="26">
                  <c:v>0.36838407494145198</c:v>
                </c:pt>
                <c:pt idx="27">
                  <c:v>0.37206053550640267</c:v>
                </c:pt>
                <c:pt idx="28">
                  <c:v>0.37569444444444461</c:v>
                </c:pt>
                <c:pt idx="29">
                  <c:v>0.37928653624856146</c:v>
                </c:pt>
                <c:pt idx="30">
                  <c:v>0.38283752860411885</c:v>
                </c:pt>
                <c:pt idx="31">
                  <c:v>0.38634812286689418</c:v>
                </c:pt>
                <c:pt idx="32">
                  <c:v>0.38981900452488683</c:v>
                </c:pt>
                <c:pt idx="33">
                  <c:v>0.39325084364454443</c:v>
                </c:pt>
                <c:pt idx="34">
                  <c:v>0.39664429530201339</c:v>
                </c:pt>
                <c:pt idx="35">
                  <c:v>0.39999999999999997</c:v>
                </c:pt>
                <c:pt idx="36">
                  <c:v>0.40331858407079646</c:v>
                </c:pt>
                <c:pt idx="37">
                  <c:v>0.40660066006600648</c:v>
                </c:pt>
                <c:pt idx="38">
                  <c:v>0.40984682713347914</c:v>
                </c:pt>
                <c:pt idx="39">
                  <c:v>0.41305767138193678</c:v>
                </c:pt>
                <c:pt idx="40">
                  <c:v>0.41623376623376618</c:v>
                </c:pt>
                <c:pt idx="41">
                  <c:v>0.41937567276641557</c:v>
                </c:pt>
                <c:pt idx="42">
                  <c:v>0.42248394004282652</c:v>
                </c:pt>
                <c:pt idx="43">
                  <c:v>0.42555910543130993</c:v>
                </c:pt>
                <c:pt idx="44">
                  <c:v>0.42860169491525424</c:v>
                </c:pt>
                <c:pt idx="45">
                  <c:v>0.43161222339304517</c:v>
                </c:pt>
                <c:pt idx="46">
                  <c:v>0.43459119496855336</c:v>
                </c:pt>
                <c:pt idx="47">
                  <c:v>0.43753910323253381</c:v>
                </c:pt>
                <c:pt idx="48">
                  <c:v>0.44045643153526964</c:v>
                </c:pt>
                <c:pt idx="49">
                  <c:v>0.44334365325077402</c:v>
                </c:pt>
                <c:pt idx="50">
                  <c:v>0.44620123203285422</c:v>
                </c:pt>
                <c:pt idx="51">
                  <c:v>0.44902962206333003</c:v>
                </c:pt>
                <c:pt idx="52">
                  <c:v>0.45182926829268288</c:v>
                </c:pt>
                <c:pt idx="53">
                  <c:v>0.4546006066734074</c:v>
                </c:pt>
                <c:pt idx="54">
                  <c:v>0.45734406438631781</c:v>
                </c:pt>
                <c:pt idx="55">
                  <c:v>0.46006006006005995</c:v>
                </c:pt>
                <c:pt idx="56">
                  <c:v>0.4627490039840636</c:v>
                </c:pt>
                <c:pt idx="57">
                  <c:v>0.46541129831516354</c:v>
                </c:pt>
                <c:pt idx="58">
                  <c:v>0.46804733727810649</c:v>
                </c:pt>
                <c:pt idx="59">
                  <c:v>0.47065750736015705</c:v>
                </c:pt>
                <c:pt idx="60">
                  <c:v>0.47324218749999997</c:v>
                </c:pt>
                <c:pt idx="61">
                  <c:v>0.475801749271137</c:v>
                </c:pt>
                <c:pt idx="62">
                  <c:v>0.4783365570599612</c:v>
                </c:pt>
                <c:pt idx="63">
                  <c:v>0.480846968238691</c:v>
                </c:pt>
                <c:pt idx="64">
                  <c:v>0.48333333333333328</c:v>
                </c:pt>
                <c:pt idx="65">
                  <c:v>0.48579599618684455</c:v>
                </c:pt>
                <c:pt idx="66">
                  <c:v>0.48823529411764716</c:v>
                </c:pt>
                <c:pt idx="67">
                  <c:v>0.4906515580736544</c:v>
                </c:pt>
                <c:pt idx="68">
                  <c:v>0.4930451127819549</c:v>
                </c:pt>
                <c:pt idx="69">
                  <c:v>0.49541627689429374</c:v>
                </c:pt>
                <c:pt idx="70">
                  <c:v>0.49776536312849151</c:v>
                </c:pt>
                <c:pt idx="71">
                  <c:v>0.50009267840593141</c:v>
                </c:pt>
                <c:pt idx="72">
                  <c:v>0.50239852398523976</c:v>
                </c:pt>
                <c:pt idx="73">
                  <c:v>0.50468319559228647</c:v>
                </c:pt>
                <c:pt idx="74">
                  <c:v>0.50694698354661794</c:v>
                </c:pt>
                <c:pt idx="75">
                  <c:v>0.50919017288444035</c:v>
                </c:pt>
                <c:pt idx="76">
                  <c:v>0.51141304347826089</c:v>
                </c:pt>
                <c:pt idx="77">
                  <c:v>0.51361587015329113</c:v>
                </c:pt>
                <c:pt idx="78">
                  <c:v>0.51579892280071804</c:v>
                </c:pt>
                <c:pt idx="79">
                  <c:v>0.51796246648793565</c:v>
                </c:pt>
                <c:pt idx="80">
                  <c:v>0.52010676156583624</c:v>
                </c:pt>
                <c:pt idx="81">
                  <c:v>0.5222320637732506</c:v>
                </c:pt>
                <c:pt idx="82">
                  <c:v>0.52433862433862444</c:v>
                </c:pt>
                <c:pt idx="83">
                  <c:v>0.52642669007901677</c:v>
                </c:pt>
                <c:pt idx="84">
                  <c:v>0.52849650349650346</c:v>
                </c:pt>
                <c:pt idx="85">
                  <c:v>0.53054830287206267</c:v>
                </c:pt>
                <c:pt idx="86">
                  <c:v>0.53258232235701908</c:v>
                </c:pt>
                <c:pt idx="87">
                  <c:v>0.53459879206212246</c:v>
                </c:pt>
                <c:pt idx="88">
                  <c:v>0.53659793814432988</c:v>
                </c:pt>
                <c:pt idx="89">
                  <c:v>0.53857998289136011</c:v>
                </c:pt>
                <c:pt idx="90">
                  <c:v>0.54054514480408855</c:v>
                </c:pt>
                <c:pt idx="91">
                  <c:v>0.5424936386768447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Bollinger Special Cuvée Brut 750ml (1.2%)</c:v>
                </c:pt>
                <c:pt idx="6">
                  <c:v>Champagne Laurent-Perrier Blanc La Cuvée 750ml (2.7%)</c:v>
                </c:pt>
                <c:pt idx="7">
                  <c:v>Champagne Perrier-Jouët Blanc Grand Brut 750ml (0.9%)</c:v>
                </c:pt>
                <c:pt idx="8">
                  <c:v>Champagne E.Nicolas Brut 750ml (11.6%)</c:v>
                </c:pt>
                <c:pt idx="9">
                  <c:v>Champagne Malard Brut 1er Cru 750ml (4.1%)</c:v>
                </c:pt>
              </c:strCache>
            </c:strRef>
          </c:cat>
          <c:val>
            <c:numRef>
              <c:f>Sheet1!$B$2:$B$11</c:f>
              <c:numCache>
                <c:formatCode>General</c:formatCode>
                <c:ptCount val="10"/>
                <c:pt idx="0">
                  <c:v>0.15599662332320036</c:v>
                </c:pt>
                <c:pt idx="1">
                  <c:v>0.11050969752582082</c:v>
                </c:pt>
                <c:pt idx="2">
                  <c:v>6.1132383865586185E-2</c:v>
                </c:pt>
                <c:pt idx="3">
                  <c:v>4.4631766267171649E-2</c:v>
                </c:pt>
                <c:pt idx="4">
                  <c:v>4.2552418284908647E-2</c:v>
                </c:pt>
                <c:pt idx="5">
                  <c:v>3.5123081036063673E-2</c:v>
                </c:pt>
                <c:pt idx="6">
                  <c:v>3.2002369209419061E-2</c:v>
                </c:pt>
                <c:pt idx="7">
                  <c:v>3.0202230346004166E-2</c:v>
                </c:pt>
                <c:pt idx="8">
                  <c:v>2.9225829722058044E-2</c:v>
                </c:pt>
                <c:pt idx="9">
                  <c:v>2.735689259696457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E.Nicolas Brut 750ml (11.6%)</c:v>
                </c:pt>
                <c:pt idx="4">
                  <c:v>Champagne Malard Brut 1er Cru 750ml (4.1%)</c:v>
                </c:pt>
                <c:pt idx="5">
                  <c:v>Champagne Canard-Duchêne Blanc Cuvée Léonie Brut 750ml (2.6%)</c:v>
                </c:pt>
                <c:pt idx="6">
                  <c:v>Champagne Bollinger Special Cuvée Brut 750ml (1.2%)</c:v>
                </c:pt>
                <c:pt idx="7">
                  <c:v>Champagne Ayala Brut Majeur 750ml (1.7%)</c:v>
                </c:pt>
                <c:pt idx="8">
                  <c:v>Champagne Ruinart Brut (étui) 750ml (1.2%)</c:v>
                </c:pt>
                <c:pt idx="9">
                  <c:v>Champagne Laurent-Perrier Blanc La Cuvée 750ml (2.7%)</c:v>
                </c:pt>
              </c:strCache>
            </c:strRef>
          </c:cat>
          <c:val>
            <c:numRef>
              <c:f>Sheet1!$B$2:$B$11</c:f>
              <c:numCache>
                <c:formatCode>General</c:formatCode>
                <c:ptCount val="10"/>
                <c:pt idx="0">
                  <c:v>0.13176531718957107</c:v>
                </c:pt>
                <c:pt idx="1">
                  <c:v>0.11679885283466016</c:v>
                </c:pt>
                <c:pt idx="2">
                  <c:v>5.4865324698486491E-2</c:v>
                </c:pt>
                <c:pt idx="3">
                  <c:v>4.2137338774943932E-2</c:v>
                </c:pt>
                <c:pt idx="4">
                  <c:v>3.8159572420506618E-2</c:v>
                </c:pt>
                <c:pt idx="5">
                  <c:v>3.80869647056465E-2</c:v>
                </c:pt>
                <c:pt idx="6">
                  <c:v>3.6678413787035159E-2</c:v>
                </c:pt>
                <c:pt idx="7">
                  <c:v>3.5194394326793402E-2</c:v>
                </c:pt>
                <c:pt idx="8">
                  <c:v>2.8789094121913945E-2</c:v>
                </c:pt>
                <c:pt idx="9">
                  <c:v>2.62255981956512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B$2:$B$53</c:f>
              <c:numCache>
                <c:formatCode>General</c:formatCode>
                <c:ptCount val="52"/>
                <c:pt idx="0">
                  <c:v>141.00964561676287</c:v>
                </c:pt>
                <c:pt idx="1">
                  <c:v>134.4590234066431</c:v>
                </c:pt>
                <c:pt idx="2">
                  <c:v>128.40679956932709</c:v>
                </c:pt>
                <c:pt idx="3">
                  <c:v>122.80696845683808</c:v>
                </c:pt>
                <c:pt idx="4">
                  <c:v>119.86513206566671</c:v>
                </c:pt>
                <c:pt idx="5">
                  <c:v>117.29516489367511</c:v>
                </c:pt>
                <c:pt idx="6">
                  <c:v>114.82736570344689</c:v>
                </c:pt>
                <c:pt idx="7">
                  <c:v>112.45631670242827</c:v>
                </c:pt>
                <c:pt idx="8">
                  <c:v>110.17695384411404</c:v>
                </c:pt>
                <c:pt idx="9">
                  <c:v>107.98454251884905</c:v>
                </c:pt>
                <c:pt idx="10">
                  <c:v>105.8746545622412</c:v>
                </c:pt>
                <c:pt idx="11">
                  <c:v>103.84314658511111</c:v>
                </c:pt>
                <c:pt idx="12">
                  <c:v>101.88613961178639</c:v>
                </c:pt>
                <c:pt idx="13">
                  <c:v>100</c:v>
                </c:pt>
                <c:pt idx="14">
                  <c:v>97.372171183189735</c:v>
                </c:pt>
                <c:pt idx="15">
                  <c:v>94.78601299110511</c:v>
                </c:pt>
                <c:pt idx="16">
                  <c:v>92.328225535047807</c:v>
                </c:pt>
                <c:pt idx="17">
                  <c:v>89.992413657022468</c:v>
                </c:pt>
                <c:pt idx="18">
                  <c:v>87.772535564097382</c:v>
                </c:pt>
                <c:pt idx="19">
                  <c:v>85.662801494192848</c:v>
                </c:pt>
                <c:pt idx="20">
                  <c:v>83.65760801760193</c:v>
                </c:pt>
                <c:pt idx="21">
                  <c:v>81.751502352330235</c:v>
                </c:pt>
                <c:pt idx="22">
                  <c:v>79.939169718084713</c:v>
                </c:pt>
                <c:pt idx="23">
                  <c:v>78.215436613532646</c:v>
                </c:pt>
                <c:pt idx="24">
                  <c:v>77.313621618342395</c:v>
                </c:pt>
                <c:pt idx="25">
                  <c:v>76.514659494216474</c:v>
                </c:pt>
                <c:pt idx="26">
                  <c:v>75.732788626186093</c:v>
                </c:pt>
                <c:pt idx="27">
                  <c:v>74.967489557427783</c:v>
                </c:pt>
                <c:pt idx="28">
                  <c:v>74.21825725634011</c:v>
                </c:pt>
                <c:pt idx="29">
                  <c:v>73.48460101463688</c:v>
                </c:pt>
                <c:pt idx="30">
                  <c:v>72.766044351402286</c:v>
                </c:pt>
                <c:pt idx="31">
                  <c:v>72.062124912071027</c:v>
                </c:pt>
                <c:pt idx="32">
                  <c:v>71.132502266546425</c:v>
                </c:pt>
                <c:pt idx="33">
                  <c:v>70.169131808879797</c:v>
                </c:pt>
                <c:pt idx="34">
                  <c:v>69.232291058423229</c:v>
                </c:pt>
                <c:pt idx="35">
                  <c:v>68.320905012364918</c:v>
                </c:pt>
                <c:pt idx="36">
                  <c:v>67.433951424957598</c:v>
                </c:pt>
                <c:pt idx="37">
                  <c:v>66.570458144483695</c:v>
                </c:pt>
                <c:pt idx="38">
                  <c:v>65.729500548288371</c:v>
                </c:pt>
                <c:pt idx="39">
                  <c:v>64.910199078715294</c:v>
                </c:pt>
                <c:pt idx="40">
                  <c:v>64.111716881671612</c:v>
                </c:pt>
                <c:pt idx="41">
                  <c:v>63.333257548566046</c:v>
                </c:pt>
                <c:pt idx="42">
                  <c:v>62.574062961488629</c:v>
                </c:pt>
                <c:pt idx="43">
                  <c:v>61.833411240737981</c:v>
                </c:pt>
                <c:pt idx="44">
                  <c:v>61.110614793147597</c:v>
                </c:pt>
                <c:pt idx="45">
                  <c:v>60.405018459119809</c:v>
                </c:pt>
                <c:pt idx="46">
                  <c:v>59.715997755813341</c:v>
                </c:pt>
                <c:pt idx="47">
                  <c:v>59.042957213576109</c:v>
                </c:pt>
                <c:pt idx="48">
                  <c:v>58.385328802427658</c:v>
                </c:pt>
                <c:pt idx="49">
                  <c:v>57.742570445184626</c:v>
                </c:pt>
                <c:pt idx="50">
                  <c:v>57.114164613676046</c:v>
                </c:pt>
                <c:pt idx="51">
                  <c:v>56.49961700440591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C$2:$C$53</c:f>
              <c:numCache>
                <c:formatCode>General</c:formatCode>
                <c:ptCount val="52"/>
                <c:pt idx="0">
                  <c:v>123.09487307312605</c:v>
                </c:pt>
                <c:pt idx="1">
                  <c:v>118.6699796563436</c:v>
                </c:pt>
                <c:pt idx="2">
                  <c:v>114.56662696427897</c:v>
                </c:pt>
                <c:pt idx="3">
                  <c:v>110.75708467244401</c:v>
                </c:pt>
                <c:pt idx="4">
                  <c:v>109.2766858554793</c:v>
                </c:pt>
                <c:pt idx="5">
                  <c:v>108.08329576359255</c:v>
                </c:pt>
                <c:pt idx="6">
                  <c:v>106.93514746808117</c:v>
                </c:pt>
                <c:pt idx="7">
                  <c:v>105.83009377198532</c:v>
                </c:pt>
                <c:pt idx="8">
                  <c:v>104.76611702744106</c:v>
                </c:pt>
                <c:pt idx="9">
                  <c:v>103.74132251639485</c:v>
                </c:pt>
                <c:pt idx="10">
                  <c:v>102.75393174388927</c:v>
                </c:pt>
                <c:pt idx="11">
                  <c:v>101.80227573222172</c:v>
                </c:pt>
                <c:pt idx="12">
                  <c:v>100.8847883880087</c:v>
                </c:pt>
                <c:pt idx="13">
                  <c:v>100</c:v>
                </c:pt>
                <c:pt idx="14">
                  <c:v>98.323297793350378</c:v>
                </c:pt>
                <c:pt idx="15">
                  <c:v>96.637868957168322</c:v>
                </c:pt>
                <c:pt idx="16">
                  <c:v>95.034794181525726</c:v>
                </c:pt>
                <c:pt idx="17">
                  <c:v>93.511092362243616</c:v>
                </c:pt>
                <c:pt idx="18">
                  <c:v>92.063915307015236</c:v>
                </c:pt>
                <c:pt idx="19">
                  <c:v>90.690455774663832</c:v>
                </c:pt>
                <c:pt idx="20">
                  <c:v>89.38788809421078</c:v>
                </c:pt>
                <c:pt idx="21">
                  <c:v>88.153337634346286</c:v>
                </c:pt>
                <c:pt idx="22">
                  <c:v>86.983873495980504</c:v>
                </c:pt>
                <c:pt idx="23">
                  <c:v>85.876518119330953</c:v>
                </c:pt>
                <c:pt idx="24">
                  <c:v>85.648755493296463</c:v>
                </c:pt>
                <c:pt idx="25">
                  <c:v>85.518496372190384</c:v>
                </c:pt>
                <c:pt idx="26">
                  <c:v>85.391776051425595</c:v>
                </c:pt>
                <c:pt idx="27">
                  <c:v>85.268507215513281</c:v>
                </c:pt>
                <c:pt idx="28">
                  <c:v>85.148598727057973</c:v>
                </c:pt>
                <c:pt idx="29">
                  <c:v>85.031956215807668</c:v>
                </c:pt>
                <c:pt idx="30">
                  <c:v>84.918482668790247</c:v>
                </c:pt>
                <c:pt idx="31">
                  <c:v>84.808079008893174</c:v>
                </c:pt>
                <c:pt idx="32">
                  <c:v>84.414817636396222</c:v>
                </c:pt>
                <c:pt idx="33">
                  <c:v>83.962679801351982</c:v>
                </c:pt>
                <c:pt idx="34">
                  <c:v>83.523676509216997</c:v>
                </c:pt>
                <c:pt idx="35">
                  <c:v>83.097275177328143</c:v>
                </c:pt>
                <c:pt idx="36">
                  <c:v>82.682966286875029</c:v>
                </c:pt>
                <c:pt idx="37">
                  <c:v>82.280262629240781</c:v>
                </c:pt>
                <c:pt idx="38">
                  <c:v>81.888698522077263</c:v>
                </c:pt>
                <c:pt idx="39">
                  <c:v>81.50782900506367</c:v>
                </c:pt>
                <c:pt idx="40">
                  <c:v>81.137229024143181</c:v>
                </c:pt>
                <c:pt idx="41">
                  <c:v>80.776492611936192</c:v>
                </c:pt>
                <c:pt idx="42">
                  <c:v>80.425232070978439</c:v>
                </c:pt>
                <c:pt idx="43">
                  <c:v>80.083077165459159</c:v>
                </c:pt>
                <c:pt idx="44">
                  <c:v>79.749674326227691</c:v>
                </c:pt>
                <c:pt idx="45">
                  <c:v>79.424685873017069</c:v>
                </c:pt>
                <c:pt idx="46">
                  <c:v>79.107789257080213</c:v>
                </c:pt>
                <c:pt idx="47">
                  <c:v>78.798676326769311</c:v>
                </c:pt>
                <c:pt idx="48">
                  <c:v>78.49705261799788</c:v>
                </c:pt>
                <c:pt idx="49">
                  <c:v>78.20263667099637</c:v>
                </c:pt>
                <c:pt idx="50">
                  <c:v>77.91515937432257</c:v>
                </c:pt>
                <c:pt idx="51">
                  <c:v>77.63436333669763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D$2:$D$53</c:f>
              <c:numCache>
                <c:formatCode>General</c:formatCode>
                <c:ptCount val="52"/>
                <c:pt idx="0">
                  <c:v>95.089670841764899</c:v>
                </c:pt>
                <c:pt idx="1">
                  <c:v>94.040479296429751</c:v>
                </c:pt>
                <c:pt idx="2">
                  <c:v>93.024164417458422</c:v>
                </c:pt>
                <c:pt idx="3">
                  <c:v>92.043699805325517</c:v>
                </c:pt>
                <c:pt idx="4">
                  <c:v>92.84142994665369</c:v>
                </c:pt>
                <c:pt idx="5">
                  <c:v>93.789119824802356</c:v>
                </c:pt>
                <c:pt idx="6">
                  <c:v>94.692306587111062</c:v>
                </c:pt>
                <c:pt idx="7">
                  <c:v>95.554064693045291</c:v>
                </c:pt>
                <c:pt idx="8">
                  <c:v>96.37723517626408</c:v>
                </c:pt>
                <c:pt idx="9">
                  <c:v>97.164448078082671</c:v>
                </c:pt>
                <c:pt idx="10">
                  <c:v>97.918142445840346</c:v>
                </c:pt>
                <c:pt idx="11">
                  <c:v>98.640584130947289</c:v>
                </c:pt>
                <c:pt idx="12">
                  <c:v>99.333881605479135</c:v>
                </c:pt>
                <c:pt idx="13">
                  <c:v>100</c:v>
                </c:pt>
                <c:pt idx="14">
                  <c:v>99.811353828059282</c:v>
                </c:pt>
                <c:pt idx="15">
                  <c:v>99.53481123715251</c:v>
                </c:pt>
                <c:pt idx="16">
                  <c:v>99.266719437982175</c:v>
                </c:pt>
                <c:pt idx="17">
                  <c:v>99.009689574559857</c:v>
                </c:pt>
                <c:pt idx="18">
                  <c:v>98.76608961771683</c:v>
                </c:pt>
                <c:pt idx="19">
                  <c:v>98.537972059452301</c:v>
                </c:pt>
                <c:pt idx="20">
                  <c:v>98.327028261169374</c:v>
                </c:pt>
                <c:pt idx="21">
                  <c:v>98.134568956003591</c:v>
                </c:pt>
                <c:pt idx="22">
                  <c:v>97.961527620458511</c:v>
                </c:pt>
                <c:pt idx="23">
                  <c:v>97.808481857403521</c:v>
                </c:pt>
                <c:pt idx="24">
                  <c:v>98.617475270691273</c:v>
                </c:pt>
                <c:pt idx="25">
                  <c:v>99.515058139772506</c:v>
                </c:pt>
                <c:pt idx="26">
                  <c:v>100.39526989222864</c:v>
                </c:pt>
                <c:pt idx="27">
                  <c:v>101.25869331003278</c:v>
                </c:pt>
                <c:pt idx="28">
                  <c:v>102.10587897089675</c:v>
                </c:pt>
                <c:pt idx="29">
                  <c:v>102.937346912287</c:v>
                </c:pt>
                <c:pt idx="30">
                  <c:v>103.75358828862278</c:v>
                </c:pt>
                <c:pt idx="31">
                  <c:v>104.55506700669224</c:v>
                </c:pt>
                <c:pt idx="32">
                  <c:v>104.98815214290873</c:v>
                </c:pt>
                <c:pt idx="33">
                  <c:v>105.32400746463126</c:v>
                </c:pt>
                <c:pt idx="34">
                  <c:v>105.65208344887643</c:v>
                </c:pt>
                <c:pt idx="35">
                  <c:v>105.9727063718847</c:v>
                </c:pt>
                <c:pt idx="36">
                  <c:v>106.28617794735304</c:v>
                </c:pt>
                <c:pt idx="37">
                  <c:v>106.59277767022539</c:v>
                </c:pt>
                <c:pt idx="38">
                  <c:v>106.89276491971145</c:v>
                </c:pt>
                <c:pt idx="39">
                  <c:v>107.18638084340965</c:v>
                </c:pt>
                <c:pt idx="40">
                  <c:v>107.47385004312289</c:v>
                </c:pt>
                <c:pt idx="41">
                  <c:v>107.75538208162834</c:v>
                </c:pt>
                <c:pt idx="42">
                  <c:v>108.03117282830161</c:v>
                </c:pt>
                <c:pt idx="43">
                  <c:v>108.30140566013031</c:v>
                </c:pt>
                <c:pt idx="44">
                  <c:v>108.56625253331742</c:v>
                </c:pt>
                <c:pt idx="45">
                  <c:v>108.82587493937623</c:v>
                </c:pt>
                <c:pt idx="46">
                  <c:v>109.08042475836449</c:v>
                </c:pt>
                <c:pt idx="47">
                  <c:v>109.33004502073011</c:v>
                </c:pt>
                <c:pt idx="48">
                  <c:v>109.57487058812323</c:v>
                </c:pt>
                <c:pt idx="49">
                  <c:v>109.81502876248545</c:v>
                </c:pt>
                <c:pt idx="50">
                  <c:v>110.0506398317626</c:v>
                </c:pt>
                <c:pt idx="51">
                  <c:v>110.2818175597021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E$2:$E$53</c:f>
              <c:numCache>
                <c:formatCode>General</c:formatCode>
                <c:ptCount val="52"/>
                <c:pt idx="0">
                  <c:v>0.3101382488479264</c:v>
                </c:pt>
                <c:pt idx="1">
                  <c:v>0.31799544419134401</c:v>
                </c:pt>
                <c:pt idx="2">
                  <c:v>0.32567567567567579</c:v>
                </c:pt>
                <c:pt idx="3">
                  <c:v>0.33318485523385294</c:v>
                </c:pt>
                <c:pt idx="4">
                  <c:v>0.34052863436123354</c:v>
                </c:pt>
                <c:pt idx="5">
                  <c:v>0.34771241830065364</c:v>
                </c:pt>
                <c:pt idx="6">
                  <c:v>0.35474137931034488</c:v>
                </c:pt>
                <c:pt idx="7">
                  <c:v>0.36162046908315576</c:v>
                </c:pt>
                <c:pt idx="8">
                  <c:v>0.36835443037974691</c:v>
                </c:pt>
                <c:pt idx="9">
                  <c:v>0.37494780793319421</c:v>
                </c:pt>
                <c:pt idx="10">
                  <c:v>0.38140495867768592</c:v>
                </c:pt>
                <c:pt idx="11">
                  <c:v>0.38773006134969334</c:v>
                </c:pt>
                <c:pt idx="12">
                  <c:v>0.39392712550607301</c:v>
                </c:pt>
                <c:pt idx="13">
                  <c:v>0.4</c:v>
                </c:pt>
                <c:pt idx="14">
                  <c:v>0.40595238095238101</c:v>
                </c:pt>
                <c:pt idx="15">
                  <c:v>0.41178781925343821</c:v>
                </c:pt>
                <c:pt idx="16">
                  <c:v>0.4175097276264591</c:v>
                </c:pt>
                <c:pt idx="17">
                  <c:v>0.423121387283237</c:v>
                </c:pt>
                <c:pt idx="18">
                  <c:v>0.42862595419847338</c:v>
                </c:pt>
                <c:pt idx="19">
                  <c:v>0.43402646502835546</c:v>
                </c:pt>
                <c:pt idx="20">
                  <c:v>0.43932584269662922</c:v>
                </c:pt>
                <c:pt idx="21">
                  <c:v>0.44452690166975878</c:v>
                </c:pt>
                <c:pt idx="22">
                  <c:v>0.44963235294117659</c:v>
                </c:pt>
                <c:pt idx="23">
                  <c:v>0.45464480874316948</c:v>
                </c:pt>
                <c:pt idx="24">
                  <c:v>0.4595667870036102</c:v>
                </c:pt>
                <c:pt idx="25">
                  <c:v>0.46440071556350626</c:v>
                </c:pt>
                <c:pt idx="26">
                  <c:v>0.4691489361702128</c:v>
                </c:pt>
                <c:pt idx="27">
                  <c:v>0.47381370826010555</c:v>
                </c:pt>
                <c:pt idx="28">
                  <c:v>0.47839721254355405</c:v>
                </c:pt>
                <c:pt idx="29">
                  <c:v>0.48290155440414517</c:v>
                </c:pt>
                <c:pt idx="30">
                  <c:v>0.48732876712328771</c:v>
                </c:pt>
                <c:pt idx="31">
                  <c:v>0.49168081494057736</c:v>
                </c:pt>
                <c:pt idx="32">
                  <c:v>0.49595959595959599</c:v>
                </c:pt>
                <c:pt idx="33">
                  <c:v>0.50016694490818037</c:v>
                </c:pt>
                <c:pt idx="34">
                  <c:v>0.50430463576158935</c:v>
                </c:pt>
                <c:pt idx="35">
                  <c:v>0.5083743842364532</c:v>
                </c:pt>
                <c:pt idx="36">
                  <c:v>0.51237785016286652</c:v>
                </c:pt>
                <c:pt idx="37">
                  <c:v>0.51631663974151865</c:v>
                </c:pt>
                <c:pt idx="38">
                  <c:v>0.52019230769230773</c:v>
                </c:pt>
                <c:pt idx="39">
                  <c:v>0.52400635930047701</c:v>
                </c:pt>
                <c:pt idx="40">
                  <c:v>0.52776025236593072</c:v>
                </c:pt>
                <c:pt idx="41">
                  <c:v>0.5314553990610329</c:v>
                </c:pt>
                <c:pt idx="42">
                  <c:v>0.53509316770186344</c:v>
                </c:pt>
                <c:pt idx="43">
                  <c:v>0.53867488443759637</c:v>
                </c:pt>
                <c:pt idx="44">
                  <c:v>0.54220183486238538</c:v>
                </c:pt>
                <c:pt idx="45">
                  <c:v>0.54567526555386958</c:v>
                </c:pt>
                <c:pt idx="46">
                  <c:v>0.54909638554216877</c:v>
                </c:pt>
                <c:pt idx="47">
                  <c:v>0.5524663677130045</c:v>
                </c:pt>
                <c:pt idx="48">
                  <c:v>0.55578635014836808</c:v>
                </c:pt>
                <c:pt idx="49">
                  <c:v>0.559057437407953</c:v>
                </c:pt>
                <c:pt idx="50">
                  <c:v>0.56228070175438605</c:v>
                </c:pt>
                <c:pt idx="51">
                  <c:v>0.565457184325108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Laurent-Perrier Blanc La Cuvée 750ml (2.7%)</c:v>
                </c:pt>
                <c:pt idx="3">
                  <c:v>Champagne Canard-Duchêne Blanc Cuvée Léonie Brut 750ml (2.6%)</c:v>
                </c:pt>
                <c:pt idx="4">
                  <c:v>Champagne Heidsieck Monopole Silver Top 750ml (4.2%)</c:v>
                </c:pt>
                <c:pt idx="5">
                  <c:v>Champagne Nicolas Feuillatte Réserve Exclusive Brut 750ml (3.0%)</c:v>
                </c:pt>
                <c:pt idx="6">
                  <c:v>Champagne Vranken Demoiselle Tête de Cuvée 750ml (1.4%)</c:v>
                </c:pt>
                <c:pt idx="7">
                  <c:v>Champagne Besserat de Bellefon Bleu Brut 750ml (1.7%)</c:v>
                </c:pt>
                <c:pt idx="8">
                  <c:v>Champagne Taittinger Prestige Brut 750ml (1.6%)</c:v>
                </c:pt>
                <c:pt idx="9">
                  <c:v>Champagne Château de Bligny 750ml (1.3%)</c:v>
                </c:pt>
              </c:strCache>
            </c:strRef>
          </c:cat>
          <c:val>
            <c:numRef>
              <c:f>Sheet1!$B$2:$B$11</c:f>
              <c:numCache>
                <c:formatCode>General</c:formatCode>
                <c:ptCount val="10"/>
                <c:pt idx="0">
                  <c:v>0.11523069461503996</c:v>
                </c:pt>
                <c:pt idx="1">
                  <c:v>0.10621578570399404</c:v>
                </c:pt>
                <c:pt idx="2">
                  <c:v>5.8034409561748435E-2</c:v>
                </c:pt>
                <c:pt idx="3">
                  <c:v>4.9783846425465239E-2</c:v>
                </c:pt>
                <c:pt idx="4">
                  <c:v>4.6797537287195899E-2</c:v>
                </c:pt>
                <c:pt idx="5">
                  <c:v>4.6100050841870716E-2</c:v>
                </c:pt>
                <c:pt idx="6">
                  <c:v>2.6886515735991472E-2</c:v>
                </c:pt>
                <c:pt idx="7">
                  <c:v>2.6745476641730218E-2</c:v>
                </c:pt>
                <c:pt idx="8">
                  <c:v>2.4756709440362606E-2</c:v>
                </c:pt>
                <c:pt idx="9">
                  <c:v>2.468961744577797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Laurent-Perrier Blanc La Cuvée 750ml (2.7%)</c:v>
                </c:pt>
                <c:pt idx="3">
                  <c:v>Champagne Canard-Duchêne Blanc Cuvée Léonie Brut 750ml (2.6%)</c:v>
                </c:pt>
                <c:pt idx="4">
                  <c:v>Champagne Deutz Brut Classique 750ml (3.4%)</c:v>
                </c:pt>
                <c:pt idx="5">
                  <c:v>Champagne Nicolas Feuillatte Réserve Exclusive Brut 750ml (3.0%)</c:v>
                </c:pt>
                <c:pt idx="6">
                  <c:v>Champagne Ruinart Brut 750ml (7.3%)</c:v>
                </c:pt>
                <c:pt idx="7">
                  <c:v>Champagne Taittinger Prestige Brut 750ml (1.6%)</c:v>
                </c:pt>
                <c:pt idx="8">
                  <c:v>Champagne Heidsieck Monopole Silver Top 750ml (4.2%)</c:v>
                </c:pt>
                <c:pt idx="9">
                  <c:v>Champagne Ayala Brut Majeur 750ml (1.7%)</c:v>
                </c:pt>
              </c:strCache>
            </c:strRef>
          </c:cat>
          <c:val>
            <c:numRef>
              <c:f>Sheet1!$B$2:$B$11</c:f>
              <c:numCache>
                <c:formatCode>General</c:formatCode>
                <c:ptCount val="10"/>
                <c:pt idx="0">
                  <c:v>9.1287389604422231E-2</c:v>
                </c:pt>
                <c:pt idx="1">
                  <c:v>8.8840521057632127E-2</c:v>
                </c:pt>
                <c:pt idx="2">
                  <c:v>8.1165371327973454E-2</c:v>
                </c:pt>
                <c:pt idx="3">
                  <c:v>4.6729625200324108E-2</c:v>
                </c:pt>
                <c:pt idx="4">
                  <c:v>4.1467217466374696E-2</c:v>
                </c:pt>
                <c:pt idx="5">
                  <c:v>4.1126508884375364E-2</c:v>
                </c:pt>
                <c:pt idx="6">
                  <c:v>4.0571281573558271E-2</c:v>
                </c:pt>
                <c:pt idx="7">
                  <c:v>4.0349375585358234E-2</c:v>
                </c:pt>
                <c:pt idx="8">
                  <c:v>3.8560013554680077E-2</c:v>
                </c:pt>
                <c:pt idx="9">
                  <c:v>2.886850184393183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3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49.95</c:v>
                </c:pt>
                <c:pt idx="2">
                  <c:v>52.45</c:v>
                </c:pt>
                <c:pt idx="3">
                  <c:v>53.85</c:v>
                </c:pt>
                <c:pt idx="4">
                  <c:v>55.85</c:v>
                </c:pt>
              </c:numCache>
            </c:numRef>
          </c:xVal>
          <c:yVal>
            <c:numRef>
              <c:f>Sheet1!$B$2:$B$6</c:f>
              <c:numCache>
                <c:formatCode>General</c:formatCode>
                <c:ptCount val="5"/>
                <c:pt idx="0">
                  <c:v>0.16321231575548306</c:v>
                </c:pt>
                <c:pt idx="1">
                  <c:v>8.8675456089941734E-2</c:v>
                </c:pt>
                <c:pt idx="2">
                  <c:v>0</c:v>
                </c:pt>
                <c:pt idx="3">
                  <c:v>-4.4036665024368621E-2</c:v>
                </c:pt>
                <c:pt idx="4">
                  <c:v>-9.0350873783780983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3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c:v>
                </c:pt>
                <c:pt idx="1">
                  <c:v>79</c:v>
                </c:pt>
                <c:pt idx="2">
                  <c:v>83</c:v>
                </c:pt>
                <c:pt idx="3">
                  <c:v>85</c:v>
                </c:pt>
                <c:pt idx="4">
                  <c:v>91</c:v>
                </c:pt>
              </c:numCache>
            </c:numRef>
          </c:xVal>
          <c:yVal>
            <c:numRef>
              <c:f>Sheet1!$B$9:$B$13</c:f>
              <c:numCache>
                <c:formatCode>General</c:formatCode>
                <c:ptCount val="5"/>
                <c:pt idx="0">
                  <c:v>0.13315958034240649</c:v>
                </c:pt>
                <c:pt idx="1">
                  <c:v>5.9800471374406999E-2</c:v>
                </c:pt>
                <c:pt idx="2">
                  <c:v>0</c:v>
                </c:pt>
                <c:pt idx="3">
                  <c:v>-2.7957963379451001E-2</c:v>
                </c:pt>
                <c:pt idx="4">
                  <c:v>-0.1177828792832538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3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9</c:v>
                </c:pt>
                <c:pt idx="1">
                  <c:v>114</c:v>
                </c:pt>
                <c:pt idx="2">
                  <c:v>119</c:v>
                </c:pt>
                <c:pt idx="3">
                  <c:v>121</c:v>
                </c:pt>
                <c:pt idx="4">
                  <c:v>128</c:v>
                </c:pt>
              </c:numCache>
            </c:numRef>
          </c:xVal>
          <c:yVal>
            <c:numRef>
              <c:f>Sheet1!$B$16:$B$20</c:f>
              <c:numCache>
                <c:formatCode>General</c:formatCode>
                <c:ptCount val="5"/>
                <c:pt idx="0">
                  <c:v>0.24256320433020453</c:v>
                </c:pt>
                <c:pt idx="1">
                  <c:v>0.11560670504118273</c:v>
                </c:pt>
                <c:pt idx="2">
                  <c:v>0</c:v>
                </c:pt>
                <c:pt idx="3">
                  <c:v>-2.1530620075904314E-2</c:v>
                </c:pt>
                <c:pt idx="4">
                  <c:v>-9.2698613480692887E-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3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c:v>
                </c:pt>
                <c:pt idx="1">
                  <c:v>69</c:v>
                </c:pt>
                <c:pt idx="2">
                  <c:v>72</c:v>
                </c:pt>
                <c:pt idx="3">
                  <c:v>75</c:v>
                </c:pt>
                <c:pt idx="4">
                  <c:v>79</c:v>
                </c:pt>
              </c:numCache>
            </c:numRef>
          </c:xVal>
          <c:yVal>
            <c:numRef>
              <c:f>Sheet1!$B$23:$B$27</c:f>
              <c:numCache>
                <c:formatCode>General</c:formatCode>
                <c:ptCount val="5"/>
                <c:pt idx="0">
                  <c:v>0.24751172200036728</c:v>
                </c:pt>
                <c:pt idx="1">
                  <c:v>0.12836241132125512</c:v>
                </c:pt>
                <c:pt idx="2">
                  <c:v>0</c:v>
                </c:pt>
                <c:pt idx="3">
                  <c:v>-0.10297401000070336</c:v>
                </c:pt>
                <c:pt idx="4">
                  <c:v>-0.169430849877357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Ruinart Brut 3x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1</c:v>
                </c:pt>
                <c:pt idx="1">
                  <c:v>128</c:v>
                </c:pt>
                <c:pt idx="2">
                  <c:v>135</c:v>
                </c:pt>
                <c:pt idx="3">
                  <c:v>142</c:v>
                </c:pt>
                <c:pt idx="4">
                  <c:v>149</c:v>
                </c:pt>
              </c:numCache>
            </c:numRef>
          </c:xVal>
          <c:yVal>
            <c:numRef>
              <c:f>Sheet1!$B$30:$B$34</c:f>
              <c:numCache>
                <c:formatCode>General</c:formatCode>
                <c:ptCount val="5"/>
                <c:pt idx="0">
                  <c:v>0.12019796811797172</c:v>
                </c:pt>
                <c:pt idx="1">
                  <c:v>5.4093497015134481E-2</c:v>
                </c:pt>
                <c:pt idx="2">
                  <c:v>0</c:v>
                </c:pt>
                <c:pt idx="3">
                  <c:v>-4.9365397280403414E-2</c:v>
                </c:pt>
                <c:pt idx="4">
                  <c:v>-9.5430484883546954E-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
          <c:min val="47.9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B$2:$B$62</c:f>
              <c:numCache>
                <c:formatCode>General</c:formatCode>
                <c:ptCount val="61"/>
                <c:pt idx="0">
                  <c:v>151.08046227396306</c:v>
                </c:pt>
                <c:pt idx="1">
                  <c:v>148.54311530368258</c:v>
                </c:pt>
                <c:pt idx="2">
                  <c:v>146.08922389128415</c:v>
                </c:pt>
                <c:pt idx="3">
                  <c:v>143.71493582640301</c:v>
                </c:pt>
                <c:pt idx="4">
                  <c:v>141.39416280536824</c:v>
                </c:pt>
                <c:pt idx="5">
                  <c:v>138.9473662375303</c:v>
                </c:pt>
                <c:pt idx="6">
                  <c:v>136.57622848807935</c:v>
                </c:pt>
                <c:pt idx="7">
                  <c:v>134.27776625846971</c:v>
                </c:pt>
                <c:pt idx="8">
                  <c:v>132.04918771293697</c:v>
                </c:pt>
                <c:pt idx="9">
                  <c:v>129.88786644141459</c:v>
                </c:pt>
                <c:pt idx="10">
                  <c:v>127.79131870137614</c:v>
                </c:pt>
                <c:pt idx="11">
                  <c:v>125.75718404241162</c:v>
                </c:pt>
                <c:pt idx="12">
                  <c:v>123.78320933764211</c:v>
                </c:pt>
                <c:pt idx="13">
                  <c:v>121.86723612284278</c:v>
                </c:pt>
                <c:pt idx="14">
                  <c:v>120.08679014948622</c:v>
                </c:pt>
                <c:pt idx="15">
                  <c:v>119.05529332425982</c:v>
                </c:pt>
                <c:pt idx="16">
                  <c:v>118.03810244562727</c:v>
                </c:pt>
                <c:pt idx="17">
                  <c:v>117.03497237467087</c:v>
                </c:pt>
                <c:pt idx="18">
                  <c:v>116.04566153162995</c:v>
                </c:pt>
                <c:pt idx="19">
                  <c:v>115.06993181302938</c:v>
                </c:pt>
                <c:pt idx="20">
                  <c:v>114.10754855638847</c:v>
                </c:pt>
                <c:pt idx="21">
                  <c:v>113.15828054357793</c:v>
                </c:pt>
                <c:pt idx="22">
                  <c:v>112.22190003443787</c:v>
                </c:pt>
                <c:pt idx="23">
                  <c:v>111.08725965892421</c:v>
                </c:pt>
                <c:pt idx="24">
                  <c:v>109.9756638469112</c:v>
                </c:pt>
                <c:pt idx="25">
                  <c:v>108.88649494875156</c:v>
                </c:pt>
                <c:pt idx="26">
                  <c:v>107.8191539424231</c:v>
                </c:pt>
                <c:pt idx="27">
                  <c:v>106.77305977126845</c:v>
                </c:pt>
                <c:pt idx="28">
                  <c:v>105.7476487164718</c:v>
                </c:pt>
                <c:pt idx="29">
                  <c:v>104.74237380153772</c:v>
                </c:pt>
                <c:pt idx="30">
                  <c:v>103.75670422626865</c:v>
                </c:pt>
                <c:pt idx="31">
                  <c:v>102.79012482791947</c:v>
                </c:pt>
                <c:pt idx="32">
                  <c:v>101.84213556743357</c:v>
                </c:pt>
                <c:pt idx="33">
                  <c:v>100.91225103883039</c:v>
                </c:pt>
                <c:pt idx="34">
                  <c:v>100</c:v>
                </c:pt>
                <c:pt idx="35">
                  <c:v>99.104924923323964</c:v>
                </c:pt>
                <c:pt idx="36">
                  <c:v>98.226581564684452</c:v>
                </c:pt>
                <c:pt idx="37">
                  <c:v>97.364538549568834</c:v>
                </c:pt>
                <c:pt idx="38">
                  <c:v>96.518376975098633</c:v>
                </c:pt>
                <c:pt idx="39">
                  <c:v>95.687690026923761</c:v>
                </c:pt>
                <c:pt idx="40">
                  <c:v>94.872082610033061</c:v>
                </c:pt>
                <c:pt idx="41">
                  <c:v>94.071170992620168</c:v>
                </c:pt>
                <c:pt idx="42">
                  <c:v>93.284582462232095</c:v>
                </c:pt>
                <c:pt idx="43">
                  <c:v>91.656929443994656</c:v>
                </c:pt>
                <c:pt idx="44">
                  <c:v>90.083775173842113</c:v>
                </c:pt>
                <c:pt idx="45">
                  <c:v>88.56267523054477</c:v>
                </c:pt>
                <c:pt idx="46">
                  <c:v>87.091292120094153</c:v>
                </c:pt>
                <c:pt idx="47">
                  <c:v>85.667392084283719</c:v>
                </c:pt>
                <c:pt idx="48">
                  <c:v>84.28884190433547</c:v>
                </c:pt>
                <c:pt idx="49">
                  <c:v>82.953605687872894</c:v>
                </c:pt>
                <c:pt idx="50">
                  <c:v>81.659741634253052</c:v>
                </c:pt>
                <c:pt idx="51">
                  <c:v>80.4053987788147</c:v>
                </c:pt>
                <c:pt idx="52">
                  <c:v>79.188813720963026</c:v>
                </c:pt>
                <c:pt idx="53">
                  <c:v>78.008307344366045</c:v>
                </c:pt>
                <c:pt idx="54">
                  <c:v>76.862281539905723</c:v>
                </c:pt>
                <c:pt idx="55">
                  <c:v>76.281662385553631</c:v>
                </c:pt>
                <c:pt idx="56">
                  <c:v>75.70745470279509</c:v>
                </c:pt>
                <c:pt idx="57">
                  <c:v>75.139552198916192</c:v>
                </c:pt>
                <c:pt idx="58">
                  <c:v>74.577850628269758</c:v>
                </c:pt>
                <c:pt idx="59">
                  <c:v>74.022247761887712</c:v>
                </c:pt>
                <c:pt idx="60">
                  <c:v>73.47264335664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C$2:$C$62</c:f>
              <c:numCache>
                <c:formatCode>General</c:formatCode>
                <c:ptCount val="61"/>
                <c:pt idx="0">
                  <c:v>113.16287946695522</c:v>
                </c:pt>
                <c:pt idx="1">
                  <c:v>112.35259958266461</c:v>
                </c:pt>
                <c:pt idx="2">
                  <c:v>111.56958196755266</c:v>
                </c:pt>
                <c:pt idx="3">
                  <c:v>110.81262396811671</c:v>
                </c:pt>
                <c:pt idx="4">
                  <c:v>110.06204510373472</c:v>
                </c:pt>
                <c:pt idx="5">
                  <c:v>109.16979539086607</c:v>
                </c:pt>
                <c:pt idx="6">
                  <c:v>108.3028441895466</c:v>
                </c:pt>
                <c:pt idx="7">
                  <c:v>107.46036862802868</c:v>
                </c:pt>
                <c:pt idx="8">
                  <c:v>106.64162260072283</c:v>
                </c:pt>
                <c:pt idx="9">
                  <c:v>105.84592133555518</c:v>
                </c:pt>
                <c:pt idx="10">
                  <c:v>105.07262768695486</c:v>
                </c:pt>
                <c:pt idx="11">
                  <c:v>104.32114039256639</c:v>
                </c:pt>
                <c:pt idx="12">
                  <c:v>103.59088447085638</c:v>
                </c:pt>
                <c:pt idx="13">
                  <c:v>102.8813038334867</c:v>
                </c:pt>
                <c:pt idx="14">
                  <c:v>102.26090907204413</c:v>
                </c:pt>
                <c:pt idx="15">
                  <c:v>102.2691909523366</c:v>
                </c:pt>
                <c:pt idx="16">
                  <c:v>102.27444690888019</c:v>
                </c:pt>
                <c:pt idx="17">
                  <c:v>102.27678680947506</c:v>
                </c:pt>
                <c:pt idx="18">
                  <c:v>102.27631609466201</c:v>
                </c:pt>
                <c:pt idx="19">
                  <c:v>102.27313585008557</c:v>
                </c:pt>
                <c:pt idx="20">
                  <c:v>102.26734291779309</c:v>
                </c:pt>
                <c:pt idx="21">
                  <c:v>102.25903004072066</c:v>
                </c:pt>
                <c:pt idx="22">
                  <c:v>102.24828603460969</c:v>
                </c:pt>
                <c:pt idx="23">
                  <c:v>102.03645082757396</c:v>
                </c:pt>
                <c:pt idx="24">
                  <c:v>101.82931262888559</c:v>
                </c:pt>
                <c:pt idx="25">
                  <c:v>101.62679813769067</c:v>
                </c:pt>
                <c:pt idx="26">
                  <c:v>101.42883369587008</c:v>
                </c:pt>
                <c:pt idx="27">
                  <c:v>101.23534532980739</c:v>
                </c:pt>
                <c:pt idx="28">
                  <c:v>101.04625879708362</c:v>
                </c:pt>
                <c:pt idx="29">
                  <c:v>100.86149963717514</c:v>
                </c:pt>
                <c:pt idx="30">
                  <c:v>100.68099322530327</c:v>
                </c:pt>
                <c:pt idx="31">
                  <c:v>100.50466482862093</c:v>
                </c:pt>
                <c:pt idx="32">
                  <c:v>100.33243966401403</c:v>
                </c:pt>
                <c:pt idx="33">
                  <c:v>100.1642429568389</c:v>
                </c:pt>
                <c:pt idx="34">
                  <c:v>100</c:v>
                </c:pt>
                <c:pt idx="35">
                  <c:v>99.839636212832133</c:v>
                </c:pt>
                <c:pt idx="36">
                  <c:v>99.683077199311981</c:v>
                </c:pt>
                <c:pt idx="37">
                  <c:v>99.530248805189203</c:v>
                </c:pt>
                <c:pt idx="38">
                  <c:v>99.381077173679813</c:v>
                </c:pt>
                <c:pt idx="39">
                  <c:v>99.235488799415251</c:v>
                </c:pt>
                <c:pt idx="40">
                  <c:v>99.093410580395442</c:v>
                </c:pt>
                <c:pt idx="41">
                  <c:v>98.954769867733134</c:v>
                </c:pt>
                <c:pt idx="42">
                  <c:v>98.819494513021752</c:v>
                </c:pt>
                <c:pt idx="43">
                  <c:v>97.772193500345722</c:v>
                </c:pt>
                <c:pt idx="44">
                  <c:v>96.759804589996889</c:v>
                </c:pt>
                <c:pt idx="45">
                  <c:v>95.780852057359397</c:v>
                </c:pt>
                <c:pt idx="46">
                  <c:v>94.833907839030317</c:v>
                </c:pt>
                <c:pt idx="47">
                  <c:v>93.917591693412845</c:v>
                </c:pt>
                <c:pt idx="48">
                  <c:v>93.030571236424237</c:v>
                </c:pt>
                <c:pt idx="49">
                  <c:v>92.171561837715004</c:v>
                </c:pt>
                <c:pt idx="50">
                  <c:v>91.339326369675163</c:v>
                </c:pt>
                <c:pt idx="51">
                  <c:v>90.532674807498211</c:v>
                </c:pt>
                <c:pt idx="52">
                  <c:v>89.750463683602561</c:v>
                </c:pt>
                <c:pt idx="53">
                  <c:v>88.991595403876417</c:v>
                </c:pt>
                <c:pt idx="54">
                  <c:v>88.255017436461586</c:v>
                </c:pt>
                <c:pt idx="55">
                  <c:v>88.15682007719289</c:v>
                </c:pt>
                <c:pt idx="56">
                  <c:v>88.057439325227321</c:v>
                </c:pt>
                <c:pt idx="57">
                  <c:v>87.956894316883435</c:v>
                </c:pt>
                <c:pt idx="58">
                  <c:v>87.855203407520321</c:v>
                </c:pt>
                <c:pt idx="59">
                  <c:v>87.752384213338615</c:v>
                </c:pt>
                <c:pt idx="60">
                  <c:v>87.64845365118912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D$2:$D$62</c:f>
              <c:numCache>
                <c:formatCode>General</c:formatCode>
                <c:ptCount val="61"/>
                <c:pt idx="0">
                  <c:v>52.297083094833383</c:v>
                </c:pt>
                <c:pt idx="1">
                  <c:v>54.275369053268655</c:v>
                </c:pt>
                <c:pt idx="2">
                  <c:v>56.188163035109284</c:v>
                </c:pt>
                <c:pt idx="3">
                  <c:v>58.038724083739645</c:v>
                </c:pt>
                <c:pt idx="4">
                  <c:v>59.820607340732735</c:v>
                </c:pt>
                <c:pt idx="5">
                  <c:v>61.457488912753909</c:v>
                </c:pt>
                <c:pt idx="6">
                  <c:v>63.035182379113564</c:v>
                </c:pt>
                <c:pt idx="7">
                  <c:v>64.556618393495071</c:v>
                </c:pt>
                <c:pt idx="8">
                  <c:v>66.024593856468485</c:v>
                </c:pt>
                <c:pt idx="9">
                  <c:v>67.441776806119208</c:v>
                </c:pt>
                <c:pt idx="10">
                  <c:v>68.810710069971819</c:v>
                </c:pt>
                <c:pt idx="11">
                  <c:v>70.133814177498792</c:v>
                </c:pt>
                <c:pt idx="12">
                  <c:v>71.413390002485926</c:v>
                </c:pt>
                <c:pt idx="13">
                  <c:v>72.651621534771763</c:v>
                </c:pt>
                <c:pt idx="14">
                  <c:v>73.899563168914653</c:v>
                </c:pt>
                <c:pt idx="15">
                  <c:v>75.554320763472631</c:v>
                </c:pt>
                <c:pt idx="16">
                  <c:v>77.178759291371748</c:v>
                </c:pt>
                <c:pt idx="17">
                  <c:v>78.773539098336201</c:v>
                </c:pt>
                <c:pt idx="18">
                  <c:v>80.339304137282298</c:v>
                </c:pt>
                <c:pt idx="19">
                  <c:v>81.876682251578629</c:v>
                </c:pt>
                <c:pt idx="20">
                  <c:v>83.386285483514726</c:v>
                </c:pt>
                <c:pt idx="21">
                  <c:v>84.868710407683494</c:v>
                </c:pt>
                <c:pt idx="22">
                  <c:v>86.324538488029106</c:v>
                </c:pt>
                <c:pt idx="23">
                  <c:v>87.58803165415182</c:v>
                </c:pt>
                <c:pt idx="24">
                  <c:v>88.826497722505266</c:v>
                </c:pt>
                <c:pt idx="25">
                  <c:v>90.040755438390718</c:v>
                </c:pt>
                <c:pt idx="26">
                  <c:v>91.231591797434916</c:v>
                </c:pt>
                <c:pt idx="27">
                  <c:v>92.399763263597706</c:v>
                </c:pt>
                <c:pt idx="28">
                  <c:v>93.545996941494252</c:v>
                </c:pt>
                <c:pt idx="29">
                  <c:v>94.670991705236091</c:v>
                </c:pt>
                <c:pt idx="30">
                  <c:v>95.775419285786512</c:v>
                </c:pt>
                <c:pt idx="31">
                  <c:v>96.859925318616504</c:v>
                </c:pt>
                <c:pt idx="32">
                  <c:v>97.925130353301569</c:v>
                </c:pt>
                <c:pt idx="33">
                  <c:v>98.971630826545194</c:v>
                </c:pt>
                <c:pt idx="34">
                  <c:v>100</c:v>
                </c:pt>
                <c:pt idx="35">
                  <c:v>101.01078886415715</c:v>
                </c:pt>
                <c:pt idx="36">
                  <c:v>102.00452700948009</c:v>
                </c:pt>
                <c:pt idx="37">
                  <c:v>102.98172346589021</c:v>
                </c:pt>
                <c:pt idx="38">
                  <c:v>103.94286751164468</c:v>
                </c:pt>
                <c:pt idx="39">
                  <c:v>104.88842945258952</c:v>
                </c:pt>
                <c:pt idx="40">
                  <c:v>105.81886137272922</c:v>
                </c:pt>
                <c:pt idx="41">
                  <c:v>106.73459785701138</c:v>
                </c:pt>
                <c:pt idx="42">
                  <c:v>107.63605668719092</c:v>
                </c:pt>
                <c:pt idx="43">
                  <c:v>107.52062877083989</c:v>
                </c:pt>
                <c:pt idx="44">
                  <c:v>107.40757809188877</c:v>
                </c:pt>
                <c:pt idx="45">
                  <c:v>107.29708729854468</c:v>
                </c:pt>
                <c:pt idx="46">
                  <c:v>107.18928260934672</c:v>
                </c:pt>
                <c:pt idx="47">
                  <c:v>107.08424010535467</c:v>
                </c:pt>
                <c:pt idx="48">
                  <c:v>106.98199164781043</c:v>
                </c:pt>
                <c:pt idx="49">
                  <c:v>106.88253040552857</c:v>
                </c:pt>
                <c:pt idx="50">
                  <c:v>106.78581598325398</c:v>
                </c:pt>
                <c:pt idx="51">
                  <c:v>106.69177914881189</c:v>
                </c:pt>
                <c:pt idx="52">
                  <c:v>106.60032616283486</c:v>
                </c:pt>
                <c:pt idx="53">
                  <c:v>106.51134272019209</c:v>
                </c:pt>
                <c:pt idx="54">
                  <c:v>106.42469751679255</c:v>
                </c:pt>
                <c:pt idx="55">
                  <c:v>107.08771834895028</c:v>
                </c:pt>
                <c:pt idx="56">
                  <c:v>107.73753169243922</c:v>
                </c:pt>
                <c:pt idx="57">
                  <c:v>108.37435413305229</c:v>
                </c:pt>
                <c:pt idx="58">
                  <c:v>108.99839707208669</c:v>
                </c:pt>
                <c:pt idx="59">
                  <c:v>109.6098668781799</c:v>
                </c:pt>
                <c:pt idx="60">
                  <c:v>110.208965034972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E$2:$E$62</c:f>
              <c:numCache>
                <c:formatCode>General</c:formatCode>
                <c:ptCount val="61"/>
                <c:pt idx="0">
                  <c:v>0.18749999999999997</c:v>
                </c:pt>
                <c:pt idx="1">
                  <c:v>0.19587628865979376</c:v>
                </c:pt>
                <c:pt idx="2">
                  <c:v>0.20408163265306115</c:v>
                </c:pt>
                <c:pt idx="3">
                  <c:v>0.21212121212121199</c:v>
                </c:pt>
                <c:pt idx="4">
                  <c:v>0.21999999999999997</c:v>
                </c:pt>
                <c:pt idx="5">
                  <c:v>0.2277227722772279</c:v>
                </c:pt>
                <c:pt idx="6">
                  <c:v>0.23529411764705882</c:v>
                </c:pt>
                <c:pt idx="7">
                  <c:v>0.24271844660194161</c:v>
                </c:pt>
                <c:pt idx="8">
                  <c:v>0.24999999999999997</c:v>
                </c:pt>
                <c:pt idx="9">
                  <c:v>0.25714285714285723</c:v>
                </c:pt>
                <c:pt idx="10">
                  <c:v>0.26415094339622658</c:v>
                </c:pt>
                <c:pt idx="11">
                  <c:v>0.27102803738317749</c:v>
                </c:pt>
                <c:pt idx="12">
                  <c:v>0.2777777777777779</c:v>
                </c:pt>
                <c:pt idx="13">
                  <c:v>0.28440366972477071</c:v>
                </c:pt>
                <c:pt idx="14">
                  <c:v>0.29090909090909095</c:v>
                </c:pt>
                <c:pt idx="15">
                  <c:v>0.29729729729729737</c:v>
                </c:pt>
                <c:pt idx="16">
                  <c:v>0.3035714285714286</c:v>
                </c:pt>
                <c:pt idx="17">
                  <c:v>0.30973451327433632</c:v>
                </c:pt>
                <c:pt idx="18">
                  <c:v>0.31578947368421051</c:v>
                </c:pt>
                <c:pt idx="19">
                  <c:v>0.32173913043478253</c:v>
                </c:pt>
                <c:pt idx="20">
                  <c:v>0.32758620689655166</c:v>
                </c:pt>
                <c:pt idx="21">
                  <c:v>0.33333333333333326</c:v>
                </c:pt>
                <c:pt idx="22">
                  <c:v>0.33898305084745745</c:v>
                </c:pt>
                <c:pt idx="23">
                  <c:v>0.34453781512605047</c:v>
                </c:pt>
                <c:pt idx="24">
                  <c:v>0.34999999999999992</c:v>
                </c:pt>
                <c:pt idx="25">
                  <c:v>0.35537190082644621</c:v>
                </c:pt>
                <c:pt idx="26">
                  <c:v>0.36065573770491793</c:v>
                </c:pt>
                <c:pt idx="27">
                  <c:v>0.3658536585365853</c:v>
                </c:pt>
                <c:pt idx="28">
                  <c:v>0.37096774193548382</c:v>
                </c:pt>
                <c:pt idx="29">
                  <c:v>0.376</c:v>
                </c:pt>
                <c:pt idx="30">
                  <c:v>0.38095238095238093</c:v>
                </c:pt>
                <c:pt idx="31">
                  <c:v>0.3858267716535434</c:v>
                </c:pt>
                <c:pt idx="32">
                  <c:v>0.39062499999999994</c:v>
                </c:pt>
                <c:pt idx="33">
                  <c:v>0.39534883720930225</c:v>
                </c:pt>
                <c:pt idx="34">
                  <c:v>0.4</c:v>
                </c:pt>
                <c:pt idx="35">
                  <c:v>0.40458015267175568</c:v>
                </c:pt>
                <c:pt idx="36">
                  <c:v>0.40909090909090906</c:v>
                </c:pt>
                <c:pt idx="37">
                  <c:v>0.41353383458646614</c:v>
                </c:pt>
                <c:pt idx="38">
                  <c:v>0.41791044776119401</c:v>
                </c:pt>
                <c:pt idx="39">
                  <c:v>0.42222222222222211</c:v>
                </c:pt>
                <c:pt idx="40">
                  <c:v>0.4264705882352941</c:v>
                </c:pt>
                <c:pt idx="41">
                  <c:v>0.43065693430656932</c:v>
                </c:pt>
                <c:pt idx="42">
                  <c:v>0.43478260869565216</c:v>
                </c:pt>
                <c:pt idx="43">
                  <c:v>0.43884892086330923</c:v>
                </c:pt>
                <c:pt idx="44">
                  <c:v>0.44285714285714284</c:v>
                </c:pt>
                <c:pt idx="45">
                  <c:v>0.44680851063829791</c:v>
                </c:pt>
                <c:pt idx="46">
                  <c:v>0.45070422535211269</c:v>
                </c:pt>
                <c:pt idx="47">
                  <c:v>0.45454545454545447</c:v>
                </c:pt>
                <c:pt idx="48">
                  <c:v>0.4583333333333332</c:v>
                </c:pt>
                <c:pt idx="49">
                  <c:v>0.4620689655172413</c:v>
                </c:pt>
                <c:pt idx="50">
                  <c:v>0.46575342465753422</c:v>
                </c:pt>
                <c:pt idx="51">
                  <c:v>0.46938775510204073</c:v>
                </c:pt>
                <c:pt idx="52">
                  <c:v>0.47297297297297286</c:v>
                </c:pt>
                <c:pt idx="53">
                  <c:v>0.47651006711409388</c:v>
                </c:pt>
                <c:pt idx="54">
                  <c:v>0.48</c:v>
                </c:pt>
                <c:pt idx="55">
                  <c:v>0.48344370860927138</c:v>
                </c:pt>
                <c:pt idx="56">
                  <c:v>0.48684210526315791</c:v>
                </c:pt>
                <c:pt idx="57">
                  <c:v>0.49019607843137253</c:v>
                </c:pt>
                <c:pt idx="58">
                  <c:v>0.49350649350649356</c:v>
                </c:pt>
                <c:pt idx="59">
                  <c:v>0.49677419354838714</c:v>
                </c:pt>
                <c:pt idx="60">
                  <c:v>0.49999999999999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Nicolas Feuillatte Réserve Exclusive Brut 750ml (3.0%)</c:v>
                </c:pt>
                <c:pt idx="4">
                  <c:v>Champagne Canard-Duchêne Blanc Cuvée Léonie Brut 750ml (2.6%)</c:v>
                </c:pt>
                <c:pt idx="5">
                  <c:v>Champagne Vranken Demoiselle Rosé Prestige 750ml (2.0%)</c:v>
                </c:pt>
                <c:pt idx="6">
                  <c:v>Champagne Heidsieck Monopole Silver Top 750ml (4.2%)</c:v>
                </c:pt>
                <c:pt idx="7">
                  <c:v>Champagne Laurent-Perrier Blanc La Cuvée 750ml (2.7%)</c:v>
                </c:pt>
                <c:pt idx="8">
                  <c:v>Champagne Vranken Demoiselle Tête de Cuvée 750ml (1.4%)</c:v>
                </c:pt>
                <c:pt idx="9">
                  <c:v>Champagne Besserat de Bellefon Bleu Brut 750ml (1.7%)</c:v>
                </c:pt>
              </c:strCache>
            </c:strRef>
          </c:cat>
          <c:val>
            <c:numRef>
              <c:f>Sheet1!$B$2:$B$11</c:f>
              <c:numCache>
                <c:formatCode>General</c:formatCode>
                <c:ptCount val="10"/>
                <c:pt idx="0">
                  <c:v>0.13637587862416431</c:v>
                </c:pt>
                <c:pt idx="1">
                  <c:v>5.6709561561713424E-2</c:v>
                </c:pt>
                <c:pt idx="2">
                  <c:v>4.416236215434393E-2</c:v>
                </c:pt>
                <c:pt idx="3">
                  <c:v>3.9531898510121039E-2</c:v>
                </c:pt>
                <c:pt idx="4">
                  <c:v>3.6322232520543299E-2</c:v>
                </c:pt>
                <c:pt idx="5">
                  <c:v>3.5636565334504433E-2</c:v>
                </c:pt>
                <c:pt idx="6">
                  <c:v>3.514941566176754E-2</c:v>
                </c:pt>
                <c:pt idx="7">
                  <c:v>3.2731594134007516E-2</c:v>
                </c:pt>
                <c:pt idx="8">
                  <c:v>2.3692943875131722E-2</c:v>
                </c:pt>
                <c:pt idx="9">
                  <c:v>2.34261933095404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Nicolas Feuillatte Réserve Exclusive Brut 750ml (3.0%)</c:v>
                </c:pt>
                <c:pt idx="4">
                  <c:v>Champagne Ruinart Brut 750ml (7.3%)</c:v>
                </c:pt>
                <c:pt idx="5">
                  <c:v>Prosecco Carlo V Cuvée Del Imperator 750ml (5.4%)</c:v>
                </c:pt>
                <c:pt idx="6">
                  <c:v>Champagne Laurent-Perrier Blanc La Cuvée 750ml (2.7%)</c:v>
                </c:pt>
                <c:pt idx="7">
                  <c:v>Champagne Heidsieck Monopole Silver Top 750ml (4.2%)</c:v>
                </c:pt>
                <c:pt idx="8">
                  <c:v>Champagne Vranken Demoiselle Rosé Prestige 750ml (2.0%)</c:v>
                </c:pt>
                <c:pt idx="9">
                  <c:v>Champagne Besserat de Bellefon Bleu Brut 750ml (1.7%)</c:v>
                </c:pt>
              </c:strCache>
            </c:strRef>
          </c:cat>
          <c:val>
            <c:numRef>
              <c:f>Sheet1!$B$2:$B$11</c:f>
              <c:numCache>
                <c:formatCode>General</c:formatCode>
                <c:ptCount val="10"/>
                <c:pt idx="0">
                  <c:v>0.20169493393612609</c:v>
                </c:pt>
                <c:pt idx="1">
                  <c:v>5.2314319998258911E-2</c:v>
                </c:pt>
                <c:pt idx="2">
                  <c:v>3.6732683563106015E-2</c:v>
                </c:pt>
                <c:pt idx="3">
                  <c:v>3.3516904574313458E-2</c:v>
                </c:pt>
                <c:pt idx="4">
                  <c:v>3.3329782911334663E-2</c:v>
                </c:pt>
                <c:pt idx="5">
                  <c:v>3.1068082371792004E-2</c:v>
                </c:pt>
                <c:pt idx="6">
                  <c:v>2.8662163885928425E-2</c:v>
                </c:pt>
                <c:pt idx="7">
                  <c:v>2.8425701922450235E-2</c:v>
                </c:pt>
                <c:pt idx="8">
                  <c:v>2.4993376084531484E-2</c:v>
                </c:pt>
                <c:pt idx="9">
                  <c:v>2.125572182744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B$2:$B$109</c:f>
              <c:numCache>
                <c:formatCode>General</c:formatCode>
                <c:ptCount val="108"/>
                <c:pt idx="0">
                  <c:v>146.86532708692667</c:v>
                </c:pt>
                <c:pt idx="1">
                  <c:v>145.62407987680243</c:v>
                </c:pt>
                <c:pt idx="2">
                  <c:v>144.39913814733961</c:v>
                </c:pt>
                <c:pt idx="3">
                  <c:v>143.19016260306691</c:v>
                </c:pt>
                <c:pt idx="4">
                  <c:v>141.99682276951933</c:v>
                </c:pt>
                <c:pt idx="5">
                  <c:v>140.81879692036864</c:v>
                </c:pt>
                <c:pt idx="6">
                  <c:v>139.65577198508547</c:v>
                </c:pt>
                <c:pt idx="7">
                  <c:v>138.50744343990849</c:v>
                </c:pt>
                <c:pt idx="8">
                  <c:v>137.44274138294631</c:v>
                </c:pt>
                <c:pt idx="9">
                  <c:v>136.43618689825658</c:v>
                </c:pt>
                <c:pt idx="10">
                  <c:v>135.4409141448171</c:v>
                </c:pt>
                <c:pt idx="11">
                  <c:v>134.45675950829374</c:v>
                </c:pt>
                <c:pt idx="12">
                  <c:v>133.48356709170773</c:v>
                </c:pt>
                <c:pt idx="13">
                  <c:v>132.52118825949702</c:v>
                </c:pt>
                <c:pt idx="14">
                  <c:v>131.56948115676869</c:v>
                </c:pt>
                <c:pt idx="15">
                  <c:v>130.62831021079131</c:v>
                </c:pt>
                <c:pt idx="16">
                  <c:v>129.69754562161256</c:v>
                </c:pt>
                <c:pt idx="17">
                  <c:v>128.77706284845624</c:v>
                </c:pt>
                <c:pt idx="18">
                  <c:v>127.86674209819178</c:v>
                </c:pt>
                <c:pt idx="19">
                  <c:v>126.96646782177052</c:v>
                </c:pt>
                <c:pt idx="20">
                  <c:v>126.07612822402135</c:v>
                </c:pt>
                <c:pt idx="21">
                  <c:v>125.19561479164238</c:v>
                </c:pt>
                <c:pt idx="22">
                  <c:v>124.32482184362999</c:v>
                </c:pt>
                <c:pt idx="23">
                  <c:v>123.46364610773865</c:v>
                </c:pt>
                <c:pt idx="24">
                  <c:v>122.6119863259123</c:v>
                </c:pt>
                <c:pt idx="25">
                  <c:v>121.7697428909631</c:v>
                </c:pt>
                <c:pt idx="26">
                  <c:v>120.93681751611211</c:v>
                </c:pt>
                <c:pt idx="27">
                  <c:v>120.11311293838199</c:v>
                </c:pt>
                <c:pt idx="28">
                  <c:v>119.03903295470457</c:v>
                </c:pt>
                <c:pt idx="29">
                  <c:v>117.80555287527505</c:v>
                </c:pt>
                <c:pt idx="30">
                  <c:v>116.5866637686735</c:v>
                </c:pt>
                <c:pt idx="31">
                  <c:v>115.38222335803516</c:v>
                </c:pt>
                <c:pt idx="32">
                  <c:v>114.19210925077101</c:v>
                </c:pt>
                <c:pt idx="33">
                  <c:v>113.01621874491336</c:v>
                </c:pt>
                <c:pt idx="34">
                  <c:v>111.85446836912209</c:v>
                </c:pt>
                <c:pt idx="35">
                  <c:v>110.70679312507927</c:v>
                </c:pt>
                <c:pt idx="36">
                  <c:v>109.5731454110864</c:v>
                </c:pt>
                <c:pt idx="37">
                  <c:v>108.45349361777583</c:v>
                </c:pt>
                <c:pt idx="38">
                  <c:v>107.34782040046309</c:v>
                </c:pt>
                <c:pt idx="39">
                  <c:v>106.25612064712746</c:v>
                </c:pt>
                <c:pt idx="40">
                  <c:v>105.17839917546405</c:v>
                </c:pt>
                <c:pt idx="41">
                  <c:v>104.11466820604775</c:v>
                </c:pt>
                <c:pt idx="42">
                  <c:v>103.06494467046659</c:v>
                </c:pt>
                <c:pt idx="43">
                  <c:v>102.02924742253153</c:v>
                </c:pt>
                <c:pt idx="44">
                  <c:v>101.00759442667429</c:v>
                </c:pt>
                <c:pt idx="45">
                  <c:v>100</c:v>
                </c:pt>
                <c:pt idx="46">
                  <c:v>99.006472182978086</c:v>
                </c:pt>
                <c:pt idx="47">
                  <c:v>98.027010308554082</c:v>
                </c:pt>
                <c:pt idx="48">
                  <c:v>97.378747372940168</c:v>
                </c:pt>
                <c:pt idx="49">
                  <c:v>96.947021694154955</c:v>
                </c:pt>
                <c:pt idx="50">
                  <c:v>96.518151035892501</c:v>
                </c:pt>
                <c:pt idx="51">
                  <c:v>96.09211473766247</c:v>
                </c:pt>
                <c:pt idx="52">
                  <c:v>95.668892298230631</c:v>
                </c:pt>
                <c:pt idx="53">
                  <c:v>95.248463369751562</c:v>
                </c:pt>
                <c:pt idx="54">
                  <c:v>94.830807752170728</c:v>
                </c:pt>
                <c:pt idx="55">
                  <c:v>94.415905387900224</c:v>
                </c:pt>
                <c:pt idx="56">
                  <c:v>94.003736356762488</c:v>
                </c:pt>
                <c:pt idx="57">
                  <c:v>93.594280871202145</c:v>
                </c:pt>
                <c:pt idx="58">
                  <c:v>93.18751927176298</c:v>
                </c:pt>
                <c:pt idx="59">
                  <c:v>92.783432022824059</c:v>
                </c:pt>
                <c:pt idx="60">
                  <c:v>92.381999708597078</c:v>
                </c:pt>
                <c:pt idx="61">
                  <c:v>91.983203029372731</c:v>
                </c:pt>
                <c:pt idx="62">
                  <c:v>91.587022798019873</c:v>
                </c:pt>
                <c:pt idx="63">
                  <c:v>91.193439936725127</c:v>
                </c:pt>
                <c:pt idx="64">
                  <c:v>90.802435473971883</c:v>
                </c:pt>
                <c:pt idx="65">
                  <c:v>90.41399054175227</c:v>
                </c:pt>
                <c:pt idx="66">
                  <c:v>90.028086373003021</c:v>
                </c:pt>
                <c:pt idx="67">
                  <c:v>89.644704299262173</c:v>
                </c:pt>
                <c:pt idx="68">
                  <c:v>88.888258835182043</c:v>
                </c:pt>
                <c:pt idx="69">
                  <c:v>87.889578978067391</c:v>
                </c:pt>
                <c:pt idx="70">
                  <c:v>86.900366727006983</c:v>
                </c:pt>
                <c:pt idx="71">
                  <c:v>85.92052036795738</c:v>
                </c:pt>
                <c:pt idx="72">
                  <c:v>84.949938608147477</c:v>
                </c:pt>
                <c:pt idx="73">
                  <c:v>83.988521079931871</c:v>
                </c:pt>
                <c:pt idx="74">
                  <c:v>83.036168826402275</c:v>
                </c:pt>
                <c:pt idx="75">
                  <c:v>82.092784764841966</c:v>
                </c:pt>
                <c:pt idx="76">
                  <c:v>81.15827412458772</c:v>
                </c:pt>
                <c:pt idx="77">
                  <c:v>80.232544856279404</c:v>
                </c:pt>
                <c:pt idx="78">
                  <c:v>79.315508009851627</c:v>
                </c:pt>
                <c:pt idx="79">
                  <c:v>78.407078078944323</c:v>
                </c:pt>
                <c:pt idx="80">
                  <c:v>77.507173309682273</c:v>
                </c:pt>
                <c:pt idx="81">
                  <c:v>76.615715972032021</c:v>
                </c:pt>
                <c:pt idx="82">
                  <c:v>75.732632592163938</c:v>
                </c:pt>
                <c:pt idx="83">
                  <c:v>74.857854144480314</c:v>
                </c:pt>
                <c:pt idx="84">
                  <c:v>73.991316202183825</c:v>
                </c:pt>
                <c:pt idx="85">
                  <c:v>73.132959045508599</c:v>
                </c:pt>
                <c:pt idx="86">
                  <c:v>72.282727726987545</c:v>
                </c:pt>
                <c:pt idx="87">
                  <c:v>71.440572093432735</c:v>
                </c:pt>
                <c:pt idx="88">
                  <c:v>70.899541807995263</c:v>
                </c:pt>
                <c:pt idx="89">
                  <c:v>70.55707103575952</c:v>
                </c:pt>
                <c:pt idx="90">
                  <c:v>70.216539011156726</c:v>
                </c:pt>
                <c:pt idx="91">
                  <c:v>69.877931838156854</c:v>
                </c:pt>
                <c:pt idx="92">
                  <c:v>69.541235770943345</c:v>
                </c:pt>
                <c:pt idx="93">
                  <c:v>69.206437213067503</c:v>
                </c:pt>
                <c:pt idx="94">
                  <c:v>68.873522716561126</c:v>
                </c:pt>
                <c:pt idx="95">
                  <c:v>68.542478981014796</c:v>
                </c:pt>
                <c:pt idx="96">
                  <c:v>68.213292852610067</c:v>
                </c:pt>
                <c:pt idx="97">
                  <c:v>67.885951323120025</c:v>
                </c:pt>
                <c:pt idx="98">
                  <c:v>67.560441528867145</c:v>
                </c:pt>
                <c:pt idx="99">
                  <c:v>67.236750749645395</c:v>
                </c:pt>
                <c:pt idx="100">
                  <c:v>66.914866407607306</c:v>
                </c:pt>
                <c:pt idx="101">
                  <c:v>66.594776066111052</c:v>
                </c:pt>
                <c:pt idx="102">
                  <c:v>66.276467428535994</c:v>
                </c:pt>
                <c:pt idx="103">
                  <c:v>65.959928337060816</c:v>
                </c:pt>
                <c:pt idx="104">
                  <c:v>65.645146771408491</c:v>
                </c:pt>
                <c:pt idx="105">
                  <c:v>65.332110847557274</c:v>
                </c:pt>
                <c:pt idx="106">
                  <c:v>65.020808816419546</c:v>
                </c:pt>
                <c:pt idx="107">
                  <c:v>64.71122906248841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C$2:$C$109</c:f>
              <c:numCache>
                <c:formatCode>General</c:formatCode>
                <c:ptCount val="108"/>
                <c:pt idx="0">
                  <c:v>113.96224849317768</c:v>
                </c:pt>
                <c:pt idx="1">
                  <c:v>113.72328891614059</c:v>
                </c:pt>
                <c:pt idx="2">
                  <c:v>113.48485891049297</c:v>
                </c:pt>
                <c:pt idx="3">
                  <c:v>113.24693112712758</c:v>
                </c:pt>
                <c:pt idx="4">
                  <c:v>113.00947858112262</c:v>
                </c:pt>
                <c:pt idx="5">
                  <c:v>112.77247481125276</c:v>
                </c:pt>
                <c:pt idx="6">
                  <c:v>112.53589402124462</c:v>
                </c:pt>
                <c:pt idx="7">
                  <c:v>112.29971120442113</c:v>
                </c:pt>
                <c:pt idx="8">
                  <c:v>112.12092164083857</c:v>
                </c:pt>
                <c:pt idx="9">
                  <c:v>111.97964481477958</c:v>
                </c:pt>
                <c:pt idx="10">
                  <c:v>111.83767753205596</c:v>
                </c:pt>
                <c:pt idx="11">
                  <c:v>111.6950522437475</c:v>
                </c:pt>
                <c:pt idx="12">
                  <c:v>111.55180461956071</c:v>
                </c:pt>
                <c:pt idx="13">
                  <c:v>111.40797335167805</c:v>
                </c:pt>
                <c:pt idx="14">
                  <c:v>111.26359992407096</c:v>
                </c:pt>
                <c:pt idx="15">
                  <c:v>111.11872835248759</c:v>
                </c:pt>
                <c:pt idx="16">
                  <c:v>110.97340490045791</c:v>
                </c:pt>
                <c:pt idx="17">
                  <c:v>110.827677776724</c:v>
                </c:pt>
                <c:pt idx="18">
                  <c:v>110.68159681943781</c:v>
                </c:pt>
                <c:pt idx="19">
                  <c:v>110.5352131723708</c:v>
                </c:pt>
                <c:pt idx="20">
                  <c:v>110.3885789581571</c:v>
                </c:pt>
                <c:pt idx="21">
                  <c:v>110.24174695331442</c:v>
                </c:pt>
                <c:pt idx="22">
                  <c:v>110.09477026943546</c:v>
                </c:pt>
                <c:pt idx="23">
                  <c:v>109.94770204453772</c:v>
                </c:pt>
                <c:pt idx="24">
                  <c:v>109.80059514809906</c:v>
                </c:pt>
                <c:pt idx="25">
                  <c:v>109.65350190282821</c:v>
                </c:pt>
                <c:pt idx="26">
                  <c:v>109.50647382570055</c:v>
                </c:pt>
                <c:pt idx="27">
                  <c:v>109.35956139028286</c:v>
                </c:pt>
                <c:pt idx="28">
                  <c:v>108.97377105043446</c:v>
                </c:pt>
                <c:pt idx="29">
                  <c:v>108.42968854643115</c:v>
                </c:pt>
                <c:pt idx="30">
                  <c:v>107.88695554167957</c:v>
                </c:pt>
                <c:pt idx="31">
                  <c:v>107.34565436675661</c:v>
                </c:pt>
                <c:pt idx="32">
                  <c:v>106.80588331292169</c:v>
                </c:pt>
                <c:pt idx="33">
                  <c:v>106.26775692866022</c:v>
                </c:pt>
                <c:pt idx="34">
                  <c:v>105.7314060573932</c:v>
                </c:pt>
                <c:pt idx="35">
                  <c:v>105.19697757739553</c:v>
                </c:pt>
                <c:pt idx="36">
                  <c:v>104.66463381344819</c:v>
                </c:pt>
                <c:pt idx="37">
                  <c:v>104.13455160060934</c:v>
                </c:pt>
                <c:pt idx="38">
                  <c:v>103.60692099335597</c:v>
                </c:pt>
                <c:pt idx="39">
                  <c:v>103.08194362763385</c:v>
                </c:pt>
                <c:pt idx="40">
                  <c:v>102.55983075825775</c:v>
                </c:pt>
                <c:pt idx="41">
                  <c:v>102.04080100880681</c:v>
                </c:pt>
                <c:pt idx="42">
                  <c:v>101.52507788467813</c:v>
                </c:pt>
                <c:pt idx="43">
                  <c:v>101.01288711145389</c:v>
                </c:pt>
                <c:pt idx="44">
                  <c:v>100.50445386938016</c:v>
                </c:pt>
                <c:pt idx="45">
                  <c:v>100</c:v>
                </c:pt>
                <c:pt idx="46">
                  <c:v>99.499741262450669</c:v>
                </c:pt>
                <c:pt idx="47">
                  <c:v>99.003884714571313</c:v>
                </c:pt>
                <c:pt idx="48">
                  <c:v>98.835939380347611</c:v>
                </c:pt>
                <c:pt idx="49">
                  <c:v>98.883326836795334</c:v>
                </c:pt>
                <c:pt idx="50">
                  <c:v>98.929300690174742</c:v>
                </c:pt>
                <c:pt idx="51">
                  <c:v>98.973883188216789</c:v>
                </c:pt>
                <c:pt idx="52">
                  <c:v>99.017096311146631</c:v>
                </c:pt>
                <c:pt idx="53">
                  <c:v>99.058961770006803</c:v>
                </c:pt>
                <c:pt idx="54">
                  <c:v>99.099501005078878</c:v>
                </c:pt>
                <c:pt idx="55">
                  <c:v>99.138735184418579</c:v>
                </c:pt>
                <c:pt idx="56">
                  <c:v>99.176685202504757</c:v>
                </c:pt>
                <c:pt idx="57">
                  <c:v>99.213371679016603</c:v>
                </c:pt>
                <c:pt idx="58">
                  <c:v>99.248814957740919</c:v>
                </c:pt>
                <c:pt idx="59">
                  <c:v>99.283035105615539</c:v>
                </c:pt>
                <c:pt idx="60">
                  <c:v>99.316051911917981</c:v>
                </c:pt>
                <c:pt idx="61">
                  <c:v>99.34788488759726</c:v>
                </c:pt>
                <c:pt idx="62">
                  <c:v>99.378553264759944</c:v>
                </c:pt>
                <c:pt idx="63">
                  <c:v>99.408075996307318</c:v>
                </c:pt>
                <c:pt idx="64">
                  <c:v>99.436471755730238</c:v>
                </c:pt>
                <c:pt idx="65">
                  <c:v>99.463758937062778</c:v>
                </c:pt>
                <c:pt idx="66">
                  <c:v>99.489955654993253</c:v>
                </c:pt>
                <c:pt idx="67">
                  <c:v>99.515079745137655</c:v>
                </c:pt>
                <c:pt idx="68">
                  <c:v>99.11943594389561</c:v>
                </c:pt>
                <c:pt idx="69">
                  <c:v>98.444384039252029</c:v>
                </c:pt>
                <c:pt idx="70">
                  <c:v>97.770116279955985</c:v>
                </c:pt>
                <c:pt idx="71">
                  <c:v>97.096656032044621</c:v>
                </c:pt>
                <c:pt idx="72">
                  <c:v>96.424025149957018</c:v>
                </c:pt>
                <c:pt idx="73">
                  <c:v>95.752244564076904</c:v>
                </c:pt>
                <c:pt idx="74">
                  <c:v>95.081334862037949</c:v>
                </c:pt>
                <c:pt idx="75">
                  <c:v>94.411316858674496</c:v>
                </c:pt>
                <c:pt idx="76">
                  <c:v>93.742212149900979</c:v>
                </c:pt>
                <c:pt idx="77">
                  <c:v>93.074043646154109</c:v>
                </c:pt>
                <c:pt idx="78">
                  <c:v>92.406836081350676</c:v>
                </c:pt>
                <c:pt idx="79">
                  <c:v>91.740616493582948</c:v>
                </c:pt>
                <c:pt idx="80">
                  <c:v>91.07541467400975</c:v>
                </c:pt>
                <c:pt idx="81">
                  <c:v>90.411263580619547</c:v>
                </c:pt>
                <c:pt idx="82">
                  <c:v>89.748199713733086</c:v>
                </c:pt>
                <c:pt idx="83">
                  <c:v>89.086263450327692</c:v>
                </c:pt>
                <c:pt idx="84">
                  <c:v>88.425499334461534</c:v>
                </c:pt>
                <c:pt idx="85">
                  <c:v>87.765956321335409</c:v>
                </c:pt>
                <c:pt idx="86">
                  <c:v>87.107687972786565</c:v>
                </c:pt>
                <c:pt idx="87">
                  <c:v>86.450752602357156</c:v>
                </c:pt>
                <c:pt idx="88">
                  <c:v>86.151475647773736</c:v>
                </c:pt>
                <c:pt idx="89">
                  <c:v>86.089141113286814</c:v>
                </c:pt>
                <c:pt idx="90">
                  <c:v>86.025753259382739</c:v>
                </c:pt>
                <c:pt idx="91">
                  <c:v>85.961324263039018</c:v>
                </c:pt>
                <c:pt idx="92">
                  <c:v>85.895866202391218</c:v>
                </c:pt>
                <c:pt idx="93">
                  <c:v>85.829391059593135</c:v>
                </c:pt>
                <c:pt idx="94">
                  <c:v>85.76191072359434</c:v>
                </c:pt>
                <c:pt idx="95">
                  <c:v>85.693436992844525</c:v>
                </c:pt>
                <c:pt idx="96">
                  <c:v>85.623981577909987</c:v>
                </c:pt>
                <c:pt idx="97">
                  <c:v>85.553556104016153</c:v>
                </c:pt>
                <c:pt idx="98">
                  <c:v>85.482172113503935</c:v>
                </c:pt>
                <c:pt idx="99">
                  <c:v>85.40984106820548</c:v>
                </c:pt>
                <c:pt idx="100">
                  <c:v>85.336574351740211</c:v>
                </c:pt>
                <c:pt idx="101">
                  <c:v>85.262383271722626</c:v>
                </c:pt>
                <c:pt idx="102">
                  <c:v>85.187279061892809</c:v>
                </c:pt>
                <c:pt idx="103">
                  <c:v>85.111272884159888</c:v>
                </c:pt>
                <c:pt idx="104">
                  <c:v>85.034375830562723</c:v>
                </c:pt>
                <c:pt idx="105">
                  <c:v>84.956598925147105</c:v>
                </c:pt>
                <c:pt idx="106">
                  <c:v>84.877953125758737</c:v>
                </c:pt>
                <c:pt idx="107">
                  <c:v>84.7984493257524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D$2:$D$109</c:f>
              <c:numCache>
                <c:formatCode>General</c:formatCode>
                <c:ptCount val="108"/>
                <c:pt idx="0">
                  <c:v>62.395238655028649</c:v>
                </c:pt>
                <c:pt idx="1">
                  <c:v>63.729147430747801</c:v>
                </c:pt>
                <c:pt idx="2">
                  <c:v>65.038671118510322</c:v>
                </c:pt>
                <c:pt idx="3">
                  <c:v>66.32427777013217</c:v>
                </c:pt>
                <c:pt idx="4">
                  <c:v>67.586422289582075</c:v>
                </c:pt>
                <c:pt idx="5">
                  <c:v>68.825546961079937</c:v>
                </c:pt>
                <c:pt idx="6">
                  <c:v>70.042081961844985</c:v>
                </c:pt>
                <c:pt idx="7">
                  <c:v>71.236445859175774</c:v>
                </c:pt>
                <c:pt idx="8">
                  <c:v>72.445534951849467</c:v>
                </c:pt>
                <c:pt idx="9">
                  <c:v>73.658800288629322</c:v>
                </c:pt>
                <c:pt idx="10">
                  <c:v>74.852570649564086</c:v>
                </c:pt>
                <c:pt idx="11">
                  <c:v>76.027186102337822</c:v>
                </c:pt>
                <c:pt idx="12">
                  <c:v>77.182982812229824</c:v>
                </c:pt>
                <c:pt idx="13">
                  <c:v>78.320293265837734</c:v>
                </c:pt>
                <c:pt idx="14">
                  <c:v>79.439446444858731</c:v>
                </c:pt>
                <c:pt idx="15">
                  <c:v>80.540767952052249</c:v>
                </c:pt>
                <c:pt idx="16">
                  <c:v>81.624580092129406</c:v>
                </c:pt>
                <c:pt idx="17">
                  <c:v>82.691201910869651</c:v>
                </c:pt>
                <c:pt idx="18">
                  <c:v>83.740949196208419</c:v>
                </c:pt>
                <c:pt idx="19">
                  <c:v>84.774134445415299</c:v>
                </c:pt>
                <c:pt idx="20">
                  <c:v>85.791066802746528</c:v>
                </c:pt>
                <c:pt idx="21">
                  <c:v>86.79205197212012</c:v>
                </c:pt>
                <c:pt idx="22">
                  <c:v>87.777392109434047</c:v>
                </c:pt>
                <c:pt idx="23">
                  <c:v>88.747385699120841</c:v>
                </c:pt>
                <c:pt idx="24">
                  <c:v>89.702327419417344</c:v>
                </c:pt>
                <c:pt idx="25">
                  <c:v>90.642508000635004</c:v>
                </c:pt>
                <c:pt idx="26">
                  <c:v>91.568214080450929</c:v>
                </c:pt>
                <c:pt idx="27">
                  <c:v>92.479728059919836</c:v>
                </c:pt>
                <c:pt idx="28">
                  <c:v>93.1742123996179</c:v>
                </c:pt>
                <c:pt idx="29">
                  <c:v>93.714437767856765</c:v>
                </c:pt>
                <c:pt idx="30">
                  <c:v>94.234926082961536</c:v>
                </c:pt>
                <c:pt idx="31">
                  <c:v>94.736119996423568</c:v>
                </c:pt>
                <c:pt idx="32">
                  <c:v>95.218471466261505</c:v>
                </c:pt>
                <c:pt idx="33">
                  <c:v>95.682442863791678</c:v>
                </c:pt>
                <c:pt idx="34">
                  <c:v>96.128507836653512</c:v>
                </c:pt>
                <c:pt idx="35">
                  <c:v>96.557151876986353</c:v>
                </c:pt>
                <c:pt idx="36">
                  <c:v>96.968872549381658</c:v>
                </c:pt>
                <c:pt idx="37">
                  <c:v>97.364179341929656</c:v>
                </c:pt>
                <c:pt idx="38">
                  <c:v>97.743593115145558</c:v>
                </c:pt>
                <c:pt idx="39">
                  <c:v>98.107645137378455</c:v>
                </c:pt>
                <c:pt idx="40">
                  <c:v>98.456875710774341</c:v>
                </c:pt>
                <c:pt idx="41">
                  <c:v>98.791832408192562</c:v>
                </c:pt>
                <c:pt idx="42">
                  <c:v>99.113067957641903</c:v>
                </c:pt>
                <c:pt idx="43">
                  <c:v>99.421137825841043</c:v>
                </c:pt>
                <c:pt idx="44">
                  <c:v>99.716597565392675</c:v>
                </c:pt>
                <c:pt idx="45">
                  <c:v>100</c:v>
                </c:pt>
                <c:pt idx="46">
                  <c:v>100.27189232846598</c:v>
                </c:pt>
                <c:pt idx="47">
                  <c:v>100.53281323055181</c:v>
                </c:pt>
                <c:pt idx="48">
                  <c:v>101.1125950482829</c:v>
                </c:pt>
                <c:pt idx="49">
                  <c:v>101.90341339631009</c:v>
                </c:pt>
                <c:pt idx="50">
                  <c:v>102.68623328511876</c:v>
                </c:pt>
                <c:pt idx="51">
                  <c:v>103.46114194147087</c:v>
                </c:pt>
                <c:pt idx="52">
                  <c:v>104.22822570937088</c:v>
                </c:pt>
                <c:pt idx="53">
                  <c:v>104.98757005377522</c:v>
                </c:pt>
                <c:pt idx="54">
                  <c:v>105.73925956415347</c:v>
                </c:pt>
                <c:pt idx="55">
                  <c:v>106.48337795792833</c:v>
                </c:pt>
                <c:pt idx="56">
                  <c:v>107.22000808381247</c:v>
                </c:pt>
                <c:pt idx="57">
                  <c:v>107.94923192506749</c:v>
                </c:pt>
                <c:pt idx="58">
                  <c:v>108.67113060270512</c:v>
                </c:pt>
                <c:pt idx="59">
                  <c:v>109.38578437864632</c:v>
                </c:pt>
                <c:pt idx="60">
                  <c:v>110.09327265886488</c:v>
                </c:pt>
                <c:pt idx="61">
                  <c:v>110.79367399652457</c:v>
                </c:pt>
                <c:pt idx="62">
                  <c:v>111.48706609513556</c:v>
                </c:pt>
                <c:pt idx="63">
                  <c:v>112.17352581173854</c:v>
                </c:pt>
                <c:pt idx="64">
                  <c:v>112.85312916013588</c:v>
                </c:pt>
                <c:pt idx="65">
                  <c:v>113.52595131418389</c:v>
                </c:pt>
                <c:pt idx="66">
                  <c:v>114.19206661115567</c:v>
                </c:pt>
                <c:pt idx="67">
                  <c:v>114.85154855518962</c:v>
                </c:pt>
                <c:pt idx="68">
                  <c:v>115.01849852343855</c:v>
                </c:pt>
                <c:pt idx="69">
                  <c:v>114.84957252962174</c:v>
                </c:pt>
                <c:pt idx="70">
                  <c:v>114.66761069652608</c:v>
                </c:pt>
                <c:pt idx="71">
                  <c:v>114.47284053113343</c:v>
                </c:pt>
                <c:pt idx="72">
                  <c:v>114.26548490697132</c:v>
                </c:pt>
                <c:pt idx="73">
                  <c:v>114.045762775204</c:v>
                </c:pt>
                <c:pt idx="74">
                  <c:v>113.81388988935812</c:v>
                </c:pt>
                <c:pt idx="75">
                  <c:v>113.57007953663715</c:v>
                </c:pt>
                <c:pt idx="76">
                  <c:v>113.31454326904348</c:v>
                </c:pt>
                <c:pt idx="77">
                  <c:v>113.04749162776385</c:v>
                </c:pt>
                <c:pt idx="78">
                  <c:v>112.76913485449765</c:v>
                </c:pt>
                <c:pt idx="79">
                  <c:v>112.47968358359803</c:v>
                </c:pt>
                <c:pt idx="80">
                  <c:v>112.17934950905442</c:v>
                </c:pt>
                <c:pt idx="81">
                  <c:v>111.86834602051303</c:v>
                </c:pt>
                <c:pt idx="82">
                  <c:v>111.54688880267092</c:v>
                </c:pt>
                <c:pt idx="83">
                  <c:v>111.21519639256641</c:v>
                </c:pt>
                <c:pt idx="84">
                  <c:v>110.8734906894687</c:v>
                </c:pt>
                <c:pt idx="85">
                  <c:v>110.52199741233306</c:v>
                </c:pt>
                <c:pt idx="86">
                  <c:v>110.16094650007662</c:v>
                </c:pt>
                <c:pt idx="87">
                  <c:v>109.79057245033681</c:v>
                </c:pt>
                <c:pt idx="88">
                  <c:v>109.86529203478194</c:v>
                </c:pt>
                <c:pt idx="89">
                  <c:v>110.23640546282265</c:v>
                </c:pt>
                <c:pt idx="90">
                  <c:v>110.60181835039553</c:v>
                </c:pt>
                <c:pt idx="91">
                  <c:v>110.96158296999752</c:v>
                </c:pt>
                <c:pt idx="92">
                  <c:v>111.31575112414296</c:v>
                </c:pt>
                <c:pt idx="93">
                  <c:v>111.6643741535996</c:v>
                </c:pt>
                <c:pt idx="94">
                  <c:v>112.0075029454912</c:v>
                </c:pt>
                <c:pt idx="95">
                  <c:v>112.3451879412747</c:v>
                </c:pt>
                <c:pt idx="96">
                  <c:v>112.67747914457216</c:v>
                </c:pt>
                <c:pt idx="97">
                  <c:v>113.00442612887458</c:v>
                </c:pt>
                <c:pt idx="98">
                  <c:v>113.32607804509871</c:v>
                </c:pt>
                <c:pt idx="99">
                  <c:v>113.64248362900189</c:v>
                </c:pt>
                <c:pt idx="100">
                  <c:v>113.95369120845604</c:v>
                </c:pt>
                <c:pt idx="101">
                  <c:v>114.25974871056688</c:v>
                </c:pt>
                <c:pt idx="102">
                  <c:v>114.56070366865036</c:v>
                </c:pt>
                <c:pt idx="103">
                  <c:v>114.85660322905376</c:v>
                </c:pt>
                <c:pt idx="104">
                  <c:v>115.14749415782335</c:v>
                </c:pt>
                <c:pt idx="105">
                  <c:v>115.43342284721764</c:v>
                </c:pt>
                <c:pt idx="106">
                  <c:v>115.71443532206357</c:v>
                </c:pt>
                <c:pt idx="107">
                  <c:v>115.9905772459532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E$2:$E$109</c:f>
              <c:numCache>
                <c:formatCode>General</c:formatCode>
                <c:ptCount val="108"/>
                <c:pt idx="0">
                  <c:v>0.22071713147410357</c:v>
                </c:pt>
                <c:pt idx="1">
                  <c:v>0.22585751978891813</c:v>
                </c:pt>
                <c:pt idx="2">
                  <c:v>0.23093053735255573</c:v>
                </c:pt>
                <c:pt idx="3">
                  <c:v>0.23593749999999991</c:v>
                </c:pt>
                <c:pt idx="4">
                  <c:v>0.24087968952134547</c:v>
                </c:pt>
                <c:pt idx="5">
                  <c:v>0.245758354755784</c:v>
                </c:pt>
                <c:pt idx="6">
                  <c:v>0.25057471264367814</c:v>
                </c:pt>
                <c:pt idx="7">
                  <c:v>0.25532994923857855</c:v>
                </c:pt>
                <c:pt idx="8">
                  <c:v>0.2600252206809584</c:v>
                </c:pt>
                <c:pt idx="9">
                  <c:v>0.26466165413533838</c:v>
                </c:pt>
                <c:pt idx="10">
                  <c:v>0.26924034869240349</c:v>
                </c:pt>
                <c:pt idx="11">
                  <c:v>0.27376237623762367</c:v>
                </c:pt>
                <c:pt idx="12">
                  <c:v>0.278228782287823</c:v>
                </c:pt>
                <c:pt idx="13">
                  <c:v>0.282640586797066</c:v>
                </c:pt>
                <c:pt idx="14">
                  <c:v>0.28699878493317121</c:v>
                </c:pt>
                <c:pt idx="15">
                  <c:v>0.29130434782608677</c:v>
                </c:pt>
                <c:pt idx="16">
                  <c:v>0.29555822328931586</c:v>
                </c:pt>
                <c:pt idx="17">
                  <c:v>0.29976133651551323</c:v>
                </c:pt>
                <c:pt idx="18">
                  <c:v>0.30391459074733096</c:v>
                </c:pt>
                <c:pt idx="19">
                  <c:v>0.30801886792452826</c:v>
                </c:pt>
                <c:pt idx="20">
                  <c:v>0.31207502930832348</c:v>
                </c:pt>
                <c:pt idx="21">
                  <c:v>0.31608391608391606</c:v>
                </c:pt>
                <c:pt idx="22">
                  <c:v>0.32004634994206266</c:v>
                </c:pt>
                <c:pt idx="23">
                  <c:v>0.32396313364055279</c:v>
                </c:pt>
                <c:pt idx="24">
                  <c:v>0.3278350515463917</c:v>
                </c:pt>
                <c:pt idx="25">
                  <c:v>0.33166287015945312</c:v>
                </c:pt>
                <c:pt idx="26">
                  <c:v>0.33544733861834647</c:v>
                </c:pt>
                <c:pt idx="27">
                  <c:v>0.33918918918918911</c:v>
                </c:pt>
                <c:pt idx="28">
                  <c:v>0.34288913773796187</c:v>
                </c:pt>
                <c:pt idx="29">
                  <c:v>0.34654788418708232</c:v>
                </c:pt>
                <c:pt idx="30">
                  <c:v>0.3501661129568106</c:v>
                </c:pt>
                <c:pt idx="31">
                  <c:v>0.35374449339207042</c:v>
                </c:pt>
                <c:pt idx="32">
                  <c:v>0.35728368017524625</c:v>
                </c:pt>
                <c:pt idx="33">
                  <c:v>0.36078431372549019</c:v>
                </c:pt>
                <c:pt idx="34">
                  <c:v>0.36424702058504865</c:v>
                </c:pt>
                <c:pt idx="35">
                  <c:v>0.36767241379310339</c:v>
                </c:pt>
                <c:pt idx="36">
                  <c:v>0.3710610932475884</c:v>
                </c:pt>
                <c:pt idx="37">
                  <c:v>0.37441364605543709</c:v>
                </c:pt>
                <c:pt idx="38">
                  <c:v>0.37773064687168612</c:v>
                </c:pt>
                <c:pt idx="39">
                  <c:v>0.38101265822784808</c:v>
                </c:pt>
                <c:pt idx="40">
                  <c:v>0.38426023084994743</c:v>
                </c:pt>
                <c:pt idx="41">
                  <c:v>0.38747390396659709</c:v>
                </c:pt>
                <c:pt idx="42">
                  <c:v>0.39065420560747655</c:v>
                </c:pt>
                <c:pt idx="43">
                  <c:v>0.39380165289256203</c:v>
                </c:pt>
                <c:pt idx="44">
                  <c:v>0.39691675231243573</c:v>
                </c:pt>
                <c:pt idx="45">
                  <c:v>0.4</c:v>
                </c:pt>
                <c:pt idx="46">
                  <c:v>0.40305188199389619</c:v>
                </c:pt>
                <c:pt idx="47">
                  <c:v>0.40607287449392715</c:v>
                </c:pt>
                <c:pt idx="48">
                  <c:v>0.40906344410876122</c:v>
                </c:pt>
                <c:pt idx="49">
                  <c:v>0.41202404809619236</c:v>
                </c:pt>
                <c:pt idx="50">
                  <c:v>0.41495513459621136</c:v>
                </c:pt>
                <c:pt idx="51">
                  <c:v>0.41785714285714282</c:v>
                </c:pt>
                <c:pt idx="52">
                  <c:v>0.42073050345508395</c:v>
                </c:pt>
                <c:pt idx="53">
                  <c:v>0.42357563850687618</c:v>
                </c:pt>
                <c:pt idx="54">
                  <c:v>0.42639296187683279</c:v>
                </c:pt>
                <c:pt idx="55">
                  <c:v>0.42918287937743188</c:v>
                </c:pt>
                <c:pt idx="56">
                  <c:v>0.43194578896418201</c:v>
                </c:pt>
                <c:pt idx="57">
                  <c:v>0.43468208092485539</c:v>
                </c:pt>
                <c:pt idx="58">
                  <c:v>0.43739213806327892</c:v>
                </c:pt>
                <c:pt idx="59">
                  <c:v>0.44007633587786255</c:v>
                </c:pt>
                <c:pt idx="60">
                  <c:v>0.44273504273504272</c:v>
                </c:pt>
                <c:pt idx="61">
                  <c:v>0.44536862003780708</c:v>
                </c:pt>
                <c:pt idx="62">
                  <c:v>0.44797742238946381</c:v>
                </c:pt>
                <c:pt idx="63">
                  <c:v>0.45056179775280897</c:v>
                </c:pt>
                <c:pt idx="64">
                  <c:v>0.45312208760484624</c:v>
                </c:pt>
                <c:pt idx="65">
                  <c:v>0.45565862708719845</c:v>
                </c:pt>
                <c:pt idx="66">
                  <c:v>0.45817174515235454</c:v>
                </c:pt>
                <c:pt idx="67">
                  <c:v>0.46066176470588227</c:v>
                </c:pt>
                <c:pt idx="68">
                  <c:v>0.46312900274473928</c:v>
                </c:pt>
                <c:pt idx="69">
                  <c:v>0.46557377049180321</c:v>
                </c:pt>
                <c:pt idx="70">
                  <c:v>0.46799637352674522</c:v>
                </c:pt>
                <c:pt idx="71">
                  <c:v>0.47039711191335737</c:v>
                </c:pt>
                <c:pt idx="72">
                  <c:v>0.47277628032345009</c:v>
                </c:pt>
                <c:pt idx="73">
                  <c:v>0.47513416815742393</c:v>
                </c:pt>
                <c:pt idx="74">
                  <c:v>0.47747105966162057</c:v>
                </c:pt>
                <c:pt idx="75">
                  <c:v>0.47978723404255313</c:v>
                </c:pt>
                <c:pt idx="76">
                  <c:v>0.48208296557811114</c:v>
                </c:pt>
                <c:pt idx="77">
                  <c:v>0.48435852372583477</c:v>
                </c:pt>
                <c:pt idx="78">
                  <c:v>0.48661417322834649</c:v>
                </c:pt>
                <c:pt idx="79">
                  <c:v>0.48885017421602789</c:v>
                </c:pt>
                <c:pt idx="80">
                  <c:v>0.49106678230702505</c:v>
                </c:pt>
                <c:pt idx="81">
                  <c:v>0.49326424870466318</c:v>
                </c:pt>
                <c:pt idx="82">
                  <c:v>0.49544282029234743</c:v>
                </c:pt>
                <c:pt idx="83">
                  <c:v>0.49760273972602742</c:v>
                </c:pt>
                <c:pt idx="84">
                  <c:v>0.49974424552429664</c:v>
                </c:pt>
                <c:pt idx="85">
                  <c:v>0.50186757215619693</c:v>
                </c:pt>
                <c:pt idx="86">
                  <c:v>0.50397295012679622</c:v>
                </c:pt>
                <c:pt idx="87">
                  <c:v>0.50606060606060599</c:v>
                </c:pt>
                <c:pt idx="88">
                  <c:v>0.50813076278290026</c:v>
                </c:pt>
                <c:pt idx="89">
                  <c:v>0.51018363939899825</c:v>
                </c:pt>
                <c:pt idx="90">
                  <c:v>0.51221945137157099</c:v>
                </c:pt>
                <c:pt idx="91">
                  <c:v>0.51423841059602649</c:v>
                </c:pt>
                <c:pt idx="92">
                  <c:v>0.51624072547403133</c:v>
                </c:pt>
                <c:pt idx="93">
                  <c:v>0.51822660098522166</c:v>
                </c:pt>
                <c:pt idx="94">
                  <c:v>0.52019623875715448</c:v>
                </c:pt>
                <c:pt idx="95">
                  <c:v>0.52214983713355045</c:v>
                </c:pt>
                <c:pt idx="96">
                  <c:v>0.52408759124087589</c:v>
                </c:pt>
                <c:pt idx="97">
                  <c:v>0.52600969305331169</c:v>
                </c:pt>
                <c:pt idx="98">
                  <c:v>0.52791633145615446</c:v>
                </c:pt>
                <c:pt idx="99">
                  <c:v>0.5298076923076922</c:v>
                </c:pt>
                <c:pt idx="100">
                  <c:v>0.53168395849960104</c:v>
                </c:pt>
                <c:pt idx="101">
                  <c:v>0.53354531001589822</c:v>
                </c:pt>
                <c:pt idx="102">
                  <c:v>0.53539192399049884</c:v>
                </c:pt>
                <c:pt idx="103">
                  <c:v>0.537223974763407</c:v>
                </c:pt>
                <c:pt idx="104">
                  <c:v>0.53904163393558513</c:v>
                </c:pt>
                <c:pt idx="105">
                  <c:v>0.54084507042253516</c:v>
                </c:pt>
                <c:pt idx="106">
                  <c:v>0.54263445050662507</c:v>
                </c:pt>
                <c:pt idx="107">
                  <c:v>0.54440993788819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Canard-Duchêne Blanc Cuvée Léonie Brut 750ml (2.6%)</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Laurent-Perrier Blanc La Cuvée 750ml (2.7%)</c:v>
                </c:pt>
                <c:pt idx="8">
                  <c:v>Champagne Vranken Demoiselle Rosé Prestige 750ml (2.0%)</c:v>
                </c:pt>
                <c:pt idx="9">
                  <c:v>Champagne Ruinart Brut (étui) 750ml (1.2%)</c:v>
                </c:pt>
              </c:strCache>
            </c:strRef>
          </c:cat>
          <c:val>
            <c:numRef>
              <c:f>Sheet1!$B$2:$B$11</c:f>
              <c:numCache>
                <c:formatCode>General</c:formatCode>
                <c:ptCount val="10"/>
                <c:pt idx="0">
                  <c:v>0.111638096743325</c:v>
                </c:pt>
                <c:pt idx="1">
                  <c:v>0.10652293452550225</c:v>
                </c:pt>
                <c:pt idx="2">
                  <c:v>9.1839007668350944E-2</c:v>
                </c:pt>
                <c:pt idx="3">
                  <c:v>5.897056853874022E-2</c:v>
                </c:pt>
                <c:pt idx="4">
                  <c:v>4.3021918065177377E-2</c:v>
                </c:pt>
                <c:pt idx="5">
                  <c:v>3.0821198150964447E-2</c:v>
                </c:pt>
                <c:pt idx="6">
                  <c:v>2.8586440119588986E-2</c:v>
                </c:pt>
                <c:pt idx="7">
                  <c:v>2.5645257780874897E-2</c:v>
                </c:pt>
                <c:pt idx="8">
                  <c:v>2.5516845973785392E-2</c:v>
                </c:pt>
                <c:pt idx="9">
                  <c:v>2.520526535837812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Canard-Duchêne Blanc Cuvée Léonie Brut 750ml (2.6%)</c:v>
                </c:pt>
                <c:pt idx="2">
                  <c:v>Champagne Ruinart Brut 750ml (7.3%)</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Taittinger Prestige Brut 750ml (1.6%)</c:v>
                </c:pt>
                <c:pt idx="8">
                  <c:v>Champagne Laurent-Perrier Blanc La Cuvée 750ml (2.7%)</c:v>
                </c:pt>
                <c:pt idx="9">
                  <c:v>Champagne Vranken Demoiselle Rosé Prestige 750ml (2.0%)</c:v>
                </c:pt>
              </c:strCache>
            </c:strRef>
          </c:cat>
          <c:val>
            <c:numRef>
              <c:f>Sheet1!$B$2:$B$11</c:f>
              <c:numCache>
                <c:formatCode>General</c:formatCode>
                <c:ptCount val="10"/>
                <c:pt idx="0">
                  <c:v>0.11585435711582859</c:v>
                </c:pt>
                <c:pt idx="1">
                  <c:v>9.3598613812712811E-2</c:v>
                </c:pt>
                <c:pt idx="2">
                  <c:v>8.1105326212962556E-2</c:v>
                </c:pt>
                <c:pt idx="3">
                  <c:v>5.2984213206207213E-2</c:v>
                </c:pt>
                <c:pt idx="4">
                  <c:v>3.6806634096004216E-2</c:v>
                </c:pt>
                <c:pt idx="5">
                  <c:v>3.4470590907107669E-2</c:v>
                </c:pt>
                <c:pt idx="6">
                  <c:v>2.990786719341975E-2</c:v>
                </c:pt>
                <c:pt idx="7">
                  <c:v>2.4804240001461579E-2</c:v>
                </c:pt>
                <c:pt idx="8">
                  <c:v>2.4369944117690466E-2</c:v>
                </c:pt>
                <c:pt idx="9">
                  <c:v>2.243679351504148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B$2:$B$138</c:f>
              <c:numCache>
                <c:formatCode>General</c:formatCode>
                <c:ptCount val="137"/>
                <c:pt idx="0">
                  <c:v>147.01813075119239</c:v>
                </c:pt>
                <c:pt idx="1">
                  <c:v>145.4529884405062</c:v>
                </c:pt>
                <c:pt idx="2">
                  <c:v>143.90234349772021</c:v>
                </c:pt>
                <c:pt idx="3">
                  <c:v>142.36603660711788</c:v>
                </c:pt>
                <c:pt idx="4">
                  <c:v>140.8439144495664</c:v>
                </c:pt>
                <c:pt idx="5">
                  <c:v>139.33583038426025</c:v>
                </c:pt>
                <c:pt idx="6">
                  <c:v>137.84164508802169</c:v>
                </c:pt>
                <c:pt idx="7">
                  <c:v>136.36122714074929</c:v>
                </c:pt>
                <c:pt idx="8">
                  <c:v>134.89445354547911</c:v>
                </c:pt>
                <c:pt idx="9">
                  <c:v>133.44121017168044</c:v>
                </c:pt>
                <c:pt idx="10">
                  <c:v>132.00139211084573</c:v>
                </c:pt>
                <c:pt idx="11">
                  <c:v>130.57490393424789</c:v>
                </c:pt>
                <c:pt idx="12">
                  <c:v>129.16165984388408</c:v>
                </c:pt>
                <c:pt idx="13">
                  <c:v>127.76158370913757</c:v>
                </c:pt>
                <c:pt idx="14">
                  <c:v>126.37460898357971</c:v>
                </c:pt>
                <c:pt idx="15">
                  <c:v>125.00067849851138</c:v>
                </c:pt>
                <c:pt idx="16">
                  <c:v>123.63974413234344</c:v>
                </c:pt>
                <c:pt idx="17">
                  <c:v>122.29176635759367</c:v>
                </c:pt>
                <c:pt idx="18">
                  <c:v>120.95671367011506</c:v>
                </c:pt>
                <c:pt idx="19">
                  <c:v>119.63456190801651</c:v>
                </c:pt>
                <c:pt idx="20">
                  <c:v>118.32529347054412</c:v>
                </c:pt>
                <c:pt idx="21">
                  <c:v>117.68238129133479</c:v>
                </c:pt>
                <c:pt idx="22">
                  <c:v>117.04355537843054</c:v>
                </c:pt>
                <c:pt idx="23">
                  <c:v>116.40878986873415</c:v>
                </c:pt>
                <c:pt idx="24">
                  <c:v>115.77805918443673</c:v>
                </c:pt>
                <c:pt idx="25">
                  <c:v>115.15133802470343</c:v>
                </c:pt>
                <c:pt idx="26">
                  <c:v>114.52860135717017</c:v>
                </c:pt>
                <c:pt idx="27">
                  <c:v>113.90982440929179</c:v>
                </c:pt>
                <c:pt idx="28">
                  <c:v>113.2949826595695</c:v>
                </c:pt>
                <c:pt idx="29">
                  <c:v>112.68405182870158</c:v>
                </c:pt>
                <c:pt idx="30">
                  <c:v>112.07700787067591</c:v>
                </c:pt>
                <c:pt idx="31">
                  <c:v>111.4738269638512</c:v>
                </c:pt>
                <c:pt idx="32">
                  <c:v>110.87448550204751</c:v>
                </c:pt>
                <c:pt idx="33">
                  <c:v>110.2789600856851</c:v>
                </c:pt>
                <c:pt idx="34">
                  <c:v>109.68722751299553</c:v>
                </c:pt>
                <c:pt idx="35">
                  <c:v>109.09926477133463</c:v>
                </c:pt>
                <c:pt idx="36">
                  <c:v>108.51504902862655</c:v>
                </c:pt>
                <c:pt idx="37">
                  <c:v>107.93455762496036</c:v>
                </c:pt>
                <c:pt idx="38">
                  <c:v>107.35776806436881</c:v>
                </c:pt>
                <c:pt idx="39">
                  <c:v>106.78465800680502</c:v>
                </c:pt>
                <c:pt idx="40">
                  <c:v>106.215205260345</c:v>
                </c:pt>
                <c:pt idx="41">
                  <c:v>105.68246749882219</c:v>
                </c:pt>
                <c:pt idx="42">
                  <c:v>105.15244873952574</c:v>
                </c:pt>
                <c:pt idx="43">
                  <c:v>104.62514044879674</c:v>
                </c:pt>
                <c:pt idx="44">
                  <c:v>104.10053424433447</c:v>
                </c:pt>
                <c:pt idx="45">
                  <c:v>103.57862189065084</c:v>
                </c:pt>
                <c:pt idx="46">
                  <c:v>103.05939529431561</c:v>
                </c:pt>
                <c:pt idx="47">
                  <c:v>102.54284649899618</c:v>
                </c:pt>
                <c:pt idx="48">
                  <c:v>102.02896768030875</c:v>
                </c:pt>
                <c:pt idx="49">
                  <c:v>101.51775114049792</c:v>
                </c:pt>
                <c:pt idx="50">
                  <c:v>101.00918930295097</c:v>
                </c:pt>
                <c:pt idx="51">
                  <c:v>100.50327470656832</c:v>
                </c:pt>
                <c:pt idx="52">
                  <c:v>100</c:v>
                </c:pt>
                <c:pt idx="53">
                  <c:v>99.499357935760727</c:v>
                </c:pt>
                <c:pt idx="54">
                  <c:v>99.001341364243629</c:v>
                </c:pt>
                <c:pt idx="55">
                  <c:v>98.505943227639222</c:v>
                </c:pt>
                <c:pt idx="56">
                  <c:v>98.013156553778359</c:v>
                </c:pt>
                <c:pt idx="57">
                  <c:v>97.522974449910933</c:v>
                </c:pt>
                <c:pt idx="58">
                  <c:v>97.035390096434824</c:v>
                </c:pt>
                <c:pt idx="59">
                  <c:v>96.550396740588369</c:v>
                </c:pt>
                <c:pt idx="60">
                  <c:v>96.067987690116624</c:v>
                </c:pt>
                <c:pt idx="61">
                  <c:v>95.588156306929363</c:v>
                </c:pt>
                <c:pt idx="62">
                  <c:v>95.110896000760292</c:v>
                </c:pt>
                <c:pt idx="63">
                  <c:v>94.63620022284087</c:v>
                </c:pt>
                <c:pt idx="64">
                  <c:v>94.164062459598611</c:v>
                </c:pt>
                <c:pt idx="65">
                  <c:v>93.694476226396134</c:v>
                </c:pt>
                <c:pt idx="66">
                  <c:v>93.22743506131691</c:v>
                </c:pt>
                <c:pt idx="67">
                  <c:v>92.762932519014569</c:v>
                </c:pt>
                <c:pt idx="68">
                  <c:v>92.300962164631528</c:v>
                </c:pt>
                <c:pt idx="69">
                  <c:v>91.841517567797737</c:v>
                </c:pt>
                <c:pt idx="70">
                  <c:v>91.384592296725515</c:v>
                </c:pt>
                <c:pt idx="71">
                  <c:v>90.930179912398913</c:v>
                </c:pt>
                <c:pt idx="72">
                  <c:v>90.478273962879229</c:v>
                </c:pt>
                <c:pt idx="73">
                  <c:v>90.028867977724474</c:v>
                </c:pt>
                <c:pt idx="74">
                  <c:v>89.581955462537067</c:v>
                </c:pt>
                <c:pt idx="75">
                  <c:v>89.137529893646644</c:v>
                </c:pt>
                <c:pt idx="76">
                  <c:v>88.695584712933751</c:v>
                </c:pt>
                <c:pt idx="77">
                  <c:v>88.256113322801795</c:v>
                </c:pt>
                <c:pt idx="78">
                  <c:v>87.819109081304902</c:v>
                </c:pt>
                <c:pt idx="79">
                  <c:v>87.384565297436168</c:v>
                </c:pt>
                <c:pt idx="80">
                  <c:v>86.952475226581697</c:v>
                </c:pt>
                <c:pt idx="81">
                  <c:v>85.838870091332396</c:v>
                </c:pt>
                <c:pt idx="82">
                  <c:v>84.741708256299006</c:v>
                </c:pt>
                <c:pt idx="83">
                  <c:v>83.661035231723531</c:v>
                </c:pt>
                <c:pt idx="84">
                  <c:v>82.596880871501838</c:v>
                </c:pt>
                <c:pt idx="85">
                  <c:v>81.549258368275517</c:v>
                </c:pt>
                <c:pt idx="86">
                  <c:v>80.51816344324088</c:v>
                </c:pt>
                <c:pt idx="87">
                  <c:v>79.503573737717559</c:v>
                </c:pt>
                <c:pt idx="88">
                  <c:v>78.505448409464364</c:v>
                </c:pt>
                <c:pt idx="89">
                  <c:v>77.523727932799488</c:v>
                </c:pt>
                <c:pt idx="90">
                  <c:v>76.558334097863508</c:v>
                </c:pt>
                <c:pt idx="91">
                  <c:v>75.609170200955205</c:v>
                </c:pt>
                <c:pt idx="92">
                  <c:v>74.676121414865776</c:v>
                </c:pt>
                <c:pt idx="93">
                  <c:v>73.759055325554471</c:v>
                </c:pt>
                <c:pt idx="94">
                  <c:v>72.857822619442629</c:v>
                </c:pt>
                <c:pt idx="95">
                  <c:v>71.972257904004223</c:v>
                </c:pt>
                <c:pt idx="96">
                  <c:v>71.102180643262656</c:v>
                </c:pt>
                <c:pt idx="97">
                  <c:v>70.247396189198653</c:v>
                </c:pt>
                <c:pt idx="98">
                  <c:v>69.407696889929753</c:v>
                </c:pt>
                <c:pt idx="99">
                  <c:v>68.582863255795388</c:v>
                </c:pt>
                <c:pt idx="100">
                  <c:v>67.772665165097052</c:v>
                </c:pt>
                <c:pt idx="101">
                  <c:v>67.369940634689257</c:v>
                </c:pt>
                <c:pt idx="102">
                  <c:v>66.969445169579771</c:v>
                </c:pt>
                <c:pt idx="103">
                  <c:v>66.571170068031449</c:v>
                </c:pt>
                <c:pt idx="104">
                  <c:v>66.175106592940239</c:v>
                </c:pt>
                <c:pt idx="105">
                  <c:v>65.781245972931117</c:v>
                </c:pt>
                <c:pt idx="106">
                  <c:v>65.389579403462378</c:v>
                </c:pt>
                <c:pt idx="107">
                  <c:v>65.000098047932028</c:v>
                </c:pt>
                <c:pt idx="108">
                  <c:v>64.612793038790727</c:v>
                </c:pt>
                <c:pt idx="109">
                  <c:v>64.227655478655748</c:v>
                </c:pt>
                <c:pt idx="110">
                  <c:v>63.844676441429783</c:v>
                </c:pt>
                <c:pt idx="111">
                  <c:v>63.463846973419372</c:v>
                </c:pt>
                <c:pt idx="112">
                  <c:v>63.085158094456915</c:v>
                </c:pt>
                <c:pt idx="113">
                  <c:v>62.708600799020097</c:v>
                </c:pt>
                <c:pt idx="114">
                  <c:v>62.334166057354338</c:v>
                </c:pt>
                <c:pt idx="115">
                  <c:v>61.961844816591885</c:v>
                </c:pt>
                <c:pt idx="116">
                  <c:v>61.591628001869971</c:v>
                </c:pt>
                <c:pt idx="117">
                  <c:v>61.223506517446538</c:v>
                </c:pt>
                <c:pt idx="118">
                  <c:v>60.857471247813834</c:v>
                </c:pt>
                <c:pt idx="119">
                  <c:v>60.493513058806535</c:v>
                </c:pt>
                <c:pt idx="120">
                  <c:v>60.131622798707632</c:v>
                </c:pt>
                <c:pt idx="121">
                  <c:v>59.771791299347576</c:v>
                </c:pt>
                <c:pt idx="122">
                  <c:v>59.414009377199129</c:v>
                </c:pt>
                <c:pt idx="123">
                  <c:v>59.058267834466847</c:v>
                </c:pt>
                <c:pt idx="124">
                  <c:v>58.704557460166704</c:v>
                </c:pt>
                <c:pt idx="125">
                  <c:v>58.352869031202829</c:v>
                </c:pt>
                <c:pt idx="126">
                  <c:v>58.003193313433457</c:v>
                </c:pt>
                <c:pt idx="127">
                  <c:v>57.655521062729939</c:v>
                </c:pt>
                <c:pt idx="128">
                  <c:v>57.30984302602635</c:v>
                </c:pt>
                <c:pt idx="129">
                  <c:v>56.966149942361234</c:v>
                </c:pt>
                <c:pt idx="130">
                  <c:v>56.624432543908142</c:v>
                </c:pt>
                <c:pt idx="131">
                  <c:v>56.284681556997626</c:v>
                </c:pt>
                <c:pt idx="132">
                  <c:v>55.946887703127388</c:v>
                </c:pt>
                <c:pt idx="133">
                  <c:v>55.611041699963174</c:v>
                </c:pt>
                <c:pt idx="134">
                  <c:v>55.277134262326769</c:v>
                </c:pt>
                <c:pt idx="135">
                  <c:v>54.945156103174121</c:v>
                </c:pt>
                <c:pt idx="136">
                  <c:v>54.6150979345610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C$2:$C$138</c:f>
              <c:numCache>
                <c:formatCode>General</c:formatCode>
                <c:ptCount val="137"/>
                <c:pt idx="0">
                  <c:v>119.50706326764356</c:v>
                </c:pt>
                <c:pt idx="1">
                  <c:v>118.75356205208847</c:v>
                </c:pt>
                <c:pt idx="2">
                  <c:v>118.00094695632049</c:v>
                </c:pt>
                <c:pt idx="3">
                  <c:v>117.24923705834294</c:v>
                </c:pt>
                <c:pt idx="4">
                  <c:v>116.49845420341887</c:v>
                </c:pt>
                <c:pt idx="5">
                  <c:v>115.74862367782895</c:v>
                </c:pt>
                <c:pt idx="6">
                  <c:v>114.99977486129571</c:v>
                </c:pt>
                <c:pt idx="7">
                  <c:v>114.25194184746708</c:v>
                </c:pt>
                <c:pt idx="8">
                  <c:v>113.50516402142794</c:v>
                </c:pt>
                <c:pt idx="9">
                  <c:v>112.75948658301655</c:v>
                </c:pt>
                <c:pt idx="10">
                  <c:v>112.01496100477696</c:v>
                </c:pt>
                <c:pt idx="11">
                  <c:v>111.27164541376749</c:v>
                </c:pt>
                <c:pt idx="12">
                  <c:v>110.52960488714243</c:v>
                </c:pt>
                <c:pt idx="13">
                  <c:v>109.78891165247634</c:v>
                </c:pt>
                <c:pt idx="14">
                  <c:v>109.04964518522561</c:v>
                </c:pt>
                <c:pt idx="15">
                  <c:v>108.31189219745004</c:v>
                </c:pt>
                <c:pt idx="16">
                  <c:v>107.57574651400981</c:v>
                </c:pt>
                <c:pt idx="17">
                  <c:v>106.84130883475834</c:v>
                </c:pt>
                <c:pt idx="18">
                  <c:v>106.10868638380492</c:v>
                </c:pt>
                <c:pt idx="19">
                  <c:v>105.37799244954695</c:v>
                </c:pt>
                <c:pt idx="20">
                  <c:v>104.64934582187723</c:v>
                </c:pt>
                <c:pt idx="21">
                  <c:v>104.50527153699906</c:v>
                </c:pt>
                <c:pt idx="22">
                  <c:v>104.36022108635396</c:v>
                </c:pt>
                <c:pt idx="23">
                  <c:v>104.2142156499516</c:v>
                </c:pt>
                <c:pt idx="24">
                  <c:v>104.06727627754056</c:v>
                </c:pt>
                <c:pt idx="25">
                  <c:v>103.91942388659339</c:v>
                </c:pt>
                <c:pt idx="26">
                  <c:v>103.77067925993539</c:v>
                </c:pt>
                <c:pt idx="27">
                  <c:v>103.62106304304635</c:v>
                </c:pt>
                <c:pt idx="28">
                  <c:v>103.47059574106139</c:v>
                </c:pt>
                <c:pt idx="29">
                  <c:v>103.31929771550456</c:v>
                </c:pt>
                <c:pt idx="30">
                  <c:v>103.1671891807745</c:v>
                </c:pt>
                <c:pt idx="31">
                  <c:v>103.01429020042153</c:v>
                </c:pt>
                <c:pt idx="32">
                  <c:v>102.86062068323739</c:v>
                </c:pt>
                <c:pt idx="33">
                  <c:v>102.70620037919267</c:v>
                </c:pt>
                <c:pt idx="34">
                  <c:v>102.55104887524769</c:v>
                </c:pt>
                <c:pt idx="35">
                  <c:v>102.39518559106462</c:v>
                </c:pt>
                <c:pt idx="36">
                  <c:v>102.23862977465355</c:v>
                </c:pt>
                <c:pt idx="37">
                  <c:v>102.08140049797356</c:v>
                </c:pt>
                <c:pt idx="38">
                  <c:v>101.92351665252353</c:v>
                </c:pt>
                <c:pt idx="39">
                  <c:v>101.76499694494008</c:v>
                </c:pt>
                <c:pt idx="40">
                  <c:v>101.6058598926361</c:v>
                </c:pt>
                <c:pt idx="41">
                  <c:v>101.47832560786259</c:v>
                </c:pt>
                <c:pt idx="42">
                  <c:v>101.34957697536795</c:v>
                </c:pt>
                <c:pt idx="43">
                  <c:v>101.21963533232825</c:v>
                </c:pt>
                <c:pt idx="44">
                  <c:v>101.08852202748962</c:v>
                </c:pt>
                <c:pt idx="45">
                  <c:v>100.95625841971223</c:v>
                </c:pt>
                <c:pt idx="46">
                  <c:v>100.82286587620848</c:v>
                </c:pt>
                <c:pt idx="47">
                  <c:v>100.68836577047688</c:v>
                </c:pt>
                <c:pt idx="48">
                  <c:v>100.55277947994139</c:v>
                </c:pt>
                <c:pt idx="49">
                  <c:v>100.41612838331</c:v>
                </c:pt>
                <c:pt idx="50">
                  <c:v>100.27843385765316</c:v>
                </c:pt>
                <c:pt idx="51">
                  <c:v>100.13971727522039</c:v>
                </c:pt>
                <c:pt idx="52">
                  <c:v>100</c:v>
                </c:pt>
                <c:pt idx="53">
                  <c:v>99.859303384033382</c:v>
                </c:pt>
                <c:pt idx="54">
                  <c:v>99.717648763498502</c:v>
                </c:pt>
                <c:pt idx="55">
                  <c:v>99.575057454568764</c:v>
                </c:pt>
                <c:pt idx="56">
                  <c:v>99.431550749062509</c:v>
                </c:pt>
                <c:pt idx="57">
                  <c:v>99.287149909894197</c:v>
                </c:pt>
                <c:pt idx="58">
                  <c:v>99.141876166339543</c:v>
                </c:pt>
                <c:pt idx="59">
                  <c:v>98.995750709127208</c:v>
                </c:pt>
                <c:pt idx="60">
                  <c:v>98.848794685367537</c:v>
                </c:pt>
                <c:pt idx="61">
                  <c:v>98.701029193334591</c:v>
                </c:pt>
                <c:pt idx="62">
                  <c:v>98.552475277111824</c:v>
                </c:pt>
                <c:pt idx="63">
                  <c:v>98.403153921115674</c:v>
                </c:pt>
                <c:pt idx="64">
                  <c:v>98.253086044507043</c:v>
                </c:pt>
                <c:pt idx="65">
                  <c:v>98.102292495507911</c:v>
                </c:pt>
                <c:pt idx="66">
                  <c:v>97.950794045631312</c:v>
                </c:pt>
                <c:pt idx="67">
                  <c:v>97.798611383842839</c:v>
                </c:pt>
                <c:pt idx="68">
                  <c:v>97.645765110660705</c:v>
                </c:pt>
                <c:pt idx="69">
                  <c:v>97.492275732208796</c:v>
                </c:pt>
                <c:pt idx="70">
                  <c:v>97.338163654240901</c:v>
                </c:pt>
                <c:pt idx="71">
                  <c:v>97.183449176136008</c:v>
                </c:pt>
                <c:pt idx="72">
                  <c:v>97.028152484891251</c:v>
                </c:pt>
                <c:pt idx="73">
                  <c:v>96.872293649112862</c:v>
                </c:pt>
                <c:pt idx="74">
                  <c:v>96.71589261302222</c:v>
                </c:pt>
                <c:pt idx="75">
                  <c:v>96.558969190489179</c:v>
                </c:pt>
                <c:pt idx="76">
                  <c:v>96.401543059100064</c:v>
                </c:pt>
                <c:pt idx="77">
                  <c:v>96.243633754274228</c:v>
                </c:pt>
                <c:pt idx="78">
                  <c:v>96.085260663439158</c:v>
                </c:pt>
                <c:pt idx="79">
                  <c:v>95.926443020274021</c:v>
                </c:pt>
                <c:pt idx="80">
                  <c:v>95.767199899031041</c:v>
                </c:pt>
                <c:pt idx="81">
                  <c:v>94.852188973760647</c:v>
                </c:pt>
                <c:pt idx="82">
                  <c:v>93.947438167476392</c:v>
                </c:pt>
                <c:pt idx="83">
                  <c:v>93.053170406948198</c:v>
                </c:pt>
                <c:pt idx="84">
                  <c:v>92.169592020050302</c:v>
                </c:pt>
                <c:pt idx="85">
                  <c:v>91.296891331858959</c:v>
                </c:pt>
                <c:pt idx="86">
                  <c:v>90.435237456931702</c:v>
                </c:pt>
                <c:pt idx="87">
                  <c:v>89.584779300546799</c:v>
                </c:pt>
                <c:pt idx="88">
                  <c:v>88.745644777327215</c:v>
                </c:pt>
                <c:pt idx="89">
                  <c:v>87.917940251314064</c:v>
                </c:pt>
                <c:pt idx="90">
                  <c:v>87.101750197321977</c:v>
                </c:pt>
                <c:pt idx="91">
                  <c:v>86.297137079400059</c:v>
                </c:pt>
                <c:pt idx="92">
                  <c:v>85.504141438565057</c:v>
                </c:pt>
                <c:pt idx="93">
                  <c:v>84.722782178708371</c:v>
                </c:pt>
                <c:pt idx="94">
                  <c:v>83.953057036811813</c:v>
                </c:pt>
                <c:pt idx="95">
                  <c:v>83.194943221322049</c:v>
                </c:pt>
                <c:pt idx="96">
                  <c:v>82.448398200801549</c:v>
                </c:pt>
                <c:pt idx="97">
                  <c:v>81.713360623747079</c:v>
                </c:pt>
                <c:pt idx="98">
                  <c:v>80.989751349757469</c:v>
                </c:pt>
                <c:pt idx="99">
                  <c:v>80.277474571998098</c:v>
                </c:pt>
                <c:pt idx="100">
                  <c:v>79.576419011092227</c:v>
                </c:pt>
                <c:pt idx="101">
                  <c:v>79.348155248584462</c:v>
                </c:pt>
                <c:pt idx="102">
                  <c:v>79.11962663062323</c:v>
                </c:pt>
                <c:pt idx="103">
                  <c:v>78.890846698359795</c:v>
                </c:pt>
                <c:pt idx="104">
                  <c:v>78.661828825780773</c:v>
                </c:pt>
                <c:pt idx="105">
                  <c:v>78.432586220486101</c:v>
                </c:pt>
                <c:pt idx="106">
                  <c:v>78.203131924497157</c:v>
                </c:pt>
                <c:pt idx="107">
                  <c:v>77.973478815088811</c:v>
                </c:pt>
                <c:pt idx="108">
                  <c:v>77.743639605648724</c:v>
                </c:pt>
                <c:pt idx="109">
                  <c:v>77.513626846559319</c:v>
                </c:pt>
                <c:pt idx="110">
                  <c:v>77.283452926106506</c:v>
                </c:pt>
                <c:pt idx="111">
                  <c:v>77.053130071408475</c:v>
                </c:pt>
                <c:pt idx="112">
                  <c:v>76.82267034937054</c:v>
                </c:pt>
                <c:pt idx="113">
                  <c:v>76.59208566765696</c:v>
                </c:pt>
                <c:pt idx="114">
                  <c:v>76.361387775688996</c:v>
                </c:pt>
                <c:pt idx="115">
                  <c:v>76.130588265658986</c:v>
                </c:pt>
                <c:pt idx="116">
                  <c:v>75.899698573565018</c:v>
                </c:pt>
                <c:pt idx="117">
                  <c:v>75.668729980264089</c:v>
                </c:pt>
                <c:pt idx="118">
                  <c:v>75.437693612543285</c:v>
                </c:pt>
                <c:pt idx="119">
                  <c:v>75.206600444206529</c:v>
                </c:pt>
                <c:pt idx="120">
                  <c:v>74.975461297178384</c:v>
                </c:pt>
                <c:pt idx="121">
                  <c:v>74.744286842622159</c:v>
                </c:pt>
                <c:pt idx="122">
                  <c:v>74.513087602072588</c:v>
                </c:pt>
                <c:pt idx="123">
                  <c:v>74.281873948583808</c:v>
                </c:pt>
                <c:pt idx="124">
                  <c:v>74.050656107885203</c:v>
                </c:pt>
                <c:pt idx="125">
                  <c:v>73.819444159555175</c:v>
                </c:pt>
                <c:pt idx="126">
                  <c:v>73.588248038201812</c:v>
                </c:pt>
                <c:pt idx="127">
                  <c:v>73.357077534655318</c:v>
                </c:pt>
                <c:pt idx="128">
                  <c:v>73.125942297169019</c:v>
                </c:pt>
                <c:pt idx="129">
                  <c:v>72.894851832631758</c:v>
                </c:pt>
                <c:pt idx="130">
                  <c:v>72.663815507784761</c:v>
                </c:pt>
                <c:pt idx="131">
                  <c:v>72.432842550448683</c:v>
                </c:pt>
                <c:pt idx="132">
                  <c:v>72.201942050755321</c:v>
                </c:pt>
                <c:pt idx="133">
                  <c:v>71.971122962386474</c:v>
                </c:pt>
                <c:pt idx="134">
                  <c:v>71.740394103817025</c:v>
                </c:pt>
                <c:pt idx="135">
                  <c:v>71.509764159563261</c:v>
                </c:pt>
                <c:pt idx="136">
                  <c:v>71.2792416814353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D$2:$D$138</c:f>
              <c:numCache>
                <c:formatCode>General</c:formatCode>
                <c:ptCount val="137"/>
                <c:pt idx="0">
                  <c:v>76.231623352470223</c:v>
                </c:pt>
                <c:pt idx="1">
                  <c:v>76.766855010267207</c:v>
                </c:pt>
                <c:pt idx="2">
                  <c:v>77.280888174701573</c:v>
                </c:pt>
                <c:pt idx="3">
                  <c:v>77.774038516851434</c:v>
                </c:pt>
                <c:pt idx="4">
                  <c:v>78.246619138648029</c:v>
                </c:pt>
                <c:pt idx="5">
                  <c:v>78.698941235554415</c:v>
                </c:pt>
                <c:pt idx="6">
                  <c:v>79.131314772753214</c:v>
                </c:pt>
                <c:pt idx="7">
                  <c:v>79.544049165437045</c:v>
                </c:pt>
                <c:pt idx="8">
                  <c:v>79.937453952876524</c:v>
                </c:pt>
                <c:pt idx="9">
                  <c:v>80.311839455178102</c:v>
                </c:pt>
                <c:pt idx="10">
                  <c:v>80.667517401072459</c:v>
                </c:pt>
                <c:pt idx="11">
                  <c:v>81.004801514764907</c:v>
                </c:pt>
                <c:pt idx="12">
                  <c:v>81.324008049853006</c:v>
                </c:pt>
                <c:pt idx="13">
                  <c:v>81.625456258615728</c:v>
                </c:pt>
                <c:pt idx="14">
                  <c:v>81.90946878565353</c:v>
                </c:pt>
                <c:pt idx="15">
                  <c:v>82.176371975873224</c:v>
                </c:pt>
                <c:pt idx="16">
                  <c:v>82.426496088229072</c:v>
                </c:pt>
                <c:pt idx="17">
                  <c:v>82.660175408373533</c:v>
                </c:pt>
                <c:pt idx="18">
                  <c:v>82.877748255449291</c:v>
                </c:pt>
                <c:pt idx="19">
                  <c:v>83.079556880567054</c:v>
                </c:pt>
                <c:pt idx="20">
                  <c:v>83.265947257049604</c:v>
                </c:pt>
                <c:pt idx="21">
                  <c:v>83.903179254007213</c:v>
                </c:pt>
                <c:pt idx="22">
                  <c:v>84.531456662199858</c:v>
                </c:pt>
                <c:pt idx="23">
                  <c:v>85.150874070648115</c:v>
                </c:pt>
                <c:pt idx="24">
                  <c:v>85.761525321805067</c:v>
                </c:pt>
                <c:pt idx="25">
                  <c:v>86.363503518527665</c:v>
                </c:pt>
                <c:pt idx="26">
                  <c:v>86.956901030444044</c:v>
                </c:pt>
                <c:pt idx="27">
                  <c:v>87.541809499733375</c:v>
                </c:pt>
                <c:pt idx="28">
                  <c:v>88.1183198463319</c:v>
                </c:pt>
                <c:pt idx="29">
                  <c:v>88.686522272589258</c:v>
                </c:pt>
                <c:pt idx="30">
                  <c:v>89.246506267390131</c:v>
                </c:pt>
                <c:pt idx="31">
                  <c:v>89.798360609769063</c:v>
                </c:pt>
                <c:pt idx="32">
                  <c:v>90.342173372038729</c:v>
                </c:pt>
                <c:pt idx="33">
                  <c:v>90.878031922462696</c:v>
                </c:pt>
                <c:pt idx="34">
                  <c:v>91.406022927496309</c:v>
                </c:pt>
                <c:pt idx="35">
                  <c:v>91.926232353624485</c:v>
                </c:pt>
                <c:pt idx="36">
                  <c:v>92.438745468830092</c:v>
                </c:pt>
                <c:pt idx="37">
                  <c:v>92.943646843715854</c:v>
                </c:pt>
                <c:pt idx="38">
                  <c:v>93.441020352321033</c:v>
                </c:pt>
                <c:pt idx="39">
                  <c:v>93.930949172652561</c:v>
                </c:pt>
                <c:pt idx="40">
                  <c:v>94.413515786973306</c:v>
                </c:pt>
                <c:pt idx="41">
                  <c:v>94.918512475794046</c:v>
                </c:pt>
                <c:pt idx="42">
                  <c:v>95.416110893273313</c:v>
                </c:pt>
                <c:pt idx="43">
                  <c:v>95.906378744730375</c:v>
                </c:pt>
                <c:pt idx="44">
                  <c:v>96.389383559568998</c:v>
                </c:pt>
                <c:pt idx="45">
                  <c:v>96.865192694034633</c:v>
                </c:pt>
                <c:pt idx="46">
                  <c:v>97.333873333520373</c:v>
                </c:pt>
                <c:pt idx="47">
                  <c:v>97.795492494413054</c:v>
                </c:pt>
                <c:pt idx="48">
                  <c:v>98.250117025482538</c:v>
                </c:pt>
                <c:pt idx="49">
                  <c:v>98.697813608817555</c:v>
                </c:pt>
                <c:pt idx="50">
                  <c:v>99.138648760303724</c:v>
                </c:pt>
                <c:pt idx="51">
                  <c:v>99.572688829655704</c:v>
                </c:pt>
                <c:pt idx="52">
                  <c:v>100</c:v>
                </c:pt>
                <c:pt idx="53">
                  <c:v>100.4206482870178</c:v>
                </c:pt>
                <c:pt idx="54">
                  <c:v>100.83469953765558</c:v>
                </c:pt>
                <c:pt idx="55">
                  <c:v>101.24221942840698</c:v>
                </c:pt>
                <c:pt idx="56">
                  <c:v>101.64327346317754</c:v>
                </c:pt>
                <c:pt idx="57">
                  <c:v>102.03792697074014</c:v>
                </c:pt>
                <c:pt idx="58">
                  <c:v>102.42624510179235</c:v>
                </c:pt>
                <c:pt idx="59">
                  <c:v>102.80829282562655</c:v>
                </c:pt>
                <c:pt idx="60">
                  <c:v>103.18413492642154</c:v>
                </c:pt>
                <c:pt idx="61">
                  <c:v>103.55383599917359</c:v>
                </c:pt>
                <c:pt idx="62">
                  <c:v>103.91746044527514</c:v>
                </c:pt>
                <c:pt idx="63">
                  <c:v>104.27507246775984</c:v>
                </c:pt>
                <c:pt idx="64">
                  <c:v>104.6267360662207</c:v>
                </c:pt>
                <c:pt idx="65">
                  <c:v>104.9725150314253</c:v>
                </c:pt>
                <c:pt idx="66">
                  <c:v>105.31247293963573</c:v>
                </c:pt>
                <c:pt idx="67">
                  <c:v>105.6466731466555</c:v>
                </c:pt>
                <c:pt idx="68">
                  <c:v>105.97517878161405</c:v>
                </c:pt>
                <c:pt idx="69">
                  <c:v>106.29805274050671</c:v>
                </c:pt>
                <c:pt idx="70">
                  <c:v>106.61535767951311</c:v>
                </c:pt>
                <c:pt idx="71">
                  <c:v>106.92715600809881</c:v>
                </c:pt>
                <c:pt idx="72">
                  <c:v>107.23350988193101</c:v>
                </c:pt>
                <c:pt idx="73">
                  <c:v>107.53448119561537</c:v>
                </c:pt>
                <c:pt idx="74">
                  <c:v>107.83013157527613</c:v>
                </c:pt>
                <c:pt idx="75">
                  <c:v>108.12052237099732</c:v>
                </c:pt>
                <c:pt idx="76">
                  <c:v>108.40571464914126</c:v>
                </c:pt>
                <c:pt idx="77">
                  <c:v>108.68576918456145</c:v>
                </c:pt>
                <c:pt idx="78">
                  <c:v>108.96074645273015</c:v>
                </c:pt>
                <c:pt idx="79">
                  <c:v>109.23070662179524</c:v>
                </c:pt>
                <c:pt idx="80">
                  <c:v>109.49570954458439</c:v>
                </c:pt>
                <c:pt idx="81">
                  <c:v>108.88819631956056</c:v>
                </c:pt>
                <c:pt idx="82">
                  <c:v>108.28107166082661</c:v>
                </c:pt>
                <c:pt idx="83">
                  <c:v>107.67485090008859</c:v>
                </c:pt>
                <c:pt idx="84">
                  <c:v>107.0700307593542</c:v>
                </c:pt>
                <c:pt idx="85">
                  <c:v>106.4670873141375</c:v>
                </c:pt>
                <c:pt idx="86">
                  <c:v>105.86647415685377</c:v>
                </c:pt>
                <c:pt idx="87">
                  <c:v>105.26862078234825</c:v>
                </c:pt>
                <c:pt idx="88">
                  <c:v>104.67393121261917</c:v>
                </c:pt>
                <c:pt idx="89">
                  <c:v>104.08278287274008</c:v>
                </c:pt>
                <c:pt idx="90">
                  <c:v>103.49552572488956</c:v>
                </c:pt>
                <c:pt idx="91">
                  <c:v>102.91248166241134</c:v>
                </c:pt>
                <c:pt idx="92">
                  <c:v>102.33394416111241</c:v>
                </c:pt>
                <c:pt idx="93">
                  <c:v>101.7601781806262</c:v>
                </c:pt>
                <c:pt idx="94">
                  <c:v>101.19142030478142</c:v>
                </c:pt>
                <c:pt idx="95">
                  <c:v>100.6278791065244</c:v>
                </c:pt>
                <c:pt idx="96">
                  <c:v>100.06973572014746</c:v>
                </c:pt>
                <c:pt idx="97">
                  <c:v>99.517144601364791</c:v>
                </c:pt>
                <c:pt idx="98">
                  <c:v>98.97023445415914</c:v>
                </c:pt>
                <c:pt idx="99">
                  <c:v>98.429109302298983</c:v>
                </c:pt>
                <c:pt idx="100">
                  <c:v>97.89384968291796</c:v>
                </c:pt>
                <c:pt idx="101">
                  <c:v>97.935932218946476</c:v>
                </c:pt>
                <c:pt idx="102">
                  <c:v>97.973817933274177</c:v>
                </c:pt>
                <c:pt idx="103">
                  <c:v>98.007555933490792</c:v>
                </c:pt>
                <c:pt idx="104">
                  <c:v>98.037194952504052</c:v>
                </c:pt>
                <c:pt idx="105">
                  <c:v>98.062783348536243</c:v>
                </c:pt>
                <c:pt idx="106">
                  <c:v>98.084369105193588</c:v>
                </c:pt>
                <c:pt idx="107">
                  <c:v>98.10199983160112</c:v>
                </c:pt>
                <c:pt idx="108">
                  <c:v>98.115722762608158</c:v>
                </c:pt>
                <c:pt idx="109">
                  <c:v>98.125584759057404</c:v>
                </c:pt>
                <c:pt idx="110">
                  <c:v>98.131632308123613</c:v>
                </c:pt>
                <c:pt idx="111">
                  <c:v>98.133911523713252</c:v>
                </c:pt>
                <c:pt idx="112">
                  <c:v>98.132468146932951</c:v>
                </c:pt>
                <c:pt idx="113">
                  <c:v>98.127347546614743</c:v>
                </c:pt>
                <c:pt idx="114">
                  <c:v>98.118594719909638</c:v>
                </c:pt>
                <c:pt idx="115">
                  <c:v>98.106254292937166</c:v>
                </c:pt>
                <c:pt idx="116">
                  <c:v>98.090370521496638</c:v>
                </c:pt>
                <c:pt idx="117">
                  <c:v>98.070987291835692</c:v>
                </c:pt>
                <c:pt idx="118">
                  <c:v>98.04814812147788</c:v>
                </c:pt>
                <c:pt idx="119">
                  <c:v>98.021896160103168</c:v>
                </c:pt>
                <c:pt idx="120">
                  <c:v>97.992274190486512</c:v>
                </c:pt>
                <c:pt idx="121">
                  <c:v>97.959324629486304</c:v>
                </c:pt>
                <c:pt idx="122">
                  <c:v>97.923089529087477</c:v>
                </c:pt>
                <c:pt idx="123">
                  <c:v>97.883610577495986</c:v>
                </c:pt>
                <c:pt idx="124">
                  <c:v>97.840929100277819</c:v>
                </c:pt>
                <c:pt idx="125">
                  <c:v>97.795086061552979</c:v>
                </c:pt>
                <c:pt idx="126">
                  <c:v>97.746122065230466</c:v>
                </c:pt>
                <c:pt idx="127">
                  <c:v>97.694077356292453</c:v>
                </c:pt>
                <c:pt idx="128">
                  <c:v>97.638991822118967</c:v>
                </c:pt>
                <c:pt idx="129">
                  <c:v>97.580904993859548</c:v>
                </c:pt>
                <c:pt idx="130">
                  <c:v>97.519856047841785</c:v>
                </c:pt>
                <c:pt idx="131">
                  <c:v>97.455883807023625</c:v>
                </c:pt>
                <c:pt idx="132">
                  <c:v>97.38902674248105</c:v>
                </c:pt>
                <c:pt idx="133">
                  <c:v>97.31932297493556</c:v>
                </c:pt>
                <c:pt idx="134">
                  <c:v>97.246810276315685</c:v>
                </c:pt>
                <c:pt idx="135">
                  <c:v>97.171526071354165</c:v>
                </c:pt>
                <c:pt idx="136">
                  <c:v>97.09350743921969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E$2:$E$138</c:f>
              <c:numCache>
                <c:formatCode>General</c:formatCode>
                <c:ptCount val="137"/>
                <c:pt idx="0">
                  <c:v>0.25688073394495425</c:v>
                </c:pt>
                <c:pt idx="1">
                  <c:v>0.26027397260273982</c:v>
                </c:pt>
                <c:pt idx="2">
                  <c:v>0.26363636363636367</c:v>
                </c:pt>
                <c:pt idx="3">
                  <c:v>0.26696832579185525</c:v>
                </c:pt>
                <c:pt idx="4">
                  <c:v>0.2702702702702704</c:v>
                </c:pt>
                <c:pt idx="5">
                  <c:v>0.27354260089686117</c:v>
                </c:pt>
                <c:pt idx="6">
                  <c:v>0.27678571428571441</c:v>
                </c:pt>
                <c:pt idx="7">
                  <c:v>0.28000000000000003</c:v>
                </c:pt>
                <c:pt idx="8">
                  <c:v>0.28318584070796471</c:v>
                </c:pt>
                <c:pt idx="9">
                  <c:v>0.28634361233480188</c:v>
                </c:pt>
                <c:pt idx="10">
                  <c:v>0.28947368421052644</c:v>
                </c:pt>
                <c:pt idx="11">
                  <c:v>0.29257641921397387</c:v>
                </c:pt>
                <c:pt idx="12">
                  <c:v>0.2956521739130436</c:v>
                </c:pt>
                <c:pt idx="13">
                  <c:v>0.29870129870129886</c:v>
                </c:pt>
                <c:pt idx="14">
                  <c:v>0.30172413793103453</c:v>
                </c:pt>
                <c:pt idx="15">
                  <c:v>0.30472103004291856</c:v>
                </c:pt>
                <c:pt idx="16">
                  <c:v>0.30769230769230782</c:v>
                </c:pt>
                <c:pt idx="17">
                  <c:v>0.31063829787234054</c:v>
                </c:pt>
                <c:pt idx="18">
                  <c:v>0.3135593220338983</c:v>
                </c:pt>
                <c:pt idx="19">
                  <c:v>0.31645569620253172</c:v>
                </c:pt>
                <c:pt idx="20">
                  <c:v>0.31932773109243706</c:v>
                </c:pt>
                <c:pt idx="21">
                  <c:v>0.32217573221757323</c:v>
                </c:pt>
                <c:pt idx="22">
                  <c:v>0.32500000000000001</c:v>
                </c:pt>
                <c:pt idx="23">
                  <c:v>0.32780082987551878</c:v>
                </c:pt>
                <c:pt idx="24">
                  <c:v>0.33057851239669434</c:v>
                </c:pt>
                <c:pt idx="25">
                  <c:v>0.33333333333333365</c:v>
                </c:pt>
                <c:pt idx="26">
                  <c:v>0.33606557377049195</c:v>
                </c:pt>
                <c:pt idx="27">
                  <c:v>0.33877551020408153</c:v>
                </c:pt>
                <c:pt idx="28">
                  <c:v>0.34146341463414659</c:v>
                </c:pt>
                <c:pt idx="29">
                  <c:v>0.34412955465587058</c:v>
                </c:pt>
                <c:pt idx="30">
                  <c:v>0.34677419354838723</c:v>
                </c:pt>
                <c:pt idx="31">
                  <c:v>0.34939759036144591</c:v>
                </c:pt>
                <c:pt idx="32">
                  <c:v>0.35200000000000015</c:v>
                </c:pt>
                <c:pt idx="33">
                  <c:v>0.35458167330677298</c:v>
                </c:pt>
                <c:pt idx="34">
                  <c:v>0.35714285714285715</c:v>
                </c:pt>
                <c:pt idx="35">
                  <c:v>0.35968379446640308</c:v>
                </c:pt>
                <c:pt idx="36">
                  <c:v>0.3622047244094489</c:v>
                </c:pt>
                <c:pt idx="37">
                  <c:v>0.36470588235294127</c:v>
                </c:pt>
                <c:pt idx="38">
                  <c:v>0.36718750000000011</c:v>
                </c:pt>
                <c:pt idx="39">
                  <c:v>0.36964980544747084</c:v>
                </c:pt>
                <c:pt idx="40">
                  <c:v>0.37209302325581406</c:v>
                </c:pt>
                <c:pt idx="41">
                  <c:v>0.37451737451737466</c:v>
                </c:pt>
                <c:pt idx="42">
                  <c:v>0.37692307692307703</c:v>
                </c:pt>
                <c:pt idx="43">
                  <c:v>0.37931034482758613</c:v>
                </c:pt>
                <c:pt idx="44">
                  <c:v>0.38167938931297718</c:v>
                </c:pt>
                <c:pt idx="45">
                  <c:v>0.38403041825095063</c:v>
                </c:pt>
                <c:pt idx="46">
                  <c:v>0.38636363636363652</c:v>
                </c:pt>
                <c:pt idx="47">
                  <c:v>0.38867924528301895</c:v>
                </c:pt>
                <c:pt idx="48">
                  <c:v>0.3909774436090227</c:v>
                </c:pt>
                <c:pt idx="49">
                  <c:v>0.39325842696629232</c:v>
                </c:pt>
                <c:pt idx="50">
                  <c:v>0.39552238805970158</c:v>
                </c:pt>
                <c:pt idx="51">
                  <c:v>0.39776951672862454</c:v>
                </c:pt>
                <c:pt idx="52">
                  <c:v>0.4</c:v>
                </c:pt>
                <c:pt idx="53">
                  <c:v>0.40221402214022145</c:v>
                </c:pt>
                <c:pt idx="54">
                  <c:v>0.40441176470588236</c:v>
                </c:pt>
                <c:pt idx="55">
                  <c:v>0.4065934065934067</c:v>
                </c:pt>
                <c:pt idx="56">
                  <c:v>0.40875912408759135</c:v>
                </c:pt>
                <c:pt idx="57">
                  <c:v>0.410909090909091</c:v>
                </c:pt>
                <c:pt idx="58">
                  <c:v>0.41304347826086968</c:v>
                </c:pt>
                <c:pt idx="59">
                  <c:v>0.41516245487364639</c:v>
                </c:pt>
                <c:pt idx="60">
                  <c:v>0.41726618705035973</c:v>
                </c:pt>
                <c:pt idx="61">
                  <c:v>0.4193548387096776</c:v>
                </c:pt>
                <c:pt idx="62">
                  <c:v>0.42142857142857149</c:v>
                </c:pt>
                <c:pt idx="63">
                  <c:v>0.42348754448398584</c:v>
                </c:pt>
                <c:pt idx="64">
                  <c:v>0.42553191489361708</c:v>
                </c:pt>
                <c:pt idx="65">
                  <c:v>0.42756183745583043</c:v>
                </c:pt>
                <c:pt idx="66">
                  <c:v>0.42957746478873243</c:v>
                </c:pt>
                <c:pt idx="67">
                  <c:v>0.43157894736842112</c:v>
                </c:pt>
                <c:pt idx="68">
                  <c:v>0.43356643356643365</c:v>
                </c:pt>
                <c:pt idx="69">
                  <c:v>0.43554006968641124</c:v>
                </c:pt>
                <c:pt idx="70">
                  <c:v>0.43750000000000006</c:v>
                </c:pt>
                <c:pt idx="71">
                  <c:v>0.43944636678200705</c:v>
                </c:pt>
                <c:pt idx="72">
                  <c:v>0.44137931034482769</c:v>
                </c:pt>
                <c:pt idx="73">
                  <c:v>0.44329896907216504</c:v>
                </c:pt>
                <c:pt idx="74">
                  <c:v>0.44520547945205491</c:v>
                </c:pt>
                <c:pt idx="75">
                  <c:v>0.44709897610921506</c:v>
                </c:pt>
                <c:pt idx="76">
                  <c:v>0.44897959183673475</c:v>
                </c:pt>
                <c:pt idx="77">
                  <c:v>0.45084745762711864</c:v>
                </c:pt>
                <c:pt idx="78">
                  <c:v>0.45270270270270274</c:v>
                </c:pt>
                <c:pt idx="79">
                  <c:v>0.45454545454545459</c:v>
                </c:pt>
                <c:pt idx="80">
                  <c:v>0.45637583892617462</c:v>
                </c:pt>
                <c:pt idx="81">
                  <c:v>0.4581939799331104</c:v>
                </c:pt>
                <c:pt idx="82">
                  <c:v>0.46000000000000008</c:v>
                </c:pt>
                <c:pt idx="83">
                  <c:v>0.46179401993355484</c:v>
                </c:pt>
                <c:pt idx="84">
                  <c:v>0.46357615894039739</c:v>
                </c:pt>
                <c:pt idx="85">
                  <c:v>0.46534653465346543</c:v>
                </c:pt>
                <c:pt idx="86">
                  <c:v>0.46710526315789486</c:v>
                </c:pt>
                <c:pt idx="87">
                  <c:v>0.4688524590163935</c:v>
                </c:pt>
                <c:pt idx="88">
                  <c:v>0.47058823529411775</c:v>
                </c:pt>
                <c:pt idx="89">
                  <c:v>0.47231270358306199</c:v>
                </c:pt>
                <c:pt idx="90">
                  <c:v>0.47402597402597407</c:v>
                </c:pt>
                <c:pt idx="91">
                  <c:v>0.47572815533980595</c:v>
                </c:pt>
                <c:pt idx="92">
                  <c:v>0.47741935483870979</c:v>
                </c:pt>
                <c:pt idx="93">
                  <c:v>0.47909967845659179</c:v>
                </c:pt>
                <c:pt idx="94">
                  <c:v>0.48076923076923084</c:v>
                </c:pt>
                <c:pt idx="95">
                  <c:v>0.48242811501597443</c:v>
                </c:pt>
                <c:pt idx="96">
                  <c:v>0.48407643312101917</c:v>
                </c:pt>
                <c:pt idx="97">
                  <c:v>0.48571428571428577</c:v>
                </c:pt>
                <c:pt idx="98">
                  <c:v>0.48734177215189878</c:v>
                </c:pt>
                <c:pt idx="99">
                  <c:v>0.48895899053627767</c:v>
                </c:pt>
                <c:pt idx="100">
                  <c:v>0.49056603773584911</c:v>
                </c:pt>
                <c:pt idx="101">
                  <c:v>0.49216300940438878</c:v>
                </c:pt>
                <c:pt idx="102">
                  <c:v>0.49375000000000008</c:v>
                </c:pt>
                <c:pt idx="103">
                  <c:v>0.49532710280373843</c:v>
                </c:pt>
                <c:pt idx="104">
                  <c:v>0.49689440993788825</c:v>
                </c:pt>
                <c:pt idx="105">
                  <c:v>0.49845201238390102</c:v>
                </c:pt>
                <c:pt idx="106">
                  <c:v>0.50000000000000011</c:v>
                </c:pt>
                <c:pt idx="107">
                  <c:v>0.5015384615384616</c:v>
                </c:pt>
                <c:pt idx="108">
                  <c:v>0.50306748466257678</c:v>
                </c:pt>
                <c:pt idx="109">
                  <c:v>0.50458715596330284</c:v>
                </c:pt>
                <c:pt idx="110">
                  <c:v>0.50609756097560987</c:v>
                </c:pt>
                <c:pt idx="111">
                  <c:v>0.50759878419452897</c:v>
                </c:pt>
                <c:pt idx="112">
                  <c:v>0.50909090909090915</c:v>
                </c:pt>
                <c:pt idx="113">
                  <c:v>0.51057401812688818</c:v>
                </c:pt>
                <c:pt idx="114">
                  <c:v>0.51204819277108449</c:v>
                </c:pt>
                <c:pt idx="115">
                  <c:v>0.5135135135135136</c:v>
                </c:pt>
                <c:pt idx="116">
                  <c:v>0.51497005988023958</c:v>
                </c:pt>
                <c:pt idx="117">
                  <c:v>0.5164179104477612</c:v>
                </c:pt>
                <c:pt idx="118">
                  <c:v>0.5178571428571429</c:v>
                </c:pt>
                <c:pt idx="119">
                  <c:v>0.51928783382789323</c:v>
                </c:pt>
                <c:pt idx="120">
                  <c:v>0.52071005917159774</c:v>
                </c:pt>
                <c:pt idx="121">
                  <c:v>0.52212389380530988</c:v>
                </c:pt>
                <c:pt idx="122">
                  <c:v>0.52352941176470602</c:v>
                </c:pt>
                <c:pt idx="123">
                  <c:v>0.52492668621700889</c:v>
                </c:pt>
                <c:pt idx="124">
                  <c:v>0.52631578947368429</c:v>
                </c:pt>
                <c:pt idx="125">
                  <c:v>0.52769679300291561</c:v>
                </c:pt>
                <c:pt idx="126">
                  <c:v>0.52906976744186052</c:v>
                </c:pt>
                <c:pt idx="127">
                  <c:v>0.5304347826086957</c:v>
                </c:pt>
                <c:pt idx="128">
                  <c:v>0.53179190751445093</c:v>
                </c:pt>
                <c:pt idx="129">
                  <c:v>0.53314121037463991</c:v>
                </c:pt>
                <c:pt idx="130">
                  <c:v>0.53448275862068972</c:v>
                </c:pt>
                <c:pt idx="131">
                  <c:v>0.53581661891117482</c:v>
                </c:pt>
                <c:pt idx="132">
                  <c:v>0.53714285714285726</c:v>
                </c:pt>
                <c:pt idx="133">
                  <c:v>0.53846153846153844</c:v>
                </c:pt>
                <c:pt idx="134">
                  <c:v>0.5397727272727274</c:v>
                </c:pt>
                <c:pt idx="135">
                  <c:v>0.54107648725212465</c:v>
                </c:pt>
                <c:pt idx="136">
                  <c:v>0.542372881355932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Bollinger Special Cuvée Brut 750ml (1.2%)</c:v>
                </c:pt>
                <c:pt idx="9">
                  <c:v>Champagne Laurent-Perrier Blanc La Cuvée 750ml (2.7%)</c:v>
                </c:pt>
              </c:strCache>
            </c:strRef>
          </c:cat>
          <c:val>
            <c:numRef>
              <c:f>Sheet1!$B$2:$B$11</c:f>
              <c:numCache>
                <c:formatCode>General</c:formatCode>
                <c:ptCount val="10"/>
                <c:pt idx="0">
                  <c:v>0.13240584890288451</c:v>
                </c:pt>
                <c:pt idx="1">
                  <c:v>7.1378361426082532E-2</c:v>
                </c:pt>
                <c:pt idx="2">
                  <c:v>5.2158101089787079E-2</c:v>
                </c:pt>
                <c:pt idx="3">
                  <c:v>5.1373664761022925E-2</c:v>
                </c:pt>
                <c:pt idx="4">
                  <c:v>4.2452496134508917E-2</c:v>
                </c:pt>
                <c:pt idx="5">
                  <c:v>3.6530531499618914E-2</c:v>
                </c:pt>
                <c:pt idx="6">
                  <c:v>3.3841146441412152E-2</c:v>
                </c:pt>
                <c:pt idx="7">
                  <c:v>3.3685269179054879E-2</c:v>
                </c:pt>
                <c:pt idx="8">
                  <c:v>2.8859771541175392E-2</c:v>
                </c:pt>
                <c:pt idx="9">
                  <c:v>2.75750579408706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Laurent-Perrier Blanc La Cuvée 750ml (2.7%)</c:v>
                </c:pt>
                <c:pt idx="9">
                  <c:v>Champagne Laurent-Perrier Blanc La Cuvée 1500ml (0.8%)</c:v>
                </c:pt>
              </c:strCache>
            </c:strRef>
          </c:cat>
          <c:val>
            <c:numRef>
              <c:f>Sheet1!$B$2:$B$11</c:f>
              <c:numCache>
                <c:formatCode>General</c:formatCode>
                <c:ptCount val="10"/>
                <c:pt idx="0">
                  <c:v>0.1297521156059086</c:v>
                </c:pt>
                <c:pt idx="1">
                  <c:v>7.5899536120280428E-2</c:v>
                </c:pt>
                <c:pt idx="2">
                  <c:v>5.7822653777883051E-2</c:v>
                </c:pt>
                <c:pt idx="3">
                  <c:v>5.5569627921242364E-2</c:v>
                </c:pt>
                <c:pt idx="4">
                  <c:v>3.7664442131887091E-2</c:v>
                </c:pt>
                <c:pt idx="5">
                  <c:v>3.6842813644970836E-2</c:v>
                </c:pt>
                <c:pt idx="6">
                  <c:v>3.3439861515032976E-2</c:v>
                </c:pt>
                <c:pt idx="7">
                  <c:v>3.2902313914449373E-2</c:v>
                </c:pt>
                <c:pt idx="8">
                  <c:v>2.9599916025411444E-2</c:v>
                </c:pt>
                <c:pt idx="9">
                  <c:v>2.838476343128228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Canard-Duchêne (3.1%)</c:v>
                </c:pt>
                <c:pt idx="4">
                  <c:v>Carlo V (5.4%)</c:v>
                </c:pt>
                <c:pt idx="5">
                  <c:v>Demoiselle (3.5%)</c:v>
                </c:pt>
                <c:pt idx="6">
                  <c:v>Bottega (3.7%)</c:v>
                </c:pt>
                <c:pt idx="7">
                  <c:v>Besserat De Bellefon (2.0%)</c:v>
                </c:pt>
                <c:pt idx="8">
                  <c:v>De Bligny (1.3%)</c:v>
                </c:pt>
                <c:pt idx="9">
                  <c:v>Louis Martin (0.5%)</c:v>
                </c:pt>
              </c:strCache>
            </c:strRef>
          </c:cat>
          <c:val>
            <c:numRef>
              <c:f>Sheet1!$B$2:$B$11</c:f>
              <c:numCache>
                <c:formatCode>General</c:formatCode>
                <c:ptCount val="10"/>
                <c:pt idx="0">
                  <c:v>0.17924266216629262</c:v>
                </c:pt>
                <c:pt idx="1">
                  <c:v>0.16723713012815228</c:v>
                </c:pt>
                <c:pt idx="2">
                  <c:v>8.3025789724340826E-2</c:v>
                </c:pt>
                <c:pt idx="3">
                  <c:v>6.6660762376662186E-2</c:v>
                </c:pt>
                <c:pt idx="4">
                  <c:v>5.8472590827571141E-2</c:v>
                </c:pt>
                <c:pt idx="5">
                  <c:v>3.7840967408117793E-2</c:v>
                </c:pt>
                <c:pt idx="6">
                  <c:v>3.1408194956282248E-2</c:v>
                </c:pt>
                <c:pt idx="7">
                  <c:v>2.9969782595310336E-2</c:v>
                </c:pt>
                <c:pt idx="8">
                  <c:v>2.463396629287902E-2</c:v>
                </c:pt>
                <c:pt idx="9">
                  <c:v>2.382740937136232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B$2:$B$82</c:f>
              <c:numCache>
                <c:formatCode>General</c:formatCode>
                <c:ptCount val="81"/>
                <c:pt idx="0">
                  <c:v>152.35483318430968</c:v>
                </c:pt>
                <c:pt idx="1">
                  <c:v>150.37876062563163</c:v>
                </c:pt>
                <c:pt idx="2">
                  <c:v>148.45001472107447</c:v>
                </c:pt>
                <c:pt idx="3">
                  <c:v>146.56700511486565</c:v>
                </c:pt>
                <c:pt idx="4">
                  <c:v>144.72820877539141</c:v>
                </c:pt>
                <c:pt idx="5">
                  <c:v>142.93216723091587</c:v>
                </c:pt>
                <c:pt idx="6">
                  <c:v>141.17748382681503</c:v>
                </c:pt>
                <c:pt idx="7">
                  <c:v>139.46282101974322</c:v>
                </c:pt>
                <c:pt idx="8">
                  <c:v>137.78689772210026</c:v>
                </c:pt>
                <c:pt idx="9">
                  <c:v>134.92216497828954</c:v>
                </c:pt>
                <c:pt idx="10">
                  <c:v>132.16271228021819</c:v>
                </c:pt>
                <c:pt idx="11">
                  <c:v>129.50450726864256</c:v>
                </c:pt>
                <c:pt idx="12">
                  <c:v>126.9435884120744</c:v>
                </c:pt>
                <c:pt idx="13">
                  <c:v>124.47607354690267</c:v>
                </c:pt>
                <c:pt idx="14">
                  <c:v>122.0981676698496</c:v>
                </c:pt>
                <c:pt idx="15">
                  <c:v>119.80616981129455</c:v>
                </c:pt>
                <c:pt idx="16">
                  <c:v>117.59647890244227</c:v>
                </c:pt>
                <c:pt idx="17">
                  <c:v>115.46559861123258</c:v>
                </c:pt>
                <c:pt idx="18">
                  <c:v>113.41014116528336</c:v>
                </c:pt>
                <c:pt idx="19">
                  <c:v>111.42683020908912</c:v>
                </c:pt>
                <c:pt idx="20">
                  <c:v>109.51250276070559</c:v>
                </c:pt>
                <c:pt idx="21">
                  <c:v>108.44133959632924</c:v>
                </c:pt>
                <c:pt idx="22">
                  <c:v>107.38676631655714</c:v>
                </c:pt>
                <c:pt idx="23">
                  <c:v>106.34847056319133</c:v>
                </c:pt>
                <c:pt idx="24">
                  <c:v>105.32614516676367</c:v>
                </c:pt>
                <c:pt idx="25">
                  <c:v>104.31948812239892</c:v>
                </c:pt>
                <c:pt idx="26">
                  <c:v>103.32820256204054</c:v>
                </c:pt>
                <c:pt idx="27">
                  <c:v>102.35199672322999</c:v>
                </c:pt>
                <c:pt idx="28">
                  <c:v>101.39058391465987</c:v>
                </c:pt>
                <c:pt idx="29">
                  <c:v>100.69092172447351</c:v>
                </c:pt>
                <c:pt idx="30">
                  <c:v>100</c:v>
                </c:pt>
                <c:pt idx="31">
                  <c:v>99.317669331494486</c:v>
                </c:pt>
                <c:pt idx="32">
                  <c:v>98.643782773491509</c:v>
                </c:pt>
                <c:pt idx="33">
                  <c:v>97.978195817580982</c:v>
                </c:pt>
                <c:pt idx="34">
                  <c:v>97.320766365989741</c:v>
                </c:pt>
                <c:pt idx="35">
                  <c:v>96.671354705787266</c:v>
                </c:pt>
                <c:pt idx="36">
                  <c:v>96.029823483540028</c:v>
                </c:pt>
                <c:pt idx="37">
                  <c:v>95.396037680281438</c:v>
                </c:pt>
                <c:pt idx="38">
                  <c:v>94.769864586661996</c:v>
                </c:pt>
                <c:pt idx="39">
                  <c:v>94.151173778182795</c:v>
                </c:pt>
                <c:pt idx="40">
                  <c:v>93.539837090420434</c:v>
                </c:pt>
                <c:pt idx="41">
                  <c:v>92.93572859416669</c:v>
                </c:pt>
                <c:pt idx="42">
                  <c:v>92.338724570426535</c:v>
                </c:pt>
                <c:pt idx="43">
                  <c:v>91.748703485228461</c:v>
                </c:pt>
                <c:pt idx="44">
                  <c:v>91.165545964208349</c:v>
                </c:pt>
                <c:pt idx="45">
                  <c:v>90.589134766944269</c:v>
                </c:pt>
                <c:pt idx="46">
                  <c:v>90.019354761025681</c:v>
                </c:pt>
                <c:pt idx="47">
                  <c:v>89.456092895850574</c:v>
                </c:pt>
                <c:pt idx="48">
                  <c:v>88.899238176143854</c:v>
                </c:pt>
                <c:pt idx="49">
                  <c:v>87.834078516433294</c:v>
                </c:pt>
                <c:pt idx="50">
                  <c:v>86.783963733456659</c:v>
                </c:pt>
                <c:pt idx="51">
                  <c:v>85.748554392102903</c:v>
                </c:pt>
                <c:pt idx="52">
                  <c:v>84.727524141838629</c:v>
                </c:pt>
                <c:pt idx="53">
                  <c:v>83.720561017091171</c:v>
                </c:pt>
                <c:pt idx="54">
                  <c:v>82.727368752666194</c:v>
                </c:pt>
                <c:pt idx="55">
                  <c:v>81.747668077333344</c:v>
                </c:pt>
                <c:pt idx="56">
                  <c:v>80.781197944162017</c:v>
                </c:pt>
                <c:pt idx="57">
                  <c:v>79.827716652583717</c:v>
                </c:pt>
                <c:pt idx="58">
                  <c:v>78.887002814929417</c:v>
                </c:pt>
                <c:pt idx="59">
                  <c:v>77.958856119699831</c:v>
                </c:pt>
                <c:pt idx="60">
                  <c:v>77.043097845436847</c:v>
                </c:pt>
                <c:pt idx="61">
                  <c:v>76.139571083016719</c:v>
                </c:pt>
                <c:pt idx="62">
                  <c:v>75.248140630630687</c:v>
                </c:pt>
                <c:pt idx="63">
                  <c:v>74.368692534609238</c:v>
                </c:pt>
                <c:pt idx="64">
                  <c:v>73.501133260370892</c:v>
                </c:pt>
                <c:pt idx="65">
                  <c:v>72.645388490733737</c:v>
                </c:pt>
                <c:pt idx="66">
                  <c:v>71.801401562979294</c:v>
                </c:pt>
                <c:pt idx="67">
                  <c:v>70.969131570687153</c:v>
                </c:pt>
                <c:pt idx="68">
                  <c:v>70.148551170550405</c:v>
                </c:pt>
                <c:pt idx="69">
                  <c:v>69.785188985118296</c:v>
                </c:pt>
                <c:pt idx="70">
                  <c:v>69.424494402682697</c:v>
                </c:pt>
                <c:pt idx="71">
                  <c:v>69.066443234658308</c:v>
                </c:pt>
                <c:pt idx="72">
                  <c:v>68.711011643669849</c:v>
                </c:pt>
                <c:pt idx="73">
                  <c:v>68.358176136922793</c:v>
                </c:pt>
                <c:pt idx="74">
                  <c:v>68.007913559482674</c:v>
                </c:pt>
                <c:pt idx="75">
                  <c:v>67.660201087474064</c:v>
                </c:pt>
                <c:pt idx="76">
                  <c:v>67.315016221211891</c:v>
                </c:pt>
                <c:pt idx="77">
                  <c:v>66.972336778276116</c:v>
                </c:pt>
                <c:pt idx="78">
                  <c:v>66.632140886541407</c:v>
                </c:pt>
                <c:pt idx="79">
                  <c:v>66.294406977175413</c:v>
                </c:pt>
                <c:pt idx="80">
                  <c:v>65.95911377761542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C$2:$C$82</c:f>
              <c:numCache>
                <c:formatCode>General</c:formatCode>
                <c:ptCount val="81"/>
                <c:pt idx="0">
                  <c:v>124.63195899191335</c:v>
                </c:pt>
                <c:pt idx="1">
                  <c:v>123.92359013211316</c:v>
                </c:pt>
                <c:pt idx="2">
                  <c:v>123.23103058311169</c:v>
                </c:pt>
                <c:pt idx="3">
                  <c:v>122.55377930841178</c:v>
                </c:pt>
                <c:pt idx="4">
                  <c:v>121.89135554546769</c:v>
                </c:pt>
                <c:pt idx="5">
                  <c:v>121.24329835632035</c:v>
                </c:pt>
                <c:pt idx="6">
                  <c:v>120.60916610500195</c:v>
                </c:pt>
                <c:pt idx="7">
                  <c:v>119.98853587555263</c:v>
                </c:pt>
                <c:pt idx="8">
                  <c:v>119.38100284344092</c:v>
                </c:pt>
                <c:pt idx="9">
                  <c:v>117.71137782592629</c:v>
                </c:pt>
                <c:pt idx="10">
                  <c:v>116.10042367907045</c:v>
                </c:pt>
                <c:pt idx="11">
                  <c:v>114.54640849453351</c:v>
                </c:pt>
                <c:pt idx="12">
                  <c:v>113.04757178083939</c:v>
                </c:pt>
                <c:pt idx="13">
                  <c:v>111.60213388730527</c:v>
                </c:pt>
                <c:pt idx="14">
                  <c:v>110.20830507475902</c:v>
                </c:pt>
                <c:pt idx="15">
                  <c:v>108.86429404667133</c:v>
                </c:pt>
                <c:pt idx="16">
                  <c:v>107.5683158232649</c:v>
                </c:pt>
                <c:pt idx="17">
                  <c:v>106.31859889381512</c:v>
                </c:pt>
                <c:pt idx="18">
                  <c:v>105.11339162115567</c:v>
                </c:pt>
                <c:pt idx="19">
                  <c:v>103.95096790002989</c:v>
                </c:pt>
                <c:pt idx="20">
                  <c:v>102.82963208989038</c:v>
                </c:pt>
                <c:pt idx="21">
                  <c:v>102.48489298770711</c:v>
                </c:pt>
                <c:pt idx="22">
                  <c:v>102.14294968301279</c:v>
                </c:pt>
                <c:pt idx="23">
                  <c:v>101.80380369804512</c:v>
                </c:pt>
                <c:pt idx="24">
                  <c:v>101.46745401697437</c:v>
                </c:pt>
                <c:pt idx="25">
                  <c:v>101.13389721957971</c:v>
                </c:pt>
                <c:pt idx="26">
                  <c:v>100.80312761040422</c:v>
                </c:pt>
                <c:pt idx="27">
                  <c:v>100.47513734343569</c:v>
                </c:pt>
                <c:pt idx="28">
                  <c:v>100.14991654239395</c:v>
                </c:pt>
                <c:pt idx="29">
                  <c:v>100.07486394809229</c:v>
                </c:pt>
                <c:pt idx="30">
                  <c:v>100</c:v>
                </c:pt>
                <c:pt idx="31">
                  <c:v>99.92533462099459</c:v>
                </c:pt>
                <c:pt idx="32">
                  <c:v>99.850876567414957</c:v>
                </c:pt>
                <c:pt idx="33">
                  <c:v>99.77663347759183</c:v>
                </c:pt>
                <c:pt idx="34">
                  <c:v>99.702611920146836</c:v>
                </c:pt>
                <c:pt idx="35">
                  <c:v>99.628817441906733</c:v>
                </c:pt>
                <c:pt idx="36">
                  <c:v>99.555254615283275</c:v>
                </c:pt>
                <c:pt idx="37">
                  <c:v>99.481927084997537</c:v>
                </c:pt>
                <c:pt idx="38">
                  <c:v>99.408837614024662</c:v>
                </c:pt>
                <c:pt idx="39">
                  <c:v>99.335988128666898</c:v>
                </c:pt>
                <c:pt idx="40">
                  <c:v>99.263379762659781</c:v>
                </c:pt>
                <c:pt idx="41">
                  <c:v>99.191012900236302</c:v>
                </c:pt>
                <c:pt idx="42">
                  <c:v>99.118887218083017</c:v>
                </c:pt>
                <c:pt idx="43">
                  <c:v>99.047001726136557</c:v>
                </c:pt>
                <c:pt idx="44">
                  <c:v>98.975354807172323</c:v>
                </c:pt>
                <c:pt idx="45">
                  <c:v>98.903944255151757</c:v>
                </c:pt>
                <c:pt idx="46">
                  <c:v>98.832767312303176</c:v>
                </c:pt>
                <c:pt idx="47">
                  <c:v>98.761820704919074</c:v>
                </c:pt>
                <c:pt idx="48">
                  <c:v>98.691100677851963</c:v>
                </c:pt>
                <c:pt idx="49">
                  <c:v>98.043818166758498</c:v>
                </c:pt>
                <c:pt idx="50">
                  <c:v>97.400539994881214</c:v>
                </c:pt>
                <c:pt idx="51">
                  <c:v>96.761153303069321</c:v>
                </c:pt>
                <c:pt idx="52">
                  <c:v>96.125552023148359</c:v>
                </c:pt>
                <c:pt idx="53">
                  <c:v>95.493638759831271</c:v>
                </c:pt>
                <c:pt idx="54">
                  <c:v>94.865326736957428</c:v>
                </c:pt>
                <c:pt idx="55">
                  <c:v>94.240541765976303</c:v>
                </c:pt>
                <c:pt idx="56">
                  <c:v>93.619224187520572</c:v>
                </c:pt>
                <c:pt idx="57">
                  <c:v>93.001330730715623</c:v>
                </c:pt>
                <c:pt idx="58">
                  <c:v>92.386836230086885</c:v>
                </c:pt>
                <c:pt idx="59">
                  <c:v>91.775735137083799</c:v>
                </c:pt>
                <c:pt idx="60">
                  <c:v>91.168042762859159</c:v>
                </c:pt>
                <c:pt idx="61">
                  <c:v>90.563796191451971</c:v>
                </c:pt>
                <c:pt idx="62">
                  <c:v>89.96305480822943</c:v>
                </c:pt>
                <c:pt idx="63">
                  <c:v>89.36590039745488</c:v>
                </c:pt>
                <c:pt idx="64">
                  <c:v>88.772436775040902</c:v>
                </c:pt>
                <c:pt idx="65">
                  <c:v>88.182788937577641</c:v>
                </c:pt>
                <c:pt idx="66">
                  <c:v>87.597101725913589</c:v>
                </c:pt>
                <c:pt idx="67">
                  <c:v>87.015538020109048</c:v>
                </c:pt>
                <c:pt idx="68">
                  <c:v>86.438276501368591</c:v>
                </c:pt>
                <c:pt idx="69">
                  <c:v>86.41874188939147</c:v>
                </c:pt>
                <c:pt idx="70">
                  <c:v>86.398065189036629</c:v>
                </c:pt>
                <c:pt idx="71">
                  <c:v>86.376265543381251</c:v>
                </c:pt>
                <c:pt idx="72">
                  <c:v>86.353361933308335</c:v>
                </c:pt>
                <c:pt idx="73">
                  <c:v>86.329373180150199</c:v>
                </c:pt>
                <c:pt idx="74">
                  <c:v>86.304317947964776</c:v>
                </c:pt>
                <c:pt idx="75">
                  <c:v>86.278214745455813</c:v>
                </c:pt>
                <c:pt idx="76">
                  <c:v>86.251081927549862</c:v>
                </c:pt>
                <c:pt idx="77">
                  <c:v>86.222937696640997</c:v>
                </c:pt>
                <c:pt idx="78">
                  <c:v>86.193800103518171</c:v>
                </c:pt>
                <c:pt idx="79">
                  <c:v>86.163687047988688</c:v>
                </c:pt>
                <c:pt idx="80">
                  <c:v>86.1326162792112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D$2:$D$82</c:f>
              <c:numCache>
                <c:formatCode>General</c:formatCode>
                <c:ptCount val="81"/>
                <c:pt idx="0">
                  <c:v>80.938505129164511</c:v>
                </c:pt>
                <c:pt idx="1">
                  <c:v>82.23838471714221</c:v>
                </c:pt>
                <c:pt idx="2">
                  <c:v>83.503133280604331</c:v>
                </c:pt>
                <c:pt idx="3">
                  <c:v>84.734049832031729</c:v>
                </c:pt>
                <c:pt idx="4">
                  <c:v>85.932373960388574</c:v>
                </c:pt>
                <c:pt idx="5">
                  <c:v>87.099289406339309</c:v>
                </c:pt>
                <c:pt idx="6">
                  <c:v>88.235927391759333</c:v>
                </c:pt>
                <c:pt idx="7">
                  <c:v>89.343369715773036</c:v>
                </c:pt>
                <c:pt idx="8">
                  <c:v>90.422651630128229</c:v>
                </c:pt>
                <c:pt idx="9">
                  <c:v>90.650829594788163</c:v>
                </c:pt>
                <c:pt idx="10">
                  <c:v>90.861864692649959</c:v>
                </c:pt>
                <c:pt idx="11">
                  <c:v>91.057856673264226</c:v>
                </c:pt>
                <c:pt idx="12">
                  <c:v>91.24070417117845</c:v>
                </c:pt>
                <c:pt idx="13">
                  <c:v>91.412116511006531</c:v>
                </c:pt>
                <c:pt idx="14">
                  <c:v>91.573625752387215</c:v>
                </c:pt>
                <c:pt idx="15">
                  <c:v>91.726598761772365</c:v>
                </c:pt>
                <c:pt idx="16">
                  <c:v>91.872249142533065</c:v>
                </c:pt>
                <c:pt idx="17">
                  <c:v>92.01164889332594</c:v>
                </c:pt>
                <c:pt idx="18">
                  <c:v>92.145739696792688</c:v>
                </c:pt>
                <c:pt idx="19">
                  <c:v>92.275343766901855</c:v>
                </c:pt>
                <c:pt idx="20">
                  <c:v>92.401174204345367</c:v>
                </c:pt>
                <c:pt idx="21">
                  <c:v>93.191776215595425</c:v>
                </c:pt>
                <c:pt idx="22">
                  <c:v>93.963420526987434</c:v>
                </c:pt>
                <c:pt idx="23">
                  <c:v>94.716606595342228</c:v>
                </c:pt>
                <c:pt idx="24">
                  <c:v>95.45181905737951</c:v>
                </c:pt>
                <c:pt idx="25">
                  <c:v>96.169528112836517</c:v>
                </c:pt>
                <c:pt idx="26">
                  <c:v>96.870189901912966</c:v>
                </c:pt>
                <c:pt idx="27">
                  <c:v>97.5542468768286</c:v>
                </c:pt>
                <c:pt idx="28">
                  <c:v>98.222128167326758</c:v>
                </c:pt>
                <c:pt idx="29">
                  <c:v>99.11762607252858</c:v>
                </c:pt>
                <c:pt idx="30">
                  <c:v>100</c:v>
                </c:pt>
                <c:pt idx="31">
                  <c:v>100.86950791479903</c:v>
                </c:pt>
                <c:pt idx="32">
                  <c:v>101.72640098516312</c:v>
                </c:pt>
                <c:pt idx="33">
                  <c:v>102.57092374653003</c:v>
                </c:pt>
                <c:pt idx="34">
                  <c:v>103.40331426386409</c:v>
                </c:pt>
                <c:pt idx="35">
                  <c:v>104.22380429217681</c:v>
                </c:pt>
                <c:pt idx="36">
                  <c:v>105.03261943512192</c:v>
                </c:pt>
                <c:pt idx="37">
                  <c:v>105.82997930156228</c:v>
                </c:pt>
                <c:pt idx="38">
                  <c:v>106.61609765999471</c:v>
                </c:pt>
                <c:pt idx="39">
                  <c:v>107.39118259073975</c:v>
                </c:pt>
                <c:pt idx="40">
                  <c:v>108.15543663579862</c:v>
                </c:pt>
                <c:pt idx="41">
                  <c:v>108.90905694628911</c:v>
                </c:pt>
                <c:pt idx="42">
                  <c:v>109.6522354273815</c:v>
                </c:pt>
                <c:pt idx="43">
                  <c:v>110.38515888066543</c:v>
                </c:pt>
                <c:pt idx="44">
                  <c:v>111.10800914387886</c:v>
                </c:pt>
                <c:pt idx="45">
                  <c:v>111.82096322794683</c:v>
                </c:pt>
                <c:pt idx="46">
                  <c:v>112.52419345128206</c:v>
                </c:pt>
                <c:pt idx="47">
                  <c:v>113.21786757131088</c:v>
                </c:pt>
                <c:pt idx="48">
                  <c:v>113.90214891318422</c:v>
                </c:pt>
                <c:pt idx="49">
                  <c:v>113.90982057599943</c:v>
                </c:pt>
                <c:pt idx="50">
                  <c:v>113.90395240016187</c:v>
                </c:pt>
                <c:pt idx="51">
                  <c:v>113.88479880201162</c:v>
                </c:pt>
                <c:pt idx="52">
                  <c:v>113.85261056559561</c:v>
                </c:pt>
                <c:pt idx="53">
                  <c:v>113.80763763260828</c:v>
                </c:pt>
                <c:pt idx="54">
                  <c:v>113.75013203491604</c:v>
                </c:pt>
                <c:pt idx="55">
                  <c:v>113.68035092004169</c:v>
                </c:pt>
                <c:pt idx="56">
                  <c:v>113.59855960897778</c:v>
                </c:pt>
                <c:pt idx="57">
                  <c:v>113.5050346153924</c:v>
                </c:pt>
                <c:pt idx="58">
                  <c:v>113.40006654646105</c:v>
                </c:pt>
                <c:pt idx="59">
                  <c:v>113.28396279893882</c:v>
                </c:pt>
                <c:pt idx="60">
                  <c:v>113.1570499604853</c:v>
                </c:pt>
                <c:pt idx="61">
                  <c:v>113.01967582635295</c:v>
                </c:pt>
                <c:pt idx="62">
                  <c:v>112.87221094594602</c:v>
                </c:pt>
                <c:pt idx="63">
                  <c:v>112.71504962276708</c:v>
                </c:pt>
                <c:pt idx="64">
                  <c:v>112.54861030494283</c:v>
                </c:pt>
                <c:pt idx="65">
                  <c:v>112.37333532160375</c:v>
                </c:pt>
                <c:pt idx="66">
                  <c:v>112.18968994215506</c:v>
                </c:pt>
                <c:pt idx="67">
                  <c:v>111.99816075999063</c:v>
                </c:pt>
                <c:pt idx="68">
                  <c:v>111.79925342806463</c:v>
                </c:pt>
                <c:pt idx="69">
                  <c:v>112.3105385229248</c:v>
                </c:pt>
                <c:pt idx="70">
                  <c:v>112.81480340435938</c:v>
                </c:pt>
                <c:pt idx="71">
                  <c:v>113.31213343186133</c:v>
                </c:pt>
                <c:pt idx="72">
                  <c:v>113.8026130348282</c:v>
                </c:pt>
                <c:pt idx="73">
                  <c:v>114.28632572891777</c:v>
                </c:pt>
                <c:pt idx="74">
                  <c:v>114.76335413162695</c:v>
                </c:pt>
                <c:pt idx="75">
                  <c:v>115.23377997710426</c:v>
                </c:pt>
                <c:pt idx="76">
                  <c:v>115.69768413020797</c:v>
                </c:pt>
                <c:pt idx="77">
                  <c:v>116.15514659982264</c:v>
                </c:pt>
                <c:pt idx="78">
                  <c:v>116.60624655144747</c:v>
                </c:pt>
                <c:pt idx="79">
                  <c:v>117.0510623190753</c:v>
                </c:pt>
                <c:pt idx="80">
                  <c:v>117.489671416377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E$2:$E$82</c:f>
              <c:numCache>
                <c:formatCode>General</c:formatCode>
                <c:ptCount val="81"/>
                <c:pt idx="0">
                  <c:v>0.26153846153846155</c:v>
                </c:pt>
                <c:pt idx="1">
                  <c:v>0.2671755725190838</c:v>
                </c:pt>
                <c:pt idx="2">
                  <c:v>0.27272727272727265</c:v>
                </c:pt>
                <c:pt idx="3">
                  <c:v>0.2781954887218045</c:v>
                </c:pt>
                <c:pt idx="4">
                  <c:v>0.28358208955223863</c:v>
                </c:pt>
                <c:pt idx="5">
                  <c:v>0.28888888888888886</c:v>
                </c:pt>
                <c:pt idx="6">
                  <c:v>0.29411764705882343</c:v>
                </c:pt>
                <c:pt idx="7">
                  <c:v>0.29927007299270075</c:v>
                </c:pt>
                <c:pt idx="8">
                  <c:v>0.30434782608695649</c:v>
                </c:pt>
                <c:pt idx="9">
                  <c:v>0.30935251798561136</c:v>
                </c:pt>
                <c:pt idx="10">
                  <c:v>0.31428571428571422</c:v>
                </c:pt>
                <c:pt idx="11">
                  <c:v>0.31914893617021267</c:v>
                </c:pt>
                <c:pt idx="12">
                  <c:v>0.32394366197183094</c:v>
                </c:pt>
                <c:pt idx="13">
                  <c:v>0.32867132867132853</c:v>
                </c:pt>
                <c:pt idx="14">
                  <c:v>0.3333333333333332</c:v>
                </c:pt>
                <c:pt idx="15">
                  <c:v>0.33793103448275857</c:v>
                </c:pt>
                <c:pt idx="16">
                  <c:v>0.34246575342465757</c:v>
                </c:pt>
                <c:pt idx="17">
                  <c:v>0.34693877551020397</c:v>
                </c:pt>
                <c:pt idx="18">
                  <c:v>0.35135135135135126</c:v>
                </c:pt>
                <c:pt idx="19">
                  <c:v>0.35570469798657711</c:v>
                </c:pt>
                <c:pt idx="20">
                  <c:v>0.36000000000000004</c:v>
                </c:pt>
                <c:pt idx="21">
                  <c:v>0.36423841059602635</c:v>
                </c:pt>
                <c:pt idx="22">
                  <c:v>0.36842105263157893</c:v>
                </c:pt>
                <c:pt idx="23">
                  <c:v>0.37254901960784298</c:v>
                </c:pt>
                <c:pt idx="24">
                  <c:v>0.37662337662337653</c:v>
                </c:pt>
                <c:pt idx="25">
                  <c:v>0.38064516129032255</c:v>
                </c:pt>
                <c:pt idx="26">
                  <c:v>0.38461538461538453</c:v>
                </c:pt>
                <c:pt idx="27">
                  <c:v>0.38853503184713373</c:v>
                </c:pt>
                <c:pt idx="28">
                  <c:v>0.39240506329113922</c:v>
                </c:pt>
                <c:pt idx="29">
                  <c:v>0.39622641509433959</c:v>
                </c:pt>
                <c:pt idx="30">
                  <c:v>0.4</c:v>
                </c:pt>
                <c:pt idx="31">
                  <c:v>0.40372670807453409</c:v>
                </c:pt>
                <c:pt idx="32">
                  <c:v>0.40740740740740738</c:v>
                </c:pt>
                <c:pt idx="33">
                  <c:v>0.41104294478527603</c:v>
                </c:pt>
                <c:pt idx="34">
                  <c:v>0.41463414634146334</c:v>
                </c:pt>
                <c:pt idx="35">
                  <c:v>0.4181818181818181</c:v>
                </c:pt>
                <c:pt idx="36">
                  <c:v>0.42168674698795172</c:v>
                </c:pt>
                <c:pt idx="37">
                  <c:v>0.42514970059880242</c:v>
                </c:pt>
                <c:pt idx="38">
                  <c:v>0.42857142857142849</c:v>
                </c:pt>
                <c:pt idx="39">
                  <c:v>0.43195266272189337</c:v>
                </c:pt>
                <c:pt idx="40">
                  <c:v>0.43529411764705878</c:v>
                </c:pt>
                <c:pt idx="41">
                  <c:v>0.43859649122807015</c:v>
                </c:pt>
                <c:pt idx="42">
                  <c:v>0.44186046511627902</c:v>
                </c:pt>
                <c:pt idx="43">
                  <c:v>0.44508670520231203</c:v>
                </c:pt>
                <c:pt idx="44">
                  <c:v>0.44827586206896547</c:v>
                </c:pt>
                <c:pt idx="45">
                  <c:v>0.45142857142857146</c:v>
                </c:pt>
                <c:pt idx="46">
                  <c:v>0.45454545454545453</c:v>
                </c:pt>
                <c:pt idx="47">
                  <c:v>0.45762711864406774</c:v>
                </c:pt>
                <c:pt idx="48">
                  <c:v>0.46067415730337069</c:v>
                </c:pt>
                <c:pt idx="49">
                  <c:v>0.46368715083798878</c:v>
                </c:pt>
                <c:pt idx="50">
                  <c:v>0.46666666666666662</c:v>
                </c:pt>
                <c:pt idx="51">
                  <c:v>0.46961325966850814</c:v>
                </c:pt>
                <c:pt idx="52">
                  <c:v>0.47252747252747246</c:v>
                </c:pt>
                <c:pt idx="53">
                  <c:v>0.4754098360655738</c:v>
                </c:pt>
                <c:pt idx="54">
                  <c:v>0.47826086956521741</c:v>
                </c:pt>
                <c:pt idx="55">
                  <c:v>0.48108108108108111</c:v>
                </c:pt>
                <c:pt idx="56">
                  <c:v>0.48387096774193533</c:v>
                </c:pt>
                <c:pt idx="57">
                  <c:v>0.4866310160427807</c:v>
                </c:pt>
                <c:pt idx="58">
                  <c:v>0.48936170212765956</c:v>
                </c:pt>
                <c:pt idx="59">
                  <c:v>0.49206349206349198</c:v>
                </c:pt>
                <c:pt idx="60">
                  <c:v>0.49473684210526314</c:v>
                </c:pt>
                <c:pt idx="61">
                  <c:v>0.4973821989528795</c:v>
                </c:pt>
                <c:pt idx="62">
                  <c:v>0.49999999999999989</c:v>
                </c:pt>
                <c:pt idx="63">
                  <c:v>0.50259067357512954</c:v>
                </c:pt>
                <c:pt idx="64">
                  <c:v>0.5051546391752576</c:v>
                </c:pt>
                <c:pt idx="65">
                  <c:v>0.50769230769230766</c:v>
                </c:pt>
                <c:pt idx="66">
                  <c:v>0.51020408163265296</c:v>
                </c:pt>
                <c:pt idx="67">
                  <c:v>0.51269035532994911</c:v>
                </c:pt>
                <c:pt idx="68">
                  <c:v>0.51515151515151503</c:v>
                </c:pt>
                <c:pt idx="69">
                  <c:v>0.51758793969849237</c:v>
                </c:pt>
                <c:pt idx="70">
                  <c:v>0.52</c:v>
                </c:pt>
                <c:pt idx="71">
                  <c:v>0.5223880597014926</c:v>
                </c:pt>
                <c:pt idx="72">
                  <c:v>0.52475247524752477</c:v>
                </c:pt>
                <c:pt idx="73">
                  <c:v>0.52709359605911321</c:v>
                </c:pt>
                <c:pt idx="74">
                  <c:v>0.52941176470588225</c:v>
                </c:pt>
                <c:pt idx="75">
                  <c:v>0.53170731707317065</c:v>
                </c:pt>
                <c:pt idx="76">
                  <c:v>0.53398058252427172</c:v>
                </c:pt>
                <c:pt idx="77">
                  <c:v>0.53623188405797095</c:v>
                </c:pt>
                <c:pt idx="78">
                  <c:v>0.53846153846153855</c:v>
                </c:pt>
                <c:pt idx="79">
                  <c:v>0.54066985645933008</c:v>
                </c:pt>
                <c:pt idx="80">
                  <c:v>0.542857142857142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Heidsieck Monopole Silver Top 750ml (4.2%)</c:v>
                </c:pt>
                <c:pt idx="5">
                  <c:v>Champagne Nicolas Feuillatte Réserve Exclusive Brut 750ml (3.0%)</c:v>
                </c:pt>
                <c:pt idx="6">
                  <c:v>Champagne Laurent-Perrier Blanc La Cuvée 750ml (2.7%)</c:v>
                </c:pt>
                <c:pt idx="7">
                  <c:v>Champagne Deutz Brut Classique 750ml (3.4%)</c:v>
                </c:pt>
                <c:pt idx="8">
                  <c:v>Champagne Ayala Brut Majeur 750ml (1.7%)</c:v>
                </c:pt>
                <c:pt idx="9">
                  <c:v>Champagne Vranken Demoiselle Rosé Prestige 750ml (2.0%)</c:v>
                </c:pt>
              </c:strCache>
            </c:strRef>
          </c:cat>
          <c:val>
            <c:numRef>
              <c:f>Sheet1!$B$2:$B$11</c:f>
              <c:numCache>
                <c:formatCode>General</c:formatCode>
                <c:ptCount val="10"/>
                <c:pt idx="0">
                  <c:v>0.11559139147672284</c:v>
                </c:pt>
                <c:pt idx="1">
                  <c:v>8.1102479014635395E-2</c:v>
                </c:pt>
                <c:pt idx="2">
                  <c:v>5.899138582773749E-2</c:v>
                </c:pt>
                <c:pt idx="3">
                  <c:v>4.4971817891846726E-2</c:v>
                </c:pt>
                <c:pt idx="4">
                  <c:v>3.3252428415038275E-2</c:v>
                </c:pt>
                <c:pt idx="5">
                  <c:v>3.2483560553654256E-2</c:v>
                </c:pt>
                <c:pt idx="6">
                  <c:v>3.2439550088601492E-2</c:v>
                </c:pt>
                <c:pt idx="7">
                  <c:v>2.6875435004290869E-2</c:v>
                </c:pt>
                <c:pt idx="8">
                  <c:v>2.635288406153621E-2</c:v>
                </c:pt>
                <c:pt idx="9">
                  <c:v>2.539563081190476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Canard-Duchêne Blanc Cuvée Léonie Brut 750ml (2.6%)</c:v>
                </c:pt>
                <c:pt idx="4">
                  <c:v>Champagne Nicolas Feuillatte Réserve Exclusive Brut 750ml (3.0%)</c:v>
                </c:pt>
                <c:pt idx="5">
                  <c:v>Champagne Laurent-Perrier Blanc La Cuvée 750ml (2.7%)</c:v>
                </c:pt>
                <c:pt idx="6">
                  <c:v>Champagne Vranken Demoiselle Rosé Prestige 750ml (2.0%)</c:v>
                </c:pt>
                <c:pt idx="7">
                  <c:v>Champagne Deutz Brut Classique 750ml (3.4%)</c:v>
                </c:pt>
                <c:pt idx="8">
                  <c:v>Champagne Bollinger Special Cuvée Brut 750ml (1.2%)</c:v>
                </c:pt>
                <c:pt idx="9">
                  <c:v>Champagne Heidsieck Monopole Silver Top 750ml (4.2%)</c:v>
                </c:pt>
              </c:strCache>
            </c:strRef>
          </c:cat>
          <c:val>
            <c:numRef>
              <c:f>Sheet1!$B$2:$B$11</c:f>
              <c:numCache>
                <c:formatCode>General</c:formatCode>
                <c:ptCount val="10"/>
                <c:pt idx="0">
                  <c:v>0.11292729155747538</c:v>
                </c:pt>
                <c:pt idx="1">
                  <c:v>7.2760361460596959E-2</c:v>
                </c:pt>
                <c:pt idx="2">
                  <c:v>7.0889888730222103E-2</c:v>
                </c:pt>
                <c:pt idx="3">
                  <c:v>6.5934746457709678E-2</c:v>
                </c:pt>
                <c:pt idx="4">
                  <c:v>3.7821073169270324E-2</c:v>
                </c:pt>
                <c:pt idx="5">
                  <c:v>3.4208064304668058E-2</c:v>
                </c:pt>
                <c:pt idx="6">
                  <c:v>3.0253579753434678E-2</c:v>
                </c:pt>
                <c:pt idx="7">
                  <c:v>2.7979487457998543E-2</c:v>
                </c:pt>
                <c:pt idx="8">
                  <c:v>2.6442343983481189E-2</c:v>
                </c:pt>
                <c:pt idx="9">
                  <c:v>2.64234958129689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B$2:$B$150</c:f>
              <c:numCache>
                <c:formatCode>General</c:formatCode>
                <c:ptCount val="149"/>
                <c:pt idx="0">
                  <c:v>126.29495072660487</c:v>
                </c:pt>
                <c:pt idx="1">
                  <c:v>125.74069218196166</c:v>
                </c:pt>
                <c:pt idx="2">
                  <c:v>125.18994219158866</c:v>
                </c:pt>
                <c:pt idx="3">
                  <c:v>124.64267326341979</c:v>
                </c:pt>
                <c:pt idx="4">
                  <c:v>124.09885812680228</c:v>
                </c:pt>
                <c:pt idx="5">
                  <c:v>123.55846973152505</c:v>
                </c:pt>
                <c:pt idx="6">
                  <c:v>123.02148124685661</c:v>
                </c:pt>
                <c:pt idx="7">
                  <c:v>122.487866060587</c:v>
                </c:pt>
                <c:pt idx="8">
                  <c:v>121.95759777807302</c:v>
                </c:pt>
                <c:pt idx="9">
                  <c:v>121.43065022128236</c:v>
                </c:pt>
                <c:pt idx="10">
                  <c:v>120.9069974278363</c:v>
                </c:pt>
                <c:pt idx="11">
                  <c:v>120.38661365004731</c:v>
                </c:pt>
                <c:pt idx="12">
                  <c:v>119.86947335394808</c:v>
                </c:pt>
                <c:pt idx="13">
                  <c:v>119.35555121831702</c:v>
                </c:pt>
                <c:pt idx="14">
                  <c:v>118.84482213368904</c:v>
                </c:pt>
                <c:pt idx="15">
                  <c:v>118.33726120135557</c:v>
                </c:pt>
                <c:pt idx="16">
                  <c:v>117.83284373235503</c:v>
                </c:pt>
                <c:pt idx="17">
                  <c:v>117.39736225053699</c:v>
                </c:pt>
                <c:pt idx="18">
                  <c:v>116.96401815579233</c:v>
                </c:pt>
                <c:pt idx="19">
                  <c:v>116.53280156631503</c:v>
                </c:pt>
                <c:pt idx="20">
                  <c:v>116.10370263504399</c:v>
                </c:pt>
                <c:pt idx="21">
                  <c:v>115.67671154849923</c:v>
                </c:pt>
                <c:pt idx="22">
                  <c:v>115.25181852562855</c:v>
                </c:pt>
                <c:pt idx="23">
                  <c:v>114.82901381666832</c:v>
                </c:pt>
                <c:pt idx="24">
                  <c:v>114.40828770202209</c:v>
                </c:pt>
                <c:pt idx="25">
                  <c:v>113.9896304911622</c:v>
                </c:pt>
                <c:pt idx="26">
                  <c:v>113.57303252155371</c:v>
                </c:pt>
                <c:pt idx="27">
                  <c:v>113.15848415760318</c:v>
                </c:pt>
                <c:pt idx="28">
                  <c:v>112.745975789642</c:v>
                </c:pt>
                <c:pt idx="29">
                  <c:v>112.33549783293559</c:v>
                </c:pt>
                <c:pt idx="30">
                  <c:v>111.92704072673077</c:v>
                </c:pt>
                <c:pt idx="31">
                  <c:v>111.52059493333685</c:v>
                </c:pt>
                <c:pt idx="32">
                  <c:v>111.11615093724613</c:v>
                </c:pt>
                <c:pt idx="33">
                  <c:v>110.71369924429435</c:v>
                </c:pt>
                <c:pt idx="34">
                  <c:v>110.31323038086103</c:v>
                </c:pt>
                <c:pt idx="35">
                  <c:v>109.91473489311379</c:v>
                </c:pt>
                <c:pt idx="36">
                  <c:v>109.51820334629845</c:v>
                </c:pt>
                <c:pt idx="37">
                  <c:v>109.12362632407071</c:v>
                </c:pt>
                <c:pt idx="38">
                  <c:v>108.73099442787715</c:v>
                </c:pt>
                <c:pt idx="39">
                  <c:v>108.34029827638112</c:v>
                </c:pt>
                <c:pt idx="40">
                  <c:v>107.95152850493719</c:v>
                </c:pt>
                <c:pt idx="41">
                  <c:v>107.56467576511287</c:v>
                </c:pt>
                <c:pt idx="42">
                  <c:v>107.17973072425862</c:v>
                </c:pt>
                <c:pt idx="43">
                  <c:v>106.79668406512552</c:v>
                </c:pt>
                <c:pt idx="44">
                  <c:v>106.41552648553213</c:v>
                </c:pt>
                <c:pt idx="45">
                  <c:v>106.03624869807757</c:v>
                </c:pt>
                <c:pt idx="46">
                  <c:v>105.65884142990318</c:v>
                </c:pt>
                <c:pt idx="47">
                  <c:v>105.28329542250235</c:v>
                </c:pt>
                <c:pt idx="48">
                  <c:v>104.90960143157318</c:v>
                </c:pt>
                <c:pt idx="49">
                  <c:v>104.53775022692096</c:v>
                </c:pt>
                <c:pt idx="50">
                  <c:v>104.1677325924036</c:v>
                </c:pt>
                <c:pt idx="51">
                  <c:v>103.7995393259209</c:v>
                </c:pt>
                <c:pt idx="52">
                  <c:v>103.43316123944592</c:v>
                </c:pt>
                <c:pt idx="53">
                  <c:v>103.06858915910104</c:v>
                </c:pt>
                <c:pt idx="54">
                  <c:v>102.7058139252718</c:v>
                </c:pt>
                <c:pt idx="55">
                  <c:v>102.34482639276077</c:v>
                </c:pt>
                <c:pt idx="56">
                  <c:v>101.98561743098065</c:v>
                </c:pt>
                <c:pt idx="57">
                  <c:v>100.98636747898391</c:v>
                </c:pt>
                <c:pt idx="58">
                  <c:v>100</c:v>
                </c:pt>
                <c:pt idx="59">
                  <c:v>99.026455030870935</c:v>
                </c:pt>
                <c:pt idx="60">
                  <c:v>98.065661363448157</c:v>
                </c:pt>
                <c:pt idx="61">
                  <c:v>97.117537102674248</c:v>
                </c:pt>
                <c:pt idx="62">
                  <c:v>96.1819902622006</c:v>
                </c:pt>
                <c:pt idx="63">
                  <c:v>95.258919390280369</c:v>
                </c:pt>
                <c:pt idx="64">
                  <c:v>94.348214218892167</c:v>
                </c:pt>
                <c:pt idx="65">
                  <c:v>93.449756329312677</c:v>
                </c:pt>
                <c:pt idx="66">
                  <c:v>92.563419827678857</c:v>
                </c:pt>
                <c:pt idx="67">
                  <c:v>91.689072024420483</c:v>
                </c:pt>
                <c:pt idx="68">
                  <c:v>90.826574111820975</c:v>
                </c:pt>
                <c:pt idx="69">
                  <c:v>89.975781834367638</c:v>
                </c:pt>
                <c:pt idx="70">
                  <c:v>89.136546146958779</c:v>
                </c:pt>
                <c:pt idx="71">
                  <c:v>88.308713856490968</c:v>
                </c:pt>
                <c:pt idx="72">
                  <c:v>87.492128242774669</c:v>
                </c:pt>
                <c:pt idx="73">
                  <c:v>86.686629655207454</c:v>
                </c:pt>
                <c:pt idx="74">
                  <c:v>85.892056082100424</c:v>
                </c:pt>
                <c:pt idx="75">
                  <c:v>85.10824369002286</c:v>
                </c:pt>
                <c:pt idx="76">
                  <c:v>84.335027331025486</c:v>
                </c:pt>
                <c:pt idx="77">
                  <c:v>83.862976276754722</c:v>
                </c:pt>
                <c:pt idx="78">
                  <c:v>83.392759203219981</c:v>
                </c:pt>
                <c:pt idx="79">
                  <c:v>82.924373828133241</c:v>
                </c:pt>
                <c:pt idx="80">
                  <c:v>82.45781784122228</c:v>
                </c:pt>
                <c:pt idx="81">
                  <c:v>81.993088905437645</c:v>
                </c:pt>
                <c:pt idx="82">
                  <c:v>81.530184658161403</c:v>
                </c:pt>
                <c:pt idx="83">
                  <c:v>81.069102712418001</c:v>
                </c:pt>
                <c:pt idx="84">
                  <c:v>80.609840658082106</c:v>
                </c:pt>
                <c:pt idx="85">
                  <c:v>80.152396063084709</c:v>
                </c:pt>
                <c:pt idx="86">
                  <c:v>79.696766474616439</c:v>
                </c:pt>
                <c:pt idx="87">
                  <c:v>79.242949420320855</c:v>
                </c:pt>
                <c:pt idx="88">
                  <c:v>78.79094240948649</c:v>
                </c:pt>
                <c:pt idx="89">
                  <c:v>78.340742934223201</c:v>
                </c:pt>
                <c:pt idx="90">
                  <c:v>77.892348470633451</c:v>
                </c:pt>
                <c:pt idx="91">
                  <c:v>77.445756479968011</c:v>
                </c:pt>
                <c:pt idx="92">
                  <c:v>77.000964409769807</c:v>
                </c:pt>
                <c:pt idx="93">
                  <c:v>76.557969695002313</c:v>
                </c:pt>
                <c:pt idx="94">
                  <c:v>76.116769759160306</c:v>
                </c:pt>
                <c:pt idx="95">
                  <c:v>75.677362015364764</c:v>
                </c:pt>
                <c:pt idx="96">
                  <c:v>75.239743867436431</c:v>
                </c:pt>
                <c:pt idx="97">
                  <c:v>74.803912710949234</c:v>
                </c:pt>
                <c:pt idx="98">
                  <c:v>74.369865934261668</c:v>
                </c:pt>
                <c:pt idx="99">
                  <c:v>73.937600919525664</c:v>
                </c:pt>
                <c:pt idx="100">
                  <c:v>73.507115043667199</c:v>
                </c:pt>
                <c:pt idx="101">
                  <c:v>73.078405679345821</c:v>
                </c:pt>
                <c:pt idx="102">
                  <c:v>72.651470195882766</c:v>
                </c:pt>
                <c:pt idx="103">
                  <c:v>72.226305960162918</c:v>
                </c:pt>
                <c:pt idx="104">
                  <c:v>71.802910337506717</c:v>
                </c:pt>
                <c:pt idx="105">
                  <c:v>71.381280692509989</c:v>
                </c:pt>
                <c:pt idx="106">
                  <c:v>70.9614143898538</c:v>
                </c:pt>
                <c:pt idx="107">
                  <c:v>70.543308795081316</c:v>
                </c:pt>
                <c:pt idx="108">
                  <c:v>70.126961275338601</c:v>
                </c:pt>
                <c:pt idx="109">
                  <c:v>69.71236920008424</c:v>
                </c:pt>
                <c:pt idx="110">
                  <c:v>69.299529941758991</c:v>
                </c:pt>
                <c:pt idx="111">
                  <c:v>68.8884408764239</c:v>
                </c:pt>
                <c:pt idx="112">
                  <c:v>68.479099384355663</c:v>
                </c:pt>
                <c:pt idx="113">
                  <c:v>68.071502850608439</c:v>
                </c:pt>
                <c:pt idx="114">
                  <c:v>67.665648665533283</c:v>
                </c:pt>
                <c:pt idx="115">
                  <c:v>67.261534225261173</c:v>
                </c:pt>
                <c:pt idx="116">
                  <c:v>66.859156932142923</c:v>
                </c:pt>
                <c:pt idx="117">
                  <c:v>66.45851419515121</c:v>
                </c:pt>
                <c:pt idx="118">
                  <c:v>66.059603430238283</c:v>
                </c:pt>
                <c:pt idx="119">
                  <c:v>65.662422060654777</c:v>
                </c:pt>
                <c:pt idx="120">
                  <c:v>65.266967517225552</c:v>
                </c:pt>
                <c:pt idx="121">
                  <c:v>64.873237238581694</c:v>
                </c:pt>
                <c:pt idx="122">
                  <c:v>64.481228671351616</c:v>
                </c:pt>
                <c:pt idx="123">
                  <c:v>64.090939270308752</c:v>
                </c:pt>
                <c:pt idx="124">
                  <c:v>63.702366498475328</c:v>
                </c:pt>
                <c:pt idx="125">
                  <c:v>63.315507827184305</c:v>
                </c:pt>
                <c:pt idx="126">
                  <c:v>62.9303607360958</c:v>
                </c:pt>
                <c:pt idx="127">
                  <c:v>62.5469227131737</c:v>
                </c:pt>
                <c:pt idx="128">
                  <c:v>62.16519125461528</c:v>
                </c:pt>
                <c:pt idx="129">
                  <c:v>61.785163864740525</c:v>
                </c:pt>
                <c:pt idx="130">
                  <c:v>61.406838055837284</c:v>
                </c:pt>
                <c:pt idx="131">
                  <c:v>61.030211347964794</c:v>
                </c:pt>
                <c:pt idx="132">
                  <c:v>60.655281268713956</c:v>
                </c:pt>
                <c:pt idx="133">
                  <c:v>60.282045352927327</c:v>
                </c:pt>
                <c:pt idx="134">
                  <c:v>59.910501142375352</c:v>
                </c:pt>
                <c:pt idx="135">
                  <c:v>59.540646185395453</c:v>
                </c:pt>
                <c:pt idx="136">
                  <c:v>59.172478036486162</c:v>
                </c:pt>
                <c:pt idx="137">
                  <c:v>58.805994255867112</c:v>
                </c:pt>
                <c:pt idx="138">
                  <c:v>58.441192408995988</c:v>
                </c:pt>
                <c:pt idx="139">
                  <c:v>58.078070066049506</c:v>
                </c:pt>
                <c:pt idx="140">
                  <c:v>57.716624801367445</c:v>
                </c:pt>
                <c:pt idx="141">
                  <c:v>57.356854192859508</c:v>
                </c:pt>
                <c:pt idx="142">
                  <c:v>56.998755821378012</c:v>
                </c:pt>
                <c:pt idx="143">
                  <c:v>56.642327270055674</c:v>
                </c:pt>
                <c:pt idx="144">
                  <c:v>56.287566123611597</c:v>
                </c:pt>
                <c:pt idx="145">
                  <c:v>55.934469967623478</c:v>
                </c:pt>
                <c:pt idx="146">
                  <c:v>55.583036387771948</c:v>
                </c:pt>
                <c:pt idx="147">
                  <c:v>55.233262969052923</c:v>
                </c:pt>
                <c:pt idx="148">
                  <c:v>54.8851472949637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C$2:$C$150</c:f>
              <c:numCache>
                <c:formatCode>General</c:formatCode>
                <c:ptCount val="149"/>
                <c:pt idx="0">
                  <c:v>102.86873113361679</c:v>
                </c:pt>
                <c:pt idx="1">
                  <c:v>102.81893784998066</c:v>
                </c:pt>
                <c:pt idx="2">
                  <c:v>102.76848376594295</c:v>
                </c:pt>
                <c:pt idx="3">
                  <c:v>102.71738030607986</c:v>
                </c:pt>
                <c:pt idx="4">
                  <c:v>102.66563871011505</c:v>
                </c:pt>
                <c:pt idx="5">
                  <c:v>102.61327003613981</c:v>
                </c:pt>
                <c:pt idx="6">
                  <c:v>102.56028516380813</c:v>
                </c:pt>
                <c:pt idx="7">
                  <c:v>102.50669479750498</c:v>
                </c:pt>
                <c:pt idx="8">
                  <c:v>102.45250946948656</c:v>
                </c:pt>
                <c:pt idx="9">
                  <c:v>102.39773954298845</c:v>
                </c:pt>
                <c:pt idx="10">
                  <c:v>102.34239521530355</c:v>
                </c:pt>
                <c:pt idx="11">
                  <c:v>102.28648652082491</c:v>
                </c:pt>
                <c:pt idx="12">
                  <c:v>102.23002333405209</c:v>
                </c:pt>
                <c:pt idx="13">
                  <c:v>102.1730153725633</c:v>
                </c:pt>
                <c:pt idx="14">
                  <c:v>102.11547219994752</c:v>
                </c:pt>
                <c:pt idx="15">
                  <c:v>102.05740322869619</c:v>
                </c:pt>
                <c:pt idx="16">
                  <c:v>101.99881772305706</c:v>
                </c:pt>
                <c:pt idx="17">
                  <c:v>101.99761267398635</c:v>
                </c:pt>
                <c:pt idx="18">
                  <c:v>101.99547220201799</c:v>
                </c:pt>
                <c:pt idx="19">
                  <c:v>101.99240881811389</c:v>
                </c:pt>
                <c:pt idx="20">
                  <c:v>101.98843492037865</c:v>
                </c:pt>
                <c:pt idx="21">
                  <c:v>101.98356279392374</c:v>
                </c:pt>
                <c:pt idx="22">
                  <c:v>101.97780461071196</c:v>
                </c:pt>
                <c:pt idx="23">
                  <c:v>101.97117242939062</c:v>
                </c:pt>
                <c:pt idx="24">
                  <c:v>101.96367819511347</c:v>
                </c:pt>
                <c:pt idx="25">
                  <c:v>101.95533373935788</c:v>
                </c:pt>
                <c:pt idx="26">
                  <c:v>101.94615077973617</c:v>
                </c:pt>
                <c:pt idx="27">
                  <c:v>101.93614091980636</c:v>
                </c:pt>
                <c:pt idx="28">
                  <c:v>101.92531564888779</c:v>
                </c:pt>
                <c:pt idx="29">
                  <c:v>101.91368634187847</c:v>
                </c:pt>
                <c:pt idx="30">
                  <c:v>101.90126425908348</c:v>
                </c:pt>
                <c:pt idx="31">
                  <c:v>101.88806054605173</c:v>
                </c:pt>
                <c:pt idx="32">
                  <c:v>101.87408623342753</c:v>
                </c:pt>
                <c:pt idx="33">
                  <c:v>101.85935223681801</c:v>
                </c:pt>
                <c:pt idx="34">
                  <c:v>101.84386935667722</c:v>
                </c:pt>
                <c:pt idx="35">
                  <c:v>101.827648278212</c:v>
                </c:pt>
                <c:pt idx="36">
                  <c:v>101.81069957131064</c:v>
                </c:pt>
                <c:pt idx="37">
                  <c:v>101.79303369049543</c:v>
                </c:pt>
                <c:pt idx="38">
                  <c:v>101.77466097490114</c:v>
                </c:pt>
                <c:pt idx="39">
                  <c:v>101.75559164828243</c:v>
                </c:pt>
                <c:pt idx="40">
                  <c:v>101.73583581905115</c:v>
                </c:pt>
                <c:pt idx="41">
                  <c:v>101.71540348034367</c:v>
                </c:pt>
                <c:pt idx="42">
                  <c:v>101.69430451012175</c:v>
                </c:pt>
                <c:pt idx="43">
                  <c:v>101.67254867130637</c:v>
                </c:pt>
                <c:pt idx="44">
                  <c:v>101.65014561194661</c:v>
                </c:pt>
                <c:pt idx="45">
                  <c:v>101.62710486542295</c:v>
                </c:pt>
                <c:pt idx="46">
                  <c:v>101.60343585068803</c:v>
                </c:pt>
                <c:pt idx="47">
                  <c:v>101.57914787254434</c:v>
                </c:pt>
                <c:pt idx="48">
                  <c:v>101.55425012195683</c:v>
                </c:pt>
                <c:pt idx="49">
                  <c:v>101.52875167640667</c:v>
                </c:pt>
                <c:pt idx="50">
                  <c:v>101.50266150028031</c:v>
                </c:pt>
                <c:pt idx="51">
                  <c:v>101.47598844529743</c:v>
                </c:pt>
                <c:pt idx="52">
                  <c:v>101.44874125097552</c:v>
                </c:pt>
                <c:pt idx="53">
                  <c:v>101.42092854513504</c:v>
                </c:pt>
                <c:pt idx="54">
                  <c:v>101.39255884443958</c:v>
                </c:pt>
                <c:pt idx="55">
                  <c:v>101.36364055497337</c:v>
                </c:pt>
                <c:pt idx="56">
                  <c:v>101.33418197285782</c:v>
                </c:pt>
                <c:pt idx="57">
                  <c:v>100.66376313225827</c:v>
                </c:pt>
                <c:pt idx="58">
                  <c:v>100</c:v>
                </c:pt>
                <c:pt idx="59">
                  <c:v>99.34294887157759</c:v>
                </c:pt>
                <c:pt idx="60">
                  <c:v>98.692654153987462</c:v>
                </c:pt>
                <c:pt idx="61">
                  <c:v>98.049148754825765</c:v>
                </c:pt>
                <c:pt idx="62">
                  <c:v>97.412454518926353</c:v>
                </c:pt>
                <c:pt idx="63">
                  <c:v>96.782582706032244</c:v>
                </c:pt>
                <c:pt idx="64">
                  <c:v>96.159534503041556</c:v>
                </c:pt>
                <c:pt idx="65">
                  <c:v>95.543301564464173</c:v>
                </c:pt>
                <c:pt idx="66">
                  <c:v>94.933866574894523</c:v>
                </c:pt>
                <c:pt idx="67">
                  <c:v>94.331203827493439</c:v>
                </c:pt>
                <c:pt idx="68">
                  <c:v>93.735279812712093</c:v>
                </c:pt>
                <c:pt idx="69">
                  <c:v>93.146053811765256</c:v>
                </c:pt>
                <c:pt idx="70">
                  <c:v>92.563478489647878</c:v>
                </c:pt>
                <c:pt idx="71">
                  <c:v>91.98750048283874</c:v>
                </c:pt>
                <c:pt idx="72">
                  <c:v>91.418060977166689</c:v>
                </c:pt>
                <c:pt idx="73">
                  <c:v>90.855096271711787</c:v>
                </c:pt>
                <c:pt idx="74">
                  <c:v>90.298538325012146</c:v>
                </c:pt>
                <c:pt idx="75">
                  <c:v>89.748315280260783</c:v>
                </c:pt>
                <c:pt idx="76">
                  <c:v>89.204351966627399</c:v>
                </c:pt>
                <c:pt idx="77">
                  <c:v>88.973656387325832</c:v>
                </c:pt>
                <c:pt idx="78">
                  <c:v>88.741937599333227</c:v>
                </c:pt>
                <c:pt idx="79">
                  <c:v>88.509210305149523</c:v>
                </c:pt>
                <c:pt idx="80">
                  <c:v>88.275489140321312</c:v>
                </c:pt>
                <c:pt idx="81">
                  <c:v>88.040788674577357</c:v>
                </c:pt>
                <c:pt idx="82">
                  <c:v>87.805123412986703</c:v>
                </c:pt>
                <c:pt idx="83">
                  <c:v>87.568507797135624</c:v>
                </c:pt>
                <c:pt idx="84">
                  <c:v>87.330956206322725</c:v>
                </c:pt>
                <c:pt idx="85">
                  <c:v>87.092482958768841</c:v>
                </c:pt>
                <c:pt idx="86">
                  <c:v>86.853102312844015</c:v>
                </c:pt>
                <c:pt idx="87">
                  <c:v>86.612828468302425</c:v>
                </c:pt>
                <c:pt idx="88">
                  <c:v>86.371675567533345</c:v>
                </c:pt>
                <c:pt idx="89">
                  <c:v>86.129657696815528</c:v>
                </c:pt>
                <c:pt idx="90">
                  <c:v>85.886788887582441</c:v>
                </c:pt>
                <c:pt idx="91">
                  <c:v>85.64308311769058</c:v>
                </c:pt>
                <c:pt idx="92">
                  <c:v>85.398554312691047</c:v>
                </c:pt>
                <c:pt idx="93">
                  <c:v>85.153216347103182</c:v>
                </c:pt>
                <c:pt idx="94">
                  <c:v>84.907083045685667</c:v>
                </c:pt>
                <c:pt idx="95">
                  <c:v>84.660168184706691</c:v>
                </c:pt>
                <c:pt idx="96">
                  <c:v>84.412485493209118</c:v>
                </c:pt>
                <c:pt idx="97">
                  <c:v>84.164048654267688</c:v>
                </c:pt>
                <c:pt idx="98">
                  <c:v>83.914871306239135</c:v>
                </c:pt>
                <c:pt idx="99">
                  <c:v>83.664967044002424</c:v>
                </c:pt>
                <c:pt idx="100">
                  <c:v>83.414349420182944</c:v>
                </c:pt>
                <c:pt idx="101">
                  <c:v>83.163031946367283</c:v>
                </c:pt>
                <c:pt idx="102">
                  <c:v>82.911028094297663</c:v>
                </c:pt>
                <c:pt idx="103">
                  <c:v>82.658351297050586</c:v>
                </c:pt>
                <c:pt idx="104">
                  <c:v>82.405014950194271</c:v>
                </c:pt>
                <c:pt idx="105">
                  <c:v>82.151032412923243</c:v>
                </c:pt>
                <c:pt idx="106">
                  <c:v>81.896417009171202</c:v>
                </c:pt>
                <c:pt idx="107">
                  <c:v>81.64118202869679</c:v>
                </c:pt>
                <c:pt idx="108">
                  <c:v>81.385340728140434</c:v>
                </c:pt>
                <c:pt idx="109">
                  <c:v>81.128906332055138</c:v>
                </c:pt>
                <c:pt idx="110">
                  <c:v>80.871892033901915</c:v>
                </c:pt>
                <c:pt idx="111">
                  <c:v>80.614310997016617</c:v>
                </c:pt>
                <c:pt idx="112">
                  <c:v>80.356176355537769</c:v>
                </c:pt>
                <c:pt idx="113">
                  <c:v>80.097501215301918</c:v>
                </c:pt>
                <c:pt idx="114">
                  <c:v>79.838298654697184</c:v>
                </c:pt>
                <c:pt idx="115">
                  <c:v>79.57858172548093</c:v>
                </c:pt>
                <c:pt idx="116">
                  <c:v>79.31836345355309</c:v>
                </c:pt>
                <c:pt idx="117">
                  <c:v>79.057656839689443</c:v>
                </c:pt>
                <c:pt idx="118">
                  <c:v>78.796474860227008</c:v>
                </c:pt>
                <c:pt idx="119">
                  <c:v>78.534830467708389</c:v>
                </c:pt>
                <c:pt idx="120">
                  <c:v>78.272736591476061</c:v>
                </c:pt>
                <c:pt idx="121">
                  <c:v>78.010206138218336</c:v>
                </c:pt>
                <c:pt idx="122">
                  <c:v>77.747251992467199</c:v>
                </c:pt>
                <c:pt idx="123">
                  <c:v>77.48388701704485</c:v>
                </c:pt>
                <c:pt idx="124">
                  <c:v>77.22012405345771</c:v>
                </c:pt>
                <c:pt idx="125">
                  <c:v>76.955975922238878</c:v>
                </c:pt>
                <c:pt idx="126">
                  <c:v>76.691455423234203</c:v>
                </c:pt>
                <c:pt idx="127">
                  <c:v>76.426575335837526</c:v>
                </c:pt>
                <c:pt idx="128">
                  <c:v>76.161348419165648</c:v>
                </c:pt>
                <c:pt idx="129">
                  <c:v>75.89578741218061</c:v>
                </c:pt>
                <c:pt idx="130">
                  <c:v>75.629905033752507</c:v>
                </c:pt>
                <c:pt idx="131">
                  <c:v>75.363713982666553</c:v>
                </c:pt>
                <c:pt idx="132">
                  <c:v>75.097226937570142</c:v>
                </c:pt>
                <c:pt idx="133">
                  <c:v>74.830456556863439</c:v>
                </c:pt>
                <c:pt idx="134">
                  <c:v>74.563415478528455</c:v>
                </c:pt>
                <c:pt idx="135">
                  <c:v>74.296116319902438</c:v>
                </c:pt>
                <c:pt idx="136">
                  <c:v>74.028571677387589</c:v>
                </c:pt>
                <c:pt idx="137">
                  <c:v>73.760794126106802</c:v>
                </c:pt>
                <c:pt idx="138">
                  <c:v>73.492796219495887</c:v>
                </c:pt>
                <c:pt idx="139">
                  <c:v>73.224590488838501</c:v>
                </c:pt>
                <c:pt idx="140">
                  <c:v>72.95618944274338</c:v>
                </c:pt>
                <c:pt idx="141">
                  <c:v>72.687605566560876</c:v>
                </c:pt>
                <c:pt idx="142">
                  <c:v>72.418851321743361</c:v>
                </c:pt>
                <c:pt idx="143">
                  <c:v>72.149939145147641</c:v>
                </c:pt>
                <c:pt idx="144">
                  <c:v>71.880881448281599</c:v>
                </c:pt>
                <c:pt idx="145">
                  <c:v>71.611690616492524</c:v>
                </c:pt>
                <c:pt idx="146">
                  <c:v>71.342379008104174</c:v>
                </c:pt>
                <c:pt idx="147">
                  <c:v>71.07295895349624</c:v>
                </c:pt>
                <c:pt idx="148">
                  <c:v>70.8034427541329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D$2:$D$150</c:f>
              <c:numCache>
                <c:formatCode>General</c:formatCode>
                <c:ptCount val="149"/>
                <c:pt idx="0">
                  <c:v>65.252391208745891</c:v>
                </c:pt>
                <c:pt idx="1">
                  <c:v>66.013863395529881</c:v>
                </c:pt>
                <c:pt idx="2">
                  <c:v>66.767969168847245</c:v>
                </c:pt>
                <c:pt idx="3">
                  <c:v>67.514781351019067</c:v>
                </c:pt>
                <c:pt idx="4">
                  <c:v>68.254371969741271</c:v>
                </c:pt>
                <c:pt idx="5">
                  <c:v>68.986812266768169</c:v>
                </c:pt>
                <c:pt idx="6">
                  <c:v>69.712172706552096</c:v>
                </c:pt>
                <c:pt idx="7">
                  <c:v>70.430522984837467</c:v>
                </c:pt>
                <c:pt idx="8">
                  <c:v>71.141932037209287</c:v>
                </c:pt>
                <c:pt idx="9">
                  <c:v>71.846468047592111</c:v>
                </c:pt>
                <c:pt idx="10">
                  <c:v>72.544198456701821</c:v>
                </c:pt>
                <c:pt idx="11">
                  <c:v>73.235189970445404</c:v>
                </c:pt>
                <c:pt idx="12">
                  <c:v>73.919508568268057</c:v>
                </c:pt>
                <c:pt idx="13">
                  <c:v>74.597219511448131</c:v>
                </c:pt>
                <c:pt idx="14">
                  <c:v>75.268387351336386</c:v>
                </c:pt>
                <c:pt idx="15">
                  <c:v>75.933075937536572</c:v>
                </c:pt>
                <c:pt idx="16">
                  <c:v>76.591348426030777</c:v>
                </c:pt>
                <c:pt idx="17">
                  <c:v>77.286596814936885</c:v>
                </c:pt>
                <c:pt idx="18">
                  <c:v>77.976012103861564</c:v>
                </c:pt>
                <c:pt idx="19">
                  <c:v>78.659641057262675</c:v>
                </c:pt>
                <c:pt idx="20">
                  <c:v>79.337530133946672</c:v>
                </c:pt>
                <c:pt idx="21">
                  <c:v>80.009725487711989</c:v>
                </c:pt>
                <c:pt idx="22">
                  <c:v>80.676272967940051</c:v>
                </c:pt>
                <c:pt idx="23">
                  <c:v>81.337218120140093</c:v>
                </c:pt>
                <c:pt idx="24">
                  <c:v>81.992606186449194</c:v>
                </c:pt>
                <c:pt idx="25">
                  <c:v>82.6424821060927</c:v>
                </c:pt>
                <c:pt idx="26">
                  <c:v>83.286890515806022</c:v>
                </c:pt>
                <c:pt idx="27">
                  <c:v>83.925875750222403</c:v>
                </c:pt>
                <c:pt idx="28">
                  <c:v>84.559481842231563</c:v>
                </c:pt>
                <c:pt idx="29">
                  <c:v>85.187752523309484</c:v>
                </c:pt>
                <c:pt idx="30">
                  <c:v>85.810731223826906</c:v>
                </c:pt>
                <c:pt idx="31">
                  <c:v>86.428461073336109</c:v>
                </c:pt>
                <c:pt idx="32">
                  <c:v>87.040984900842872</c:v>
                </c:pt>
                <c:pt idx="33">
                  <c:v>87.648345235066401</c:v>
                </c:pt>
                <c:pt idx="34">
                  <c:v>88.250584304688886</c:v>
                </c:pt>
                <c:pt idx="35">
                  <c:v>88.847744038600496</c:v>
                </c:pt>
                <c:pt idx="36">
                  <c:v>89.439866066143722</c:v>
                </c:pt>
                <c:pt idx="37">
                  <c:v>90.026991717358385</c:v>
                </c:pt>
                <c:pt idx="38">
                  <c:v>90.60916202323105</c:v>
                </c:pt>
                <c:pt idx="39">
                  <c:v>91.186417715954136</c:v>
                </c:pt>
                <c:pt idx="40">
                  <c:v>91.758799229196669</c:v>
                </c:pt>
                <c:pt idx="41">
                  <c:v>92.326346698388591</c:v>
                </c:pt>
                <c:pt idx="42">
                  <c:v>92.889099961024229</c:v>
                </c:pt>
                <c:pt idx="43">
                  <c:v>93.447098556984855</c:v>
                </c:pt>
                <c:pt idx="44">
                  <c:v>94.000381728886722</c:v>
                </c:pt>
                <c:pt idx="45">
                  <c:v>94.548988422452553</c:v>
                </c:pt>
                <c:pt idx="46">
                  <c:v>95.092957286912991</c:v>
                </c:pt>
                <c:pt idx="47">
                  <c:v>95.632326675439643</c:v>
                </c:pt>
                <c:pt idx="48">
                  <c:v>96.167134645608755</c:v>
                </c:pt>
                <c:pt idx="49">
                  <c:v>96.697418959901967</c:v>
                </c:pt>
                <c:pt idx="50">
                  <c:v>97.223217086243451</c:v>
                </c:pt>
                <c:pt idx="51">
                  <c:v>97.744566198575583</c:v>
                </c:pt>
                <c:pt idx="52">
                  <c:v>98.261503177473671</c:v>
                </c:pt>
                <c:pt idx="53">
                  <c:v>98.774064610805183</c:v>
                </c:pt>
                <c:pt idx="54">
                  <c:v>99.282286794429481</c:v>
                </c:pt>
                <c:pt idx="55">
                  <c:v>99.786205732941795</c:v>
                </c:pt>
                <c:pt idx="56">
                  <c:v>100.2858571404644</c:v>
                </c:pt>
                <c:pt idx="57">
                  <c:v>100.14481441665903</c:v>
                </c:pt>
                <c:pt idx="58">
                  <c:v>100</c:v>
                </c:pt>
                <c:pt idx="59">
                  <c:v>99.851675489461471</c:v>
                </c:pt>
                <c:pt idx="60">
                  <c:v>99.700089052838933</c:v>
                </c:pt>
                <c:pt idx="61">
                  <c:v>99.545475530241106</c:v>
                </c:pt>
                <c:pt idx="62">
                  <c:v>99.388056604274041</c:v>
                </c:pt>
                <c:pt idx="63">
                  <c:v>99.228041031542091</c:v>
                </c:pt>
                <c:pt idx="64">
                  <c:v>99.065624929836815</c:v>
                </c:pt>
                <c:pt idx="65">
                  <c:v>98.900992115189339</c:v>
                </c:pt>
                <c:pt idx="66">
                  <c:v>98.734314482857457</c:v>
                </c:pt>
                <c:pt idx="67">
                  <c:v>98.565752426252146</c:v>
                </c:pt>
                <c:pt idx="68">
                  <c:v>98.3954552878062</c:v>
                </c:pt>
                <c:pt idx="69">
                  <c:v>98.223561835851285</c:v>
                </c:pt>
                <c:pt idx="70">
                  <c:v>98.050200761654622</c:v>
                </c:pt>
                <c:pt idx="71">
                  <c:v>97.875491190944203</c:v>
                </c:pt>
                <c:pt idx="72">
                  <c:v>97.699543204431762</c:v>
                </c:pt>
                <c:pt idx="73">
                  <c:v>97.522458362108438</c:v>
                </c:pt>
                <c:pt idx="74">
                  <c:v>97.344330226380478</c:v>
                </c:pt>
                <c:pt idx="75">
                  <c:v>97.16524487944281</c:v>
                </c:pt>
                <c:pt idx="76">
                  <c:v>96.985281430679365</c:v>
                </c:pt>
                <c:pt idx="77">
                  <c:v>97.141280853907631</c:v>
                </c:pt>
                <c:pt idx="78">
                  <c:v>97.291552403756754</c:v>
                </c:pt>
                <c:pt idx="79">
                  <c:v>97.436139248056506</c:v>
                </c:pt>
                <c:pt idx="80">
                  <c:v>97.57508444544635</c:v>
                </c:pt>
                <c:pt idx="81">
                  <c:v>97.708430945646512</c:v>
                </c:pt>
                <c:pt idx="82">
                  <c:v>97.836221589793766</c:v>
                </c:pt>
                <c:pt idx="83">
                  <c:v>97.958499110838432</c:v>
                </c:pt>
                <c:pt idx="84">
                  <c:v>98.075306133999902</c:v>
                </c:pt>
                <c:pt idx="85">
                  <c:v>98.186685177278889</c:v>
                </c:pt>
                <c:pt idx="86">
                  <c:v>98.292678652026936</c:v>
                </c:pt>
                <c:pt idx="87">
                  <c:v>98.393328863565117</c:v>
                </c:pt>
                <c:pt idx="88">
                  <c:v>98.488678011858184</c:v>
                </c:pt>
                <c:pt idx="89">
                  <c:v>98.578768192230967</c:v>
                </c:pt>
                <c:pt idx="90">
                  <c:v>98.663641396135731</c:v>
                </c:pt>
                <c:pt idx="91">
                  <c:v>98.743339511959263</c:v>
                </c:pt>
                <c:pt idx="92">
                  <c:v>98.817904325871268</c:v>
                </c:pt>
                <c:pt idx="93">
                  <c:v>98.88737752271129</c:v>
                </c:pt>
                <c:pt idx="94">
                  <c:v>98.95180068690847</c:v>
                </c:pt>
                <c:pt idx="95">
                  <c:v>99.011215303435506</c:v>
                </c:pt>
                <c:pt idx="96">
                  <c:v>99.065662758791333</c:v>
                </c:pt>
                <c:pt idx="97">
                  <c:v>99.115184342007751</c:v>
                </c:pt>
                <c:pt idx="98">
                  <c:v>99.159821245682338</c:v>
                </c:pt>
                <c:pt idx="99">
                  <c:v>99.199614567030309</c:v>
                </c:pt>
                <c:pt idx="100">
                  <c:v>99.234605308950762</c:v>
                </c:pt>
                <c:pt idx="101">
                  <c:v>99.264834381111484</c:v>
                </c:pt>
                <c:pt idx="102">
                  <c:v>99.290342601039811</c:v>
                </c:pt>
                <c:pt idx="103">
                  <c:v>99.311170695224106</c:v>
                </c:pt>
                <c:pt idx="104">
                  <c:v>99.327359300217765</c:v>
                </c:pt>
                <c:pt idx="105">
                  <c:v>99.33894896374315</c:v>
                </c:pt>
                <c:pt idx="106">
                  <c:v>99.345980145795338</c:v>
                </c:pt>
                <c:pt idx="107">
                  <c:v>99.348493219739481</c:v>
                </c:pt>
                <c:pt idx="108">
                  <c:v>99.346528473396447</c:v>
                </c:pt>
                <c:pt idx="109">
                  <c:v>99.340126110119996</c:v>
                </c:pt>
                <c:pt idx="110">
                  <c:v>99.329326249854645</c:v>
                </c:pt>
                <c:pt idx="111">
                  <c:v>99.314168930177914</c:v>
                </c:pt>
                <c:pt idx="112">
                  <c:v>99.294694107315777</c:v>
                </c:pt>
                <c:pt idx="113">
                  <c:v>99.270941657137271</c:v>
                </c:pt>
                <c:pt idx="114">
                  <c:v>99.242951376115514</c:v>
                </c:pt>
                <c:pt idx="115">
                  <c:v>99.210762982260221</c:v>
                </c:pt>
                <c:pt idx="116">
                  <c:v>99.17441611601204</c:v>
                </c:pt>
                <c:pt idx="117">
                  <c:v>99.133950341100672</c:v>
                </c:pt>
                <c:pt idx="118">
                  <c:v>99.089405145357475</c:v>
                </c:pt>
                <c:pt idx="119">
                  <c:v>99.040819941487584</c:v>
                </c:pt>
                <c:pt idx="120">
                  <c:v>98.988234067792135</c:v>
                </c:pt>
                <c:pt idx="121">
                  <c:v>98.931686788837098</c:v>
                </c:pt>
                <c:pt idx="122">
                  <c:v>98.871217296072558</c:v>
                </c:pt>
                <c:pt idx="123">
                  <c:v>98.806864708392666</c:v>
                </c:pt>
                <c:pt idx="124">
                  <c:v>98.738668072636841</c:v>
                </c:pt>
                <c:pt idx="125">
                  <c:v>98.666666364028899</c:v>
                </c:pt>
                <c:pt idx="126">
                  <c:v>98.590898486550174</c:v>
                </c:pt>
                <c:pt idx="127">
                  <c:v>98.511403273248575</c:v>
                </c:pt>
                <c:pt idx="128">
                  <c:v>98.428219486474319</c:v>
                </c:pt>
                <c:pt idx="129">
                  <c:v>98.341385818045325</c:v>
                </c:pt>
                <c:pt idx="130">
                  <c:v>98.250940889339645</c:v>
                </c:pt>
                <c:pt idx="131">
                  <c:v>98.156923251310076</c:v>
                </c:pt>
                <c:pt idx="132">
                  <c:v>98.059371384420928</c:v>
                </c:pt>
                <c:pt idx="133">
                  <c:v>97.958323698506945</c:v>
                </c:pt>
                <c:pt idx="134">
                  <c:v>97.853818532546427</c:v>
                </c:pt>
                <c:pt idx="135">
                  <c:v>97.745894154357543</c:v>
                </c:pt>
                <c:pt idx="136">
                  <c:v>97.634588760202249</c:v>
                </c:pt>
                <c:pt idx="137">
                  <c:v>97.519940474312989</c:v>
                </c:pt>
                <c:pt idx="138">
                  <c:v>97.401987348326699</c:v>
                </c:pt>
                <c:pt idx="139">
                  <c:v>97.280767360632964</c:v>
                </c:pt>
                <c:pt idx="140">
                  <c:v>97.156318415635283</c:v>
                </c:pt>
                <c:pt idx="141">
                  <c:v>97.028678342920756</c:v>
                </c:pt>
                <c:pt idx="142">
                  <c:v>96.897884896342759</c:v>
                </c:pt>
                <c:pt idx="143">
                  <c:v>96.76397575301182</c:v>
                </c:pt>
                <c:pt idx="144">
                  <c:v>96.626988512199958</c:v>
                </c:pt>
                <c:pt idx="145">
                  <c:v>96.486960694150483</c:v>
                </c:pt>
                <c:pt idx="146">
                  <c:v>96.343929738804732</c:v>
                </c:pt>
                <c:pt idx="147">
                  <c:v>96.197933004433906</c:v>
                </c:pt>
                <c:pt idx="148">
                  <c:v>96.04900776618664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E$2:$E$150</c:f>
              <c:numCache>
                <c:formatCode>General</c:formatCode>
                <c:ptCount val="149"/>
                <c:pt idx="0">
                  <c:v>0.25619834710743805</c:v>
                </c:pt>
                <c:pt idx="1">
                  <c:v>0.25925925925925924</c:v>
                </c:pt>
                <c:pt idx="2">
                  <c:v>0.26229508196721307</c:v>
                </c:pt>
                <c:pt idx="3">
                  <c:v>0.26530612244897955</c:v>
                </c:pt>
                <c:pt idx="4">
                  <c:v>0.26829268292682923</c:v>
                </c:pt>
                <c:pt idx="5">
                  <c:v>0.27125506072874483</c:v>
                </c:pt>
                <c:pt idx="6">
                  <c:v>0.27419354838709675</c:v>
                </c:pt>
                <c:pt idx="7">
                  <c:v>0.27710843373493971</c:v>
                </c:pt>
                <c:pt idx="8">
                  <c:v>0.28000000000000003</c:v>
                </c:pt>
                <c:pt idx="9">
                  <c:v>0.28286852589641442</c:v>
                </c:pt>
                <c:pt idx="10">
                  <c:v>0.2857142857142857</c:v>
                </c:pt>
                <c:pt idx="11">
                  <c:v>0.28853754940711451</c:v>
                </c:pt>
                <c:pt idx="12">
                  <c:v>0.29133858267716539</c:v>
                </c:pt>
                <c:pt idx="13">
                  <c:v>0.29411764705882332</c:v>
                </c:pt>
                <c:pt idx="14">
                  <c:v>0.29687499999999989</c:v>
                </c:pt>
                <c:pt idx="15">
                  <c:v>0.29961089494163429</c:v>
                </c:pt>
                <c:pt idx="16">
                  <c:v>0.30232558139534876</c:v>
                </c:pt>
                <c:pt idx="17">
                  <c:v>0.30501930501930508</c:v>
                </c:pt>
                <c:pt idx="18">
                  <c:v>0.30769230769230771</c:v>
                </c:pt>
                <c:pt idx="19">
                  <c:v>0.31034482758620691</c:v>
                </c:pt>
                <c:pt idx="20">
                  <c:v>0.31297709923664113</c:v>
                </c:pt>
                <c:pt idx="21">
                  <c:v>0.31558935361216728</c:v>
                </c:pt>
                <c:pt idx="22">
                  <c:v>0.31818181818181823</c:v>
                </c:pt>
                <c:pt idx="23">
                  <c:v>0.32075471698113195</c:v>
                </c:pt>
                <c:pt idx="24">
                  <c:v>0.32330827067669182</c:v>
                </c:pt>
                <c:pt idx="25">
                  <c:v>0.32584269662921356</c:v>
                </c:pt>
                <c:pt idx="26">
                  <c:v>0.32835820895522377</c:v>
                </c:pt>
                <c:pt idx="27">
                  <c:v>0.33085501858736061</c:v>
                </c:pt>
                <c:pt idx="28">
                  <c:v>0.33333333333333337</c:v>
                </c:pt>
                <c:pt idx="29">
                  <c:v>0.33579335793357917</c:v>
                </c:pt>
                <c:pt idx="30">
                  <c:v>0.33823529411764697</c:v>
                </c:pt>
                <c:pt idx="31">
                  <c:v>0.34065934065934061</c:v>
                </c:pt>
                <c:pt idx="32">
                  <c:v>0.34306569343065696</c:v>
                </c:pt>
                <c:pt idx="33">
                  <c:v>0.34545454545454557</c:v>
                </c:pt>
                <c:pt idx="34">
                  <c:v>0.3478260869565219</c:v>
                </c:pt>
                <c:pt idx="35">
                  <c:v>0.35018050541516266</c:v>
                </c:pt>
                <c:pt idx="36">
                  <c:v>0.35251798561151076</c:v>
                </c:pt>
                <c:pt idx="37">
                  <c:v>0.35483870967741937</c:v>
                </c:pt>
                <c:pt idx="38">
                  <c:v>0.35714285714285715</c:v>
                </c:pt>
                <c:pt idx="39">
                  <c:v>0.35943060498220636</c:v>
                </c:pt>
                <c:pt idx="40">
                  <c:v>0.36170212765957449</c:v>
                </c:pt>
                <c:pt idx="41">
                  <c:v>0.36395759717314491</c:v>
                </c:pt>
                <c:pt idx="42">
                  <c:v>0.36619718309859167</c:v>
                </c:pt>
                <c:pt idx="43">
                  <c:v>0.36842105263157882</c:v>
                </c:pt>
                <c:pt idx="44">
                  <c:v>0.37062937062937051</c:v>
                </c:pt>
                <c:pt idx="45">
                  <c:v>0.37282229965156793</c:v>
                </c:pt>
                <c:pt idx="46">
                  <c:v>0.37500000000000006</c:v>
                </c:pt>
                <c:pt idx="47">
                  <c:v>0.37716262975778547</c:v>
                </c:pt>
                <c:pt idx="48">
                  <c:v>0.37931034482758624</c:v>
                </c:pt>
                <c:pt idx="49">
                  <c:v>0.38144329896907225</c:v>
                </c:pt>
                <c:pt idx="50">
                  <c:v>0.38356164383561642</c:v>
                </c:pt>
                <c:pt idx="51">
                  <c:v>0.38566552901023887</c:v>
                </c:pt>
                <c:pt idx="52">
                  <c:v>0.38775510204081631</c:v>
                </c:pt>
                <c:pt idx="53">
                  <c:v>0.38983050847457618</c:v>
                </c:pt>
                <c:pt idx="54">
                  <c:v>0.39189189189189189</c:v>
                </c:pt>
                <c:pt idx="55">
                  <c:v>0.39393939393939392</c:v>
                </c:pt>
                <c:pt idx="56">
                  <c:v>0.39597315436241615</c:v>
                </c:pt>
                <c:pt idx="57">
                  <c:v>0.39799331103678925</c:v>
                </c:pt>
                <c:pt idx="58">
                  <c:v>0.4</c:v>
                </c:pt>
                <c:pt idx="59">
                  <c:v>0.40199335548172749</c:v>
                </c:pt>
                <c:pt idx="60">
                  <c:v>0.40397350993377468</c:v>
                </c:pt>
                <c:pt idx="61">
                  <c:v>0.40594059405940591</c:v>
                </c:pt>
                <c:pt idx="62">
                  <c:v>0.40789473684210537</c:v>
                </c:pt>
                <c:pt idx="63">
                  <c:v>0.40983606557377045</c:v>
                </c:pt>
                <c:pt idx="64">
                  <c:v>0.41176470588235287</c:v>
                </c:pt>
                <c:pt idx="65">
                  <c:v>0.41368078175895767</c:v>
                </c:pt>
                <c:pt idx="66">
                  <c:v>0.41558441558441567</c:v>
                </c:pt>
                <c:pt idx="67">
                  <c:v>0.41747572815533984</c:v>
                </c:pt>
                <c:pt idx="68">
                  <c:v>0.41935483870967755</c:v>
                </c:pt>
                <c:pt idx="69">
                  <c:v>0.42122186495176844</c:v>
                </c:pt>
                <c:pt idx="70">
                  <c:v>0.42307692307692296</c:v>
                </c:pt>
                <c:pt idx="71">
                  <c:v>0.42492012779552712</c:v>
                </c:pt>
                <c:pt idx="72">
                  <c:v>0.42675159235668786</c:v>
                </c:pt>
                <c:pt idx="73">
                  <c:v>0.42857142857142855</c:v>
                </c:pt>
                <c:pt idx="74">
                  <c:v>0.43037974683544306</c:v>
                </c:pt>
                <c:pt idx="75">
                  <c:v>0.43217665615141948</c:v>
                </c:pt>
                <c:pt idx="76">
                  <c:v>0.43396226415094341</c:v>
                </c:pt>
                <c:pt idx="77">
                  <c:v>0.43573667711598735</c:v>
                </c:pt>
                <c:pt idx="78">
                  <c:v>0.43750000000000011</c:v>
                </c:pt>
                <c:pt idx="79">
                  <c:v>0.43925233644859807</c:v>
                </c:pt>
                <c:pt idx="80">
                  <c:v>0.44099378881987572</c:v>
                </c:pt>
                <c:pt idx="81">
                  <c:v>0.44272445820433437</c:v>
                </c:pt>
                <c:pt idx="82">
                  <c:v>0.44444444444444442</c:v>
                </c:pt>
                <c:pt idx="83">
                  <c:v>0.44615384615384618</c:v>
                </c:pt>
                <c:pt idx="84">
                  <c:v>0.44785276073619629</c:v>
                </c:pt>
                <c:pt idx="85">
                  <c:v>0.44954128440366975</c:v>
                </c:pt>
                <c:pt idx="86">
                  <c:v>0.45121951219512185</c:v>
                </c:pt>
                <c:pt idx="87">
                  <c:v>0.45288753799392095</c:v>
                </c:pt>
                <c:pt idx="88">
                  <c:v>0.45454545454545453</c:v>
                </c:pt>
                <c:pt idx="89">
                  <c:v>0.45619335347432022</c:v>
                </c:pt>
                <c:pt idx="90">
                  <c:v>0.45783132530120479</c:v>
                </c:pt>
                <c:pt idx="91">
                  <c:v>0.45945945945945943</c:v>
                </c:pt>
                <c:pt idx="92">
                  <c:v>0.46107784431137722</c:v>
                </c:pt>
                <c:pt idx="93">
                  <c:v>0.462686567164179</c:v>
                </c:pt>
                <c:pt idx="94">
                  <c:v>0.46428571428571425</c:v>
                </c:pt>
                <c:pt idx="95">
                  <c:v>0.46587537091988124</c:v>
                </c:pt>
                <c:pt idx="96">
                  <c:v>0.46745562130177515</c:v>
                </c:pt>
                <c:pt idx="97">
                  <c:v>0.46902654867256632</c:v>
                </c:pt>
                <c:pt idx="98">
                  <c:v>0.47058823529411764</c:v>
                </c:pt>
                <c:pt idx="99">
                  <c:v>0.47214076246334313</c:v>
                </c:pt>
                <c:pt idx="100">
                  <c:v>0.47368421052631582</c:v>
                </c:pt>
                <c:pt idx="101">
                  <c:v>0.47521865889212833</c:v>
                </c:pt>
                <c:pt idx="102">
                  <c:v>0.47674418604651164</c:v>
                </c:pt>
                <c:pt idx="103">
                  <c:v>0.47826086956521752</c:v>
                </c:pt>
                <c:pt idx="104">
                  <c:v>0.47976878612716767</c:v>
                </c:pt>
                <c:pt idx="105">
                  <c:v>0.48126801152737758</c:v>
                </c:pt>
                <c:pt idx="106">
                  <c:v>0.48275862068965514</c:v>
                </c:pt>
                <c:pt idx="107">
                  <c:v>0.48424068767908307</c:v>
                </c:pt>
                <c:pt idx="108">
                  <c:v>0.48571428571428565</c:v>
                </c:pt>
                <c:pt idx="109">
                  <c:v>0.48717948717948711</c:v>
                </c:pt>
                <c:pt idx="110">
                  <c:v>0.4886363636363637</c:v>
                </c:pt>
                <c:pt idx="111">
                  <c:v>0.49008498583569399</c:v>
                </c:pt>
                <c:pt idx="112">
                  <c:v>0.49152542372881358</c:v>
                </c:pt>
                <c:pt idx="113">
                  <c:v>0.49295774647887325</c:v>
                </c:pt>
                <c:pt idx="114">
                  <c:v>0.49438202247191004</c:v>
                </c:pt>
                <c:pt idx="115">
                  <c:v>0.49579831932773105</c:v>
                </c:pt>
                <c:pt idx="116">
                  <c:v>0.49720670391061456</c:v>
                </c:pt>
                <c:pt idx="117">
                  <c:v>0.49860724233983289</c:v>
                </c:pt>
                <c:pt idx="118">
                  <c:v>0.5</c:v>
                </c:pt>
                <c:pt idx="119">
                  <c:v>0.50138504155124652</c:v>
                </c:pt>
                <c:pt idx="120">
                  <c:v>0.50276243093922657</c:v>
                </c:pt>
                <c:pt idx="121">
                  <c:v>0.50413223140495866</c:v>
                </c:pt>
                <c:pt idx="122">
                  <c:v>0.50549450549450547</c:v>
                </c:pt>
                <c:pt idx="123">
                  <c:v>0.50684931506849307</c:v>
                </c:pt>
                <c:pt idx="124">
                  <c:v>0.50819672131147542</c:v>
                </c:pt>
                <c:pt idx="125">
                  <c:v>0.50953678474114439</c:v>
                </c:pt>
                <c:pt idx="126">
                  <c:v>0.51086956521739135</c:v>
                </c:pt>
                <c:pt idx="127">
                  <c:v>0.51219512195121941</c:v>
                </c:pt>
                <c:pt idx="128">
                  <c:v>0.5135135135135136</c:v>
                </c:pt>
                <c:pt idx="129">
                  <c:v>0.51482479784366575</c:v>
                </c:pt>
                <c:pt idx="130">
                  <c:v>0.5161290322580645</c:v>
                </c:pt>
                <c:pt idx="131">
                  <c:v>0.51742627345844505</c:v>
                </c:pt>
                <c:pt idx="132">
                  <c:v>0.51871657754010692</c:v>
                </c:pt>
                <c:pt idx="133">
                  <c:v>0.52</c:v>
                </c:pt>
                <c:pt idx="134">
                  <c:v>0.52127659574468077</c:v>
                </c:pt>
                <c:pt idx="135">
                  <c:v>0.52254641909814326</c:v>
                </c:pt>
                <c:pt idx="136">
                  <c:v>0.52380952380952384</c:v>
                </c:pt>
                <c:pt idx="137">
                  <c:v>0.52506596306068598</c:v>
                </c:pt>
                <c:pt idx="138">
                  <c:v>0.52631578947368418</c:v>
                </c:pt>
                <c:pt idx="139">
                  <c:v>0.52755905511811019</c:v>
                </c:pt>
                <c:pt idx="140">
                  <c:v>0.52879581151832467</c:v>
                </c:pt>
                <c:pt idx="141">
                  <c:v>0.5300261096605744</c:v>
                </c:pt>
                <c:pt idx="142">
                  <c:v>0.53125000000000011</c:v>
                </c:pt>
                <c:pt idx="143">
                  <c:v>0.53246753246753242</c:v>
                </c:pt>
                <c:pt idx="144">
                  <c:v>0.53367875647668395</c:v>
                </c:pt>
                <c:pt idx="145">
                  <c:v>0.53488372093023251</c:v>
                </c:pt>
                <c:pt idx="146">
                  <c:v>0.53608247422680411</c:v>
                </c:pt>
                <c:pt idx="147">
                  <c:v>0.53727506426735216</c:v>
                </c:pt>
                <c:pt idx="148">
                  <c:v>0.53846153846153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Canard-Duchêne Blanc Cuvée Léonie Brut 750ml (2.6%)</c:v>
                </c:pt>
                <c:pt idx="4">
                  <c:v>Champagne Taittinger Prestige Brut 750ml (1.6%)</c:v>
                </c:pt>
                <c:pt idx="5">
                  <c:v>Champagne Ruinart Brut (étui) 750ml (1.2%)</c:v>
                </c:pt>
                <c:pt idx="6">
                  <c:v>Champagne Laurent-Perrier Blanc La Cuvée 750ml (2.7%)</c:v>
                </c:pt>
                <c:pt idx="7">
                  <c:v>Champagne Malard Brut 1er Cru 750ml (4.1%)</c:v>
                </c:pt>
                <c:pt idx="8">
                  <c:v>Champagne Veuve Clicquot Réserve Cuvée 750ml (1.7%)</c:v>
                </c:pt>
                <c:pt idx="9">
                  <c:v>Champagne Ayala Brut Majeur 750ml (1.7%)</c:v>
                </c:pt>
              </c:strCache>
            </c:strRef>
          </c:cat>
          <c:val>
            <c:numRef>
              <c:f>Sheet1!$B$2:$B$11</c:f>
              <c:numCache>
                <c:formatCode>General</c:formatCode>
                <c:ptCount val="10"/>
                <c:pt idx="0">
                  <c:v>0.17015631100170228</c:v>
                </c:pt>
                <c:pt idx="1">
                  <c:v>6.5896133372686877E-2</c:v>
                </c:pt>
                <c:pt idx="2">
                  <c:v>5.2202087805724211E-2</c:v>
                </c:pt>
                <c:pt idx="3">
                  <c:v>4.1172581313871574E-2</c:v>
                </c:pt>
                <c:pt idx="4">
                  <c:v>3.5671278656972394E-2</c:v>
                </c:pt>
                <c:pt idx="5">
                  <c:v>3.4699879910371517E-2</c:v>
                </c:pt>
                <c:pt idx="6">
                  <c:v>3.058737184610168E-2</c:v>
                </c:pt>
                <c:pt idx="7">
                  <c:v>2.9695970299707823E-2</c:v>
                </c:pt>
                <c:pt idx="8">
                  <c:v>2.839980607524531E-2</c:v>
                </c:pt>
                <c:pt idx="9">
                  <c:v>2.77501629633330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E.Nicolas Brut 750ml (11.6%)</c:v>
                </c:pt>
                <c:pt idx="5">
                  <c:v>Champagne Laurent-Perrier Blanc La Cuvée 1500ml (0.8%)</c:v>
                </c:pt>
                <c:pt idx="6">
                  <c:v>Champagne Taittinger Prestige Brut 750ml (1.6%)</c:v>
                </c:pt>
                <c:pt idx="7">
                  <c:v>Champagne Canard-Duchêne Blanc Cuvée Léonie Brut 750ml (2.6%)</c:v>
                </c:pt>
                <c:pt idx="8">
                  <c:v>Champagne Ruinart Brut (étui) 1500ml (0.7%)</c:v>
                </c:pt>
                <c:pt idx="9">
                  <c:v>Champagne Veuve Clicquot Réserve Cuvée 750ml (1.7%)</c:v>
                </c:pt>
              </c:strCache>
            </c:strRef>
          </c:cat>
          <c:val>
            <c:numRef>
              <c:f>Sheet1!$B$2:$B$11</c:f>
              <c:numCache>
                <c:formatCode>General</c:formatCode>
                <c:ptCount val="10"/>
                <c:pt idx="0">
                  <c:v>0.23421762099112825</c:v>
                </c:pt>
                <c:pt idx="1">
                  <c:v>4.937964517458044E-2</c:v>
                </c:pt>
                <c:pt idx="2">
                  <c:v>4.1405184108210404E-2</c:v>
                </c:pt>
                <c:pt idx="3">
                  <c:v>3.9942595751075213E-2</c:v>
                </c:pt>
                <c:pt idx="4">
                  <c:v>3.8918622643459147E-2</c:v>
                </c:pt>
                <c:pt idx="5">
                  <c:v>3.3893413310349084E-2</c:v>
                </c:pt>
                <c:pt idx="6">
                  <c:v>2.973999994539497E-2</c:v>
                </c:pt>
                <c:pt idx="7">
                  <c:v>2.8985386279169301E-2</c:v>
                </c:pt>
                <c:pt idx="8">
                  <c:v>2.8411481102383035E-2</c:v>
                </c:pt>
                <c:pt idx="9">
                  <c:v>2.81049643095764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Canard-Duchêne (3.1%)</c:v>
                </c:pt>
                <c:pt idx="2">
                  <c:v>Nicolas Feuillatte (4.5%)</c:v>
                </c:pt>
                <c:pt idx="3">
                  <c:v>Nicolas (14.4%)</c:v>
                </c:pt>
                <c:pt idx="4">
                  <c:v>Piper-Heidsieck (0.4%)</c:v>
                </c:pt>
                <c:pt idx="5">
                  <c:v>Demoiselle (3.5%)</c:v>
                </c:pt>
                <c:pt idx="6">
                  <c:v>Besserat De Bellefon (2.0%)</c:v>
                </c:pt>
                <c:pt idx="7">
                  <c:v>Carlo V (5.4%)</c:v>
                </c:pt>
                <c:pt idx="8">
                  <c:v>Ayala (1.7%)</c:v>
                </c:pt>
                <c:pt idx="9">
                  <c:v>Ruinart (12.8%)</c:v>
                </c:pt>
              </c:strCache>
            </c:strRef>
          </c:cat>
          <c:val>
            <c:numRef>
              <c:f>Sheet1!$B$2:$B$11</c:f>
              <c:numCache>
                <c:formatCode>General</c:formatCode>
                <c:ptCount val="10"/>
                <c:pt idx="0">
                  <c:v>0.12990076658880045</c:v>
                </c:pt>
                <c:pt idx="1">
                  <c:v>0.11945755952653508</c:v>
                </c:pt>
                <c:pt idx="2">
                  <c:v>0.10697512236880877</c:v>
                </c:pt>
                <c:pt idx="3">
                  <c:v>9.2927269192374262E-2</c:v>
                </c:pt>
                <c:pt idx="4">
                  <c:v>5.5666564454537944E-2</c:v>
                </c:pt>
                <c:pt idx="5">
                  <c:v>4.6918187671957573E-2</c:v>
                </c:pt>
                <c:pt idx="6">
                  <c:v>4.4555430091321298E-2</c:v>
                </c:pt>
                <c:pt idx="7">
                  <c:v>3.8460835509131631E-2</c:v>
                </c:pt>
                <c:pt idx="8">
                  <c:v>3.3348072681553396E-2</c:v>
                </c:pt>
                <c:pt idx="9">
                  <c:v>3.237195115280815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Besserat De Bellefon (2.0%)</c:v>
                </c:pt>
                <c:pt idx="5">
                  <c:v>Demoiselle (3.5%)</c:v>
                </c:pt>
                <c:pt idx="6">
                  <c:v>Deutz (4.8%)</c:v>
                </c:pt>
                <c:pt idx="7">
                  <c:v>Ruinart (12.8%)</c:v>
                </c:pt>
                <c:pt idx="8">
                  <c:v>Laurent Perrier (3.9%)</c:v>
                </c:pt>
                <c:pt idx="9">
                  <c:v>Canard-Duchêne (3.1%)</c:v>
                </c:pt>
              </c:strCache>
            </c:strRef>
          </c:cat>
          <c:val>
            <c:numRef>
              <c:f>Sheet1!$B$2:$B$11</c:f>
              <c:numCache>
                <c:formatCode>General</c:formatCode>
                <c:ptCount val="10"/>
                <c:pt idx="0">
                  <c:v>0.13706158213130162</c:v>
                </c:pt>
                <c:pt idx="1">
                  <c:v>0.11781441654125178</c:v>
                </c:pt>
                <c:pt idx="2">
                  <c:v>7.6319570962329872E-2</c:v>
                </c:pt>
                <c:pt idx="3">
                  <c:v>6.6374138665135571E-2</c:v>
                </c:pt>
                <c:pt idx="4">
                  <c:v>5.2865325848914305E-2</c:v>
                </c:pt>
                <c:pt idx="5">
                  <c:v>4.935928363013227E-2</c:v>
                </c:pt>
                <c:pt idx="6">
                  <c:v>4.8165614122776042E-2</c:v>
                </c:pt>
                <c:pt idx="7">
                  <c:v>3.8001733546108585E-2</c:v>
                </c:pt>
                <c:pt idx="8">
                  <c:v>3.6766857684547891E-2</c:v>
                </c:pt>
                <c:pt idx="9">
                  <c:v>3.341501964970260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Deutz (4.8%)</c:v>
                </c:pt>
                <c:pt idx="3">
                  <c:v>Ruinart (12.8%)</c:v>
                </c:pt>
                <c:pt idx="4">
                  <c:v>Heidsieck &amp; C° Monopole (4.2%)</c:v>
                </c:pt>
                <c:pt idx="5">
                  <c:v>Nicolas Feuillatte (4.5%)</c:v>
                </c:pt>
                <c:pt idx="6">
                  <c:v>Besserat De Bellefon (2.0%)</c:v>
                </c:pt>
                <c:pt idx="7">
                  <c:v>Demoiselle (3.5%)</c:v>
                </c:pt>
                <c:pt idx="8">
                  <c:v>Laurent Perrier (3.9%)</c:v>
                </c:pt>
                <c:pt idx="9">
                  <c:v>Carlo V (5.4%)</c:v>
                </c:pt>
              </c:strCache>
            </c:strRef>
          </c:cat>
          <c:val>
            <c:numRef>
              <c:f>Sheet1!$B$2:$B$11</c:f>
              <c:numCache>
                <c:formatCode>General</c:formatCode>
                <c:ptCount val="10"/>
                <c:pt idx="0">
                  <c:v>0.17212756576512706</c:v>
                </c:pt>
                <c:pt idx="1">
                  <c:v>8.4860656976150528E-2</c:v>
                </c:pt>
                <c:pt idx="2">
                  <c:v>6.7881118195104242E-2</c:v>
                </c:pt>
                <c:pt idx="3">
                  <c:v>5.2863701849463068E-2</c:v>
                </c:pt>
                <c:pt idx="4">
                  <c:v>4.8170339283371055E-2</c:v>
                </c:pt>
                <c:pt idx="5">
                  <c:v>4.7778233754388777E-2</c:v>
                </c:pt>
                <c:pt idx="6">
                  <c:v>4.3573847377557678E-2</c:v>
                </c:pt>
                <c:pt idx="7">
                  <c:v>4.25062001606685E-2</c:v>
                </c:pt>
                <c:pt idx="8">
                  <c:v>4.0551230225010844E-2</c:v>
                </c:pt>
                <c:pt idx="9">
                  <c:v>3.01859402339767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14.4%)</c:v>
                </c:pt>
                <c:pt idx="3">
                  <c:v>Canard-Duchêne (3.1%)</c:v>
                </c:pt>
                <c:pt idx="4">
                  <c:v>Ayala (1.7%)</c:v>
                </c:pt>
                <c:pt idx="5">
                  <c:v>Besserat De Bellefon (2.0%)</c:v>
                </c:pt>
                <c:pt idx="6">
                  <c:v>Nicolas Feuillatte (4.5%)</c:v>
                </c:pt>
                <c:pt idx="7">
                  <c:v>Demoiselle (3.5%)</c:v>
                </c:pt>
                <c:pt idx="8">
                  <c:v>Deutz (4.8%)</c:v>
                </c:pt>
                <c:pt idx="9">
                  <c:v>Vesselle (1.0%)</c:v>
                </c:pt>
              </c:strCache>
            </c:strRef>
          </c:cat>
          <c:val>
            <c:numRef>
              <c:f>Sheet1!$B$2:$B$11</c:f>
              <c:numCache>
                <c:formatCode>General</c:formatCode>
                <c:ptCount val="10"/>
                <c:pt idx="0">
                  <c:v>0.14948863421932784</c:v>
                </c:pt>
                <c:pt idx="1">
                  <c:v>0.14422868585555421</c:v>
                </c:pt>
                <c:pt idx="2">
                  <c:v>0.10144668968403515</c:v>
                </c:pt>
                <c:pt idx="3">
                  <c:v>6.6384429588399158E-2</c:v>
                </c:pt>
                <c:pt idx="4">
                  <c:v>5.5219090432042976E-2</c:v>
                </c:pt>
                <c:pt idx="5">
                  <c:v>5.4334227796834153E-2</c:v>
                </c:pt>
                <c:pt idx="6">
                  <c:v>4.3057648799684746E-2</c:v>
                </c:pt>
                <c:pt idx="7">
                  <c:v>3.6469706253736231E-2</c:v>
                </c:pt>
                <c:pt idx="8">
                  <c:v>3.6011869283347361E-2</c:v>
                </c:pt>
                <c:pt idx="9">
                  <c:v>3.00612803241738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Heidsieck &amp; C° Monopole (4.2%)</c:v>
                </c:pt>
                <c:pt idx="5">
                  <c:v>Bottega (3.7%)</c:v>
                </c:pt>
                <c:pt idx="6">
                  <c:v>Demoiselle (3.5%)</c:v>
                </c:pt>
                <c:pt idx="7">
                  <c:v>Ruinart (12.8%)</c:v>
                </c:pt>
                <c:pt idx="8">
                  <c:v>Canard-Duchêne (3.1%)</c:v>
                </c:pt>
                <c:pt idx="9">
                  <c:v>Bouvet Ladubay (1.5%)</c:v>
                </c:pt>
              </c:strCache>
            </c:strRef>
          </c:cat>
          <c:val>
            <c:numRef>
              <c:f>Sheet1!$B$2:$B$11</c:f>
              <c:numCache>
                <c:formatCode>General</c:formatCode>
                <c:ptCount val="10"/>
                <c:pt idx="0">
                  <c:v>0.12170245271700972</c:v>
                </c:pt>
                <c:pt idx="1">
                  <c:v>7.2727235420165764E-2</c:v>
                </c:pt>
                <c:pt idx="2">
                  <c:v>6.9664192010247067E-2</c:v>
                </c:pt>
                <c:pt idx="3">
                  <c:v>5.1873331104432471E-2</c:v>
                </c:pt>
                <c:pt idx="4">
                  <c:v>5.0438964825045715E-2</c:v>
                </c:pt>
                <c:pt idx="5">
                  <c:v>4.9786244396738857E-2</c:v>
                </c:pt>
                <c:pt idx="6">
                  <c:v>4.0062984888096079E-2</c:v>
                </c:pt>
                <c:pt idx="7">
                  <c:v>3.9623506571940775E-2</c:v>
                </c:pt>
                <c:pt idx="8">
                  <c:v>3.7385756374576938E-2</c:v>
                </c:pt>
                <c:pt idx="9">
                  <c:v>3.60784589801692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Besserat De Bellefon (2.0%)</c:v>
                </c:pt>
                <c:pt idx="4">
                  <c:v>Canard-Duchêne (3.1%)</c:v>
                </c:pt>
                <c:pt idx="5">
                  <c:v>Demoiselle (3.5%)</c:v>
                </c:pt>
                <c:pt idx="6">
                  <c:v>Ayala (1.7%)</c:v>
                </c:pt>
                <c:pt idx="7">
                  <c:v>Deutz (4.8%)</c:v>
                </c:pt>
                <c:pt idx="8">
                  <c:v>Nicolas Feuillatte (4.5%)</c:v>
                </c:pt>
                <c:pt idx="9">
                  <c:v>Laurent Perrier (3.9%)</c:v>
                </c:pt>
              </c:strCache>
            </c:strRef>
          </c:cat>
          <c:val>
            <c:numRef>
              <c:f>Sheet1!$B$2:$B$11</c:f>
              <c:numCache>
                <c:formatCode>General</c:formatCode>
                <c:ptCount val="10"/>
                <c:pt idx="0">
                  <c:v>0.11500165011226124</c:v>
                </c:pt>
                <c:pt idx="1">
                  <c:v>0.10551823702315367</c:v>
                </c:pt>
                <c:pt idx="2">
                  <c:v>0.1013649854207149</c:v>
                </c:pt>
                <c:pt idx="3">
                  <c:v>5.6352132871262804E-2</c:v>
                </c:pt>
                <c:pt idx="4">
                  <c:v>4.9974334187508775E-2</c:v>
                </c:pt>
                <c:pt idx="5">
                  <c:v>4.7505701442918782E-2</c:v>
                </c:pt>
                <c:pt idx="6">
                  <c:v>4.7499769886744217E-2</c:v>
                </c:pt>
                <c:pt idx="7">
                  <c:v>4.6275533584308116E-2</c:v>
                </c:pt>
                <c:pt idx="8">
                  <c:v>4.4414394374604489E-2</c:v>
                </c:pt>
                <c:pt idx="9">
                  <c:v>4.056326322710407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14.4%)</c:v>
                </c:pt>
                <c:pt idx="2">
                  <c:v>Nicolas Feuillatte (4.5%)</c:v>
                </c:pt>
                <c:pt idx="3">
                  <c:v>Malard (6.0%)</c:v>
                </c:pt>
                <c:pt idx="4">
                  <c:v>Ruinart (12.8%)</c:v>
                </c:pt>
                <c:pt idx="5">
                  <c:v>Demoiselle (3.5%)</c:v>
                </c:pt>
                <c:pt idx="6">
                  <c:v>Deutz (4.8%)</c:v>
                </c:pt>
                <c:pt idx="7">
                  <c:v>Canard-Duchêne (3.1%)</c:v>
                </c:pt>
                <c:pt idx="8">
                  <c:v>Besserat De Bellefon (2.0%)</c:v>
                </c:pt>
                <c:pt idx="9">
                  <c:v>Taittinger (2.2%)</c:v>
                </c:pt>
              </c:strCache>
            </c:strRef>
          </c:cat>
          <c:val>
            <c:numRef>
              <c:f>Sheet1!$B$2:$B$11</c:f>
              <c:numCache>
                <c:formatCode>General</c:formatCode>
                <c:ptCount val="10"/>
                <c:pt idx="0">
                  <c:v>0.11691761836991842</c:v>
                </c:pt>
                <c:pt idx="1">
                  <c:v>0.10293787468951526</c:v>
                </c:pt>
                <c:pt idx="2">
                  <c:v>8.525032885497473E-2</c:v>
                </c:pt>
                <c:pt idx="3">
                  <c:v>7.9897323115526719E-2</c:v>
                </c:pt>
                <c:pt idx="4">
                  <c:v>7.669116571714675E-2</c:v>
                </c:pt>
                <c:pt idx="5">
                  <c:v>6.5712480769947831E-2</c:v>
                </c:pt>
                <c:pt idx="6">
                  <c:v>4.7293196634103425E-2</c:v>
                </c:pt>
                <c:pt idx="7">
                  <c:v>4.4418522016135775E-2</c:v>
                </c:pt>
                <c:pt idx="8">
                  <c:v>3.4847669864880589E-2</c:v>
                </c:pt>
                <c:pt idx="9">
                  <c:v>2.86751685194633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Nicolas (14.4%)</c:v>
                </c:pt>
                <c:pt idx="2">
                  <c:v>Heidsieck &amp; C° Monopole (4.2%)</c:v>
                </c:pt>
                <c:pt idx="3">
                  <c:v>Nicolas Feuillatte (4.5%)</c:v>
                </c:pt>
                <c:pt idx="4">
                  <c:v>Malard (6.0%)</c:v>
                </c:pt>
                <c:pt idx="5">
                  <c:v>Demoiselle (3.5%)</c:v>
                </c:pt>
                <c:pt idx="6">
                  <c:v>Deutz (4.8%)</c:v>
                </c:pt>
                <c:pt idx="7">
                  <c:v>Taittinger (2.2%)</c:v>
                </c:pt>
                <c:pt idx="8">
                  <c:v>Veuve Clicquot (1.7%)</c:v>
                </c:pt>
                <c:pt idx="9">
                  <c:v>Moët &amp; Chandon (1.1%)</c:v>
                </c:pt>
              </c:strCache>
            </c:strRef>
          </c:cat>
          <c:val>
            <c:numRef>
              <c:f>Sheet1!$B$2:$B$11</c:f>
              <c:numCache>
                <c:formatCode>General</c:formatCode>
                <c:ptCount val="10"/>
                <c:pt idx="0">
                  <c:v>0.11289457132498819</c:v>
                </c:pt>
                <c:pt idx="1">
                  <c:v>9.7119085885189541E-2</c:v>
                </c:pt>
                <c:pt idx="2">
                  <c:v>8.6425466578375132E-2</c:v>
                </c:pt>
                <c:pt idx="3">
                  <c:v>7.9104050939038884E-2</c:v>
                </c:pt>
                <c:pt idx="4">
                  <c:v>6.4798111198079447E-2</c:v>
                </c:pt>
                <c:pt idx="5">
                  <c:v>6.3662001088986717E-2</c:v>
                </c:pt>
                <c:pt idx="6">
                  <c:v>5.8109938521134788E-2</c:v>
                </c:pt>
                <c:pt idx="7">
                  <c:v>4.48749044733164E-2</c:v>
                </c:pt>
                <c:pt idx="8">
                  <c:v>3.72289532681504E-2</c:v>
                </c:pt>
                <c:pt idx="9">
                  <c:v>3.64401955082071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Vesselle (1.0%)</c:v>
                </c:pt>
                <c:pt idx="5">
                  <c:v>Canard-Duchêne (3.1%)</c:v>
                </c:pt>
                <c:pt idx="6">
                  <c:v>Louis Martin (0.5%)</c:v>
                </c:pt>
                <c:pt idx="7">
                  <c:v>Besserat De Bellefon (2.0%)</c:v>
                </c:pt>
                <c:pt idx="8">
                  <c:v>De Bligny (1.3%)</c:v>
                </c:pt>
                <c:pt idx="9">
                  <c:v>Demoiselle (3.5%)</c:v>
                </c:pt>
              </c:strCache>
            </c:strRef>
          </c:cat>
          <c:val>
            <c:numRef>
              <c:f>Sheet1!$B$2:$B$11</c:f>
              <c:numCache>
                <c:formatCode>General</c:formatCode>
                <c:ptCount val="10"/>
                <c:pt idx="0">
                  <c:v>0.20315462233291762</c:v>
                </c:pt>
                <c:pt idx="1">
                  <c:v>0.2010383065446838</c:v>
                </c:pt>
                <c:pt idx="2">
                  <c:v>8.1093862742456127E-2</c:v>
                </c:pt>
                <c:pt idx="3">
                  <c:v>6.0251256348197849E-2</c:v>
                </c:pt>
                <c:pt idx="4">
                  <c:v>5.5063384617697164E-2</c:v>
                </c:pt>
                <c:pt idx="5">
                  <c:v>4.3433998682427512E-2</c:v>
                </c:pt>
                <c:pt idx="6">
                  <c:v>4.0539002459325173E-2</c:v>
                </c:pt>
                <c:pt idx="7">
                  <c:v>2.8700753026423446E-2</c:v>
                </c:pt>
                <c:pt idx="8">
                  <c:v>2.3697315096115633E-2</c:v>
                </c:pt>
                <c:pt idx="9">
                  <c:v>2.36647701920590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Vesselle (1.0%)</c:v>
                </c:pt>
                <c:pt idx="4">
                  <c:v>Nicolas Feuillatte (4.5%)</c:v>
                </c:pt>
                <c:pt idx="5">
                  <c:v>Canard-Duchêne (3.1%)</c:v>
                </c:pt>
                <c:pt idx="6">
                  <c:v>Besserat De Bellefon (2.0%)</c:v>
                </c:pt>
                <c:pt idx="7">
                  <c:v>Louis Martin (0.5%)</c:v>
                </c:pt>
                <c:pt idx="8">
                  <c:v>De Bligny (1.3%)</c:v>
                </c:pt>
                <c:pt idx="9">
                  <c:v>Demoiselle (3.5%)</c:v>
                </c:pt>
              </c:strCache>
            </c:strRef>
          </c:cat>
          <c:val>
            <c:numRef>
              <c:f>Sheet1!$B$2:$B$11</c:f>
              <c:numCache>
                <c:formatCode>General</c:formatCode>
                <c:ptCount val="10"/>
                <c:pt idx="0">
                  <c:v>0.18321682665658925</c:v>
                </c:pt>
                <c:pt idx="1">
                  <c:v>0.12554273700916685</c:v>
                </c:pt>
                <c:pt idx="2">
                  <c:v>0.10838022599002935</c:v>
                </c:pt>
                <c:pt idx="3">
                  <c:v>6.8629891000864113E-2</c:v>
                </c:pt>
                <c:pt idx="4">
                  <c:v>6.6329284323224574E-2</c:v>
                </c:pt>
                <c:pt idx="5">
                  <c:v>6.2219592177563163E-2</c:v>
                </c:pt>
                <c:pt idx="6">
                  <c:v>4.2335443402815087E-2</c:v>
                </c:pt>
                <c:pt idx="7">
                  <c:v>3.0788046213684934E-2</c:v>
                </c:pt>
                <c:pt idx="8">
                  <c:v>3.0779184128970342E-2</c:v>
                </c:pt>
                <c:pt idx="9">
                  <c:v>3.008849312058506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Malard (6.0%)</c:v>
                </c:pt>
                <c:pt idx="8">
                  <c:v>Dea Augusta (0.5%)</c:v>
                </c:pt>
                <c:pt idx="9">
                  <c:v>Château Moncontour  (1.5%)</c:v>
                </c:pt>
              </c:strCache>
            </c:strRef>
          </c:cat>
          <c:val>
            <c:numRef>
              <c:f>Sheet1!$B$2:$B$11</c:f>
              <c:numCache>
                <c:formatCode>General</c:formatCode>
                <c:ptCount val="10"/>
                <c:pt idx="0">
                  <c:v>0.18055358157392451</c:v>
                </c:pt>
                <c:pt idx="1">
                  <c:v>0.12124871837201585</c:v>
                </c:pt>
                <c:pt idx="2">
                  <c:v>7.845639468051821E-2</c:v>
                </c:pt>
                <c:pt idx="3">
                  <c:v>7.3992947832562717E-2</c:v>
                </c:pt>
                <c:pt idx="4">
                  <c:v>6.8991036019133173E-2</c:v>
                </c:pt>
                <c:pt idx="5">
                  <c:v>4.9835137007531893E-2</c:v>
                </c:pt>
                <c:pt idx="6">
                  <c:v>3.9957639030167615E-2</c:v>
                </c:pt>
                <c:pt idx="7">
                  <c:v>3.3318153495927476E-2</c:v>
                </c:pt>
                <c:pt idx="8">
                  <c:v>3.0877416246330426E-2</c:v>
                </c:pt>
                <c:pt idx="9">
                  <c:v>3.001031295824158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Dea Augusta (0.5%)</c:v>
                </c:pt>
                <c:pt idx="8">
                  <c:v>Malard (6.0%)</c:v>
                </c:pt>
                <c:pt idx="9">
                  <c:v>Château Moncontour  (1.5%)</c:v>
                </c:pt>
              </c:strCache>
            </c:strRef>
          </c:cat>
          <c:val>
            <c:numRef>
              <c:f>Sheet1!$B$2:$B$11</c:f>
              <c:numCache>
                <c:formatCode>General</c:formatCode>
                <c:ptCount val="10"/>
                <c:pt idx="0">
                  <c:v>0.18178086759865944</c:v>
                </c:pt>
                <c:pt idx="1">
                  <c:v>0.11211506342381386</c:v>
                </c:pt>
                <c:pt idx="2">
                  <c:v>7.9480583792465032E-2</c:v>
                </c:pt>
                <c:pt idx="3">
                  <c:v>7.5851061200499378E-2</c:v>
                </c:pt>
                <c:pt idx="4">
                  <c:v>7.2051057924737108E-2</c:v>
                </c:pt>
                <c:pt idx="5">
                  <c:v>5.1775079423138574E-2</c:v>
                </c:pt>
                <c:pt idx="6">
                  <c:v>4.0897152635907597E-2</c:v>
                </c:pt>
                <c:pt idx="7">
                  <c:v>3.3787285250177178E-2</c:v>
                </c:pt>
                <c:pt idx="8">
                  <c:v>3.1736470885092863E-2</c:v>
                </c:pt>
                <c:pt idx="9">
                  <c:v>3.139226471552655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Vesselle (1.0%)</c:v>
                </c:pt>
                <c:pt idx="4">
                  <c:v>Heidsieck &amp; C° Monopole (4.2%)</c:v>
                </c:pt>
                <c:pt idx="5">
                  <c:v>Patriarche (2.6%)</c:v>
                </c:pt>
                <c:pt idx="6">
                  <c:v>Besserat De Bellefon (2.0%)</c:v>
                </c:pt>
                <c:pt idx="7">
                  <c:v>Carlo V (5.4%)</c:v>
                </c:pt>
                <c:pt idx="8">
                  <c:v>Château Moncontour  (1.5%)</c:v>
                </c:pt>
                <c:pt idx="9">
                  <c:v>Canard-Duchêne (3.1%)</c:v>
                </c:pt>
              </c:strCache>
            </c:strRef>
          </c:cat>
          <c:val>
            <c:numRef>
              <c:f>Sheet1!$B$2:$B$11</c:f>
              <c:numCache>
                <c:formatCode>General</c:formatCode>
                <c:ptCount val="10"/>
                <c:pt idx="0">
                  <c:v>0.34017296524174878</c:v>
                </c:pt>
                <c:pt idx="1">
                  <c:v>0.25720842980866704</c:v>
                </c:pt>
                <c:pt idx="2">
                  <c:v>5.6868530636439957E-2</c:v>
                </c:pt>
                <c:pt idx="3">
                  <c:v>4.4687344560238478E-2</c:v>
                </c:pt>
                <c:pt idx="4">
                  <c:v>4.4407520197443186E-2</c:v>
                </c:pt>
                <c:pt idx="5">
                  <c:v>2.6084395121791077E-2</c:v>
                </c:pt>
                <c:pt idx="6">
                  <c:v>1.9597556703776848E-2</c:v>
                </c:pt>
                <c:pt idx="7">
                  <c:v>1.5339318534331549E-2</c:v>
                </c:pt>
                <c:pt idx="8">
                  <c:v>1.5253111902235933E-2</c:v>
                </c:pt>
                <c:pt idx="9">
                  <c:v>1.521759446962426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Nicolas Feuillatte (4.5%)</c:v>
                </c:pt>
                <c:pt idx="3">
                  <c:v>Heidsieck &amp; C° Monopole (4.2%)</c:v>
                </c:pt>
                <c:pt idx="4">
                  <c:v>Vesselle (1.0%)</c:v>
                </c:pt>
                <c:pt idx="5">
                  <c:v>Besserat De Bellefon (2.0%)</c:v>
                </c:pt>
                <c:pt idx="6">
                  <c:v>Lefèvre (0.4%)</c:v>
                </c:pt>
                <c:pt idx="7">
                  <c:v>Canard-Duchêne (3.1%)</c:v>
                </c:pt>
                <c:pt idx="8">
                  <c:v>Patriarche (2.6%)</c:v>
                </c:pt>
                <c:pt idx="9">
                  <c:v>De Bligny (1.3%)</c:v>
                </c:pt>
              </c:strCache>
            </c:strRef>
          </c:cat>
          <c:val>
            <c:numRef>
              <c:f>Sheet1!$B$2:$B$11</c:f>
              <c:numCache>
                <c:formatCode>General</c:formatCode>
                <c:ptCount val="10"/>
                <c:pt idx="0">
                  <c:v>0.31472468095449108</c:v>
                </c:pt>
                <c:pt idx="1">
                  <c:v>0.22757030012785892</c:v>
                </c:pt>
                <c:pt idx="2">
                  <c:v>7.7182420816022945E-2</c:v>
                </c:pt>
                <c:pt idx="3">
                  <c:v>6.1326161403715884E-2</c:v>
                </c:pt>
                <c:pt idx="4">
                  <c:v>5.8194441692205189E-2</c:v>
                </c:pt>
                <c:pt idx="5">
                  <c:v>3.3303050239410298E-2</c:v>
                </c:pt>
                <c:pt idx="6">
                  <c:v>2.2714682212352708E-2</c:v>
                </c:pt>
                <c:pt idx="7">
                  <c:v>2.0000648242972527E-2</c:v>
                </c:pt>
                <c:pt idx="8">
                  <c:v>1.8995591544203612E-2</c:v>
                </c:pt>
                <c:pt idx="9">
                  <c:v>1.77786064491910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Château Moncontour  (1.5%)</c:v>
                </c:pt>
                <c:pt idx="5">
                  <c:v>Veuve du Vernay (0.7%)</c:v>
                </c:pt>
                <c:pt idx="6">
                  <c:v>Patriarche (2.6%)</c:v>
                </c:pt>
                <c:pt idx="7">
                  <c:v>Bouvet Ladubay (1.5%)</c:v>
                </c:pt>
                <c:pt idx="8">
                  <c:v>Les Grumes  (1.0%)</c:v>
                </c:pt>
                <c:pt idx="9">
                  <c:v>Dea Augusta (0.5%)</c:v>
                </c:pt>
              </c:strCache>
            </c:strRef>
          </c:cat>
          <c:val>
            <c:numRef>
              <c:f>Sheet1!$B$2:$B$11</c:f>
              <c:numCache>
                <c:formatCode>General</c:formatCode>
                <c:ptCount val="10"/>
                <c:pt idx="0">
                  <c:v>0.16996838341589671</c:v>
                </c:pt>
                <c:pt idx="1">
                  <c:v>0.11690551643417257</c:v>
                </c:pt>
                <c:pt idx="2">
                  <c:v>7.5484385750963418E-2</c:v>
                </c:pt>
                <c:pt idx="3">
                  <c:v>6.8872240985545216E-2</c:v>
                </c:pt>
                <c:pt idx="4">
                  <c:v>6.2462197260798775E-2</c:v>
                </c:pt>
                <c:pt idx="5">
                  <c:v>6.0562777621522117E-2</c:v>
                </c:pt>
                <c:pt idx="6">
                  <c:v>5.7268951774747008E-2</c:v>
                </c:pt>
                <c:pt idx="7">
                  <c:v>4.7374386541754E-2</c:v>
                </c:pt>
                <c:pt idx="8">
                  <c:v>4.6648116138189699E-2</c:v>
                </c:pt>
                <c:pt idx="9">
                  <c:v>3.460789968057950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Bottega (3.7%)</c:v>
                </c:pt>
                <c:pt idx="5">
                  <c:v>Ruinart (12.8%)</c:v>
                </c:pt>
                <c:pt idx="6">
                  <c:v>Demoiselle (3.5%)</c:v>
                </c:pt>
                <c:pt idx="7">
                  <c:v>Heidsieck &amp; C° Monopole (4.2%)</c:v>
                </c:pt>
                <c:pt idx="8">
                  <c:v>Bouvet Ladubay (1.5%)</c:v>
                </c:pt>
                <c:pt idx="9">
                  <c:v>Canard-Duchêne (3.1%)</c:v>
                </c:pt>
              </c:strCache>
            </c:strRef>
          </c:cat>
          <c:val>
            <c:numRef>
              <c:f>Sheet1!$B$2:$B$11</c:f>
              <c:numCache>
                <c:formatCode>General</c:formatCode>
                <c:ptCount val="10"/>
                <c:pt idx="0">
                  <c:v>0.11580796295854939</c:v>
                </c:pt>
                <c:pt idx="1">
                  <c:v>7.0542202928386394E-2</c:v>
                </c:pt>
                <c:pt idx="2">
                  <c:v>6.6904611016527407E-2</c:v>
                </c:pt>
                <c:pt idx="3">
                  <c:v>5.3703515553115783E-2</c:v>
                </c:pt>
                <c:pt idx="4">
                  <c:v>5.1765454801047654E-2</c:v>
                </c:pt>
                <c:pt idx="5">
                  <c:v>4.2844686915428053E-2</c:v>
                </c:pt>
                <c:pt idx="6">
                  <c:v>4.1116750537419047E-2</c:v>
                </c:pt>
                <c:pt idx="7">
                  <c:v>4.006184374199228E-2</c:v>
                </c:pt>
                <c:pt idx="8">
                  <c:v>3.6918092996594022E-2</c:v>
                </c:pt>
                <c:pt idx="9">
                  <c:v>3.557252348850821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Château Moncontour  (1.5%)</c:v>
                </c:pt>
                <c:pt idx="3">
                  <c:v>Bottega (3.7%)</c:v>
                </c:pt>
                <c:pt idx="4">
                  <c:v>Veuve du Vernay (0.7%)</c:v>
                </c:pt>
                <c:pt idx="5">
                  <c:v>Patriarche (2.6%)</c:v>
                </c:pt>
                <c:pt idx="6">
                  <c:v>Savian (2.1%)</c:v>
                </c:pt>
                <c:pt idx="7">
                  <c:v>Bouvet Ladubay (1.5%)</c:v>
                </c:pt>
                <c:pt idx="8">
                  <c:v>Les Grumes  (1.0%)</c:v>
                </c:pt>
                <c:pt idx="9">
                  <c:v>Dea Augusta (0.5%)</c:v>
                </c:pt>
              </c:strCache>
            </c:strRef>
          </c:cat>
          <c:val>
            <c:numRef>
              <c:f>Sheet1!$B$2:$B$11</c:f>
              <c:numCache>
                <c:formatCode>General</c:formatCode>
                <c:ptCount val="10"/>
                <c:pt idx="0">
                  <c:v>0.14712821382692262</c:v>
                </c:pt>
                <c:pt idx="1">
                  <c:v>0.11602208457445197</c:v>
                </c:pt>
                <c:pt idx="2">
                  <c:v>8.0299222719066768E-2</c:v>
                </c:pt>
                <c:pt idx="3">
                  <c:v>7.2723103203173073E-2</c:v>
                </c:pt>
                <c:pt idx="4">
                  <c:v>7.1781319849697683E-2</c:v>
                </c:pt>
                <c:pt idx="5">
                  <c:v>6.5430328271298757E-2</c:v>
                </c:pt>
                <c:pt idx="6">
                  <c:v>6.4433256398926789E-2</c:v>
                </c:pt>
                <c:pt idx="7">
                  <c:v>5.3791384455456587E-2</c:v>
                </c:pt>
                <c:pt idx="8">
                  <c:v>5.0053129955303151E-2</c:v>
                </c:pt>
                <c:pt idx="9">
                  <c:v>3.79397068177085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Nicolas Feuillatte (4.5%)</c:v>
                </c:pt>
                <c:pt idx="3">
                  <c:v>Canard-Duchêne (3.1%)</c:v>
                </c:pt>
                <c:pt idx="4">
                  <c:v>Carlo V (5.4%)</c:v>
                </c:pt>
                <c:pt idx="5">
                  <c:v>Demoiselle (3.5%)</c:v>
                </c:pt>
                <c:pt idx="6">
                  <c:v>Besserat De Bellefon (2.0%)</c:v>
                </c:pt>
                <c:pt idx="7">
                  <c:v>Patriarche (2.6%)</c:v>
                </c:pt>
                <c:pt idx="8">
                  <c:v>Vesselle (1.0%)</c:v>
                </c:pt>
                <c:pt idx="9">
                  <c:v>Ruinart (12.8%)</c:v>
                </c:pt>
              </c:strCache>
            </c:strRef>
          </c:cat>
          <c:val>
            <c:numRef>
              <c:f>Sheet1!$B$2:$B$11</c:f>
              <c:numCache>
                <c:formatCode>General</c:formatCode>
                <c:ptCount val="10"/>
                <c:pt idx="0">
                  <c:v>0.31875459136474193</c:v>
                </c:pt>
                <c:pt idx="1">
                  <c:v>6.0717234873903264E-2</c:v>
                </c:pt>
                <c:pt idx="2">
                  <c:v>5.9906834283325945E-2</c:v>
                </c:pt>
                <c:pt idx="3">
                  <c:v>4.7122125620880619E-2</c:v>
                </c:pt>
                <c:pt idx="4">
                  <c:v>3.7144359560134198E-2</c:v>
                </c:pt>
                <c:pt idx="5">
                  <c:v>3.4335520711798552E-2</c:v>
                </c:pt>
                <c:pt idx="6">
                  <c:v>2.9319390295558162E-2</c:v>
                </c:pt>
                <c:pt idx="7">
                  <c:v>2.9256147961414302E-2</c:v>
                </c:pt>
                <c:pt idx="8">
                  <c:v>2.6835278189846098E-2</c:v>
                </c:pt>
                <c:pt idx="9">
                  <c:v>2.461246289523991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Heidsieck &amp; C° Monopole (4.2%)</c:v>
                </c:pt>
                <c:pt idx="3">
                  <c:v>Canard-Duchêne (3.1%)</c:v>
                </c:pt>
                <c:pt idx="4">
                  <c:v>Demoiselle (3.5%)</c:v>
                </c:pt>
                <c:pt idx="5">
                  <c:v>Vesselle (1.0%)</c:v>
                </c:pt>
                <c:pt idx="6">
                  <c:v>Besserat De Bellefon (2.0%)</c:v>
                </c:pt>
                <c:pt idx="7">
                  <c:v>Louis Martin (0.5%)</c:v>
                </c:pt>
                <c:pt idx="8">
                  <c:v>Carlo V (5.4%)</c:v>
                </c:pt>
                <c:pt idx="9">
                  <c:v>De Bligny (1.3%)</c:v>
                </c:pt>
              </c:strCache>
            </c:strRef>
          </c:cat>
          <c:val>
            <c:numRef>
              <c:f>Sheet1!$B$2:$B$11</c:f>
              <c:numCache>
                <c:formatCode>General</c:formatCode>
                <c:ptCount val="10"/>
                <c:pt idx="0">
                  <c:v>0.27736433409700778</c:v>
                </c:pt>
                <c:pt idx="1">
                  <c:v>8.0997631167663023E-2</c:v>
                </c:pt>
                <c:pt idx="2">
                  <c:v>6.9717420398068594E-2</c:v>
                </c:pt>
                <c:pt idx="3">
                  <c:v>4.9290658709055329E-2</c:v>
                </c:pt>
                <c:pt idx="4">
                  <c:v>3.9555661874069975E-2</c:v>
                </c:pt>
                <c:pt idx="5">
                  <c:v>3.5993635692913965E-2</c:v>
                </c:pt>
                <c:pt idx="6">
                  <c:v>3.4589237508392628E-2</c:v>
                </c:pt>
                <c:pt idx="7">
                  <c:v>3.3181957628274819E-2</c:v>
                </c:pt>
                <c:pt idx="8">
                  <c:v>2.6908051635612572E-2</c:v>
                </c:pt>
                <c:pt idx="9">
                  <c:v>2.685297137202896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Nicolas (14.4%)</c:v>
                </c:pt>
                <c:pt idx="2">
                  <c:v>Heidsieck &amp; C° Monopole (4.2%)</c:v>
                </c:pt>
                <c:pt idx="3">
                  <c:v>Malard (6.0%)</c:v>
                </c:pt>
                <c:pt idx="4">
                  <c:v>Canard-Duchêne (3.1%)</c:v>
                </c:pt>
                <c:pt idx="5">
                  <c:v>Laurent Perrier (3.9%)</c:v>
                </c:pt>
                <c:pt idx="6">
                  <c:v>Demoiselle (3.5%)</c:v>
                </c:pt>
                <c:pt idx="7">
                  <c:v>Ruinart (12.8%)</c:v>
                </c:pt>
                <c:pt idx="8">
                  <c:v>Deutz (4.8%)</c:v>
                </c:pt>
                <c:pt idx="9">
                  <c:v>Veuve Clicquot (1.7%)</c:v>
                </c:pt>
              </c:strCache>
            </c:strRef>
          </c:cat>
          <c:val>
            <c:numRef>
              <c:f>Sheet1!$B$2:$B$11</c:f>
              <c:numCache>
                <c:formatCode>General</c:formatCode>
                <c:ptCount val="10"/>
                <c:pt idx="0">
                  <c:v>0.10889783305747949</c:v>
                </c:pt>
                <c:pt idx="1">
                  <c:v>8.9185954687377861E-2</c:v>
                </c:pt>
                <c:pt idx="2">
                  <c:v>7.911151645085153E-2</c:v>
                </c:pt>
                <c:pt idx="3">
                  <c:v>7.5439082669145938E-2</c:v>
                </c:pt>
                <c:pt idx="4">
                  <c:v>7.2141409678599014E-2</c:v>
                </c:pt>
                <c:pt idx="5">
                  <c:v>7.001162205262304E-2</c:v>
                </c:pt>
                <c:pt idx="6">
                  <c:v>6.4705478950765269E-2</c:v>
                </c:pt>
                <c:pt idx="7">
                  <c:v>5.855380626388075E-2</c:v>
                </c:pt>
                <c:pt idx="8">
                  <c:v>5.1018762025996416E-2</c:v>
                </c:pt>
                <c:pt idx="9">
                  <c:v>3.152138135431610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Laurent Perrier (3.9%)</c:v>
                </c:pt>
                <c:pt idx="2">
                  <c:v>Ruinart (12.8%)</c:v>
                </c:pt>
                <c:pt idx="3">
                  <c:v>Nicolas (14.4%)</c:v>
                </c:pt>
                <c:pt idx="4">
                  <c:v>Demoiselle (3.5%)</c:v>
                </c:pt>
                <c:pt idx="5">
                  <c:v>Malard (6.0%)</c:v>
                </c:pt>
                <c:pt idx="6">
                  <c:v>Canard-Duchêne (3.1%)</c:v>
                </c:pt>
                <c:pt idx="7">
                  <c:v>Deutz (4.8%)</c:v>
                </c:pt>
                <c:pt idx="8">
                  <c:v>Heidsieck &amp; C° Monopole (4.2%)</c:v>
                </c:pt>
                <c:pt idx="9">
                  <c:v>Veuve Clicquot (1.7%)</c:v>
                </c:pt>
              </c:strCache>
            </c:strRef>
          </c:cat>
          <c:val>
            <c:numRef>
              <c:f>Sheet1!$B$2:$B$11</c:f>
              <c:numCache>
                <c:formatCode>General</c:formatCode>
                <c:ptCount val="10"/>
                <c:pt idx="0">
                  <c:v>0.10237247058627415</c:v>
                </c:pt>
                <c:pt idx="1">
                  <c:v>9.6158787159884643E-2</c:v>
                </c:pt>
                <c:pt idx="2">
                  <c:v>8.3307704990788517E-2</c:v>
                </c:pt>
                <c:pt idx="3">
                  <c:v>7.6138477448224079E-2</c:v>
                </c:pt>
                <c:pt idx="4">
                  <c:v>6.2463618109441552E-2</c:v>
                </c:pt>
                <c:pt idx="5">
                  <c:v>5.9028285434801021E-2</c:v>
                </c:pt>
                <c:pt idx="6">
                  <c:v>5.8033869275729115E-2</c:v>
                </c:pt>
                <c:pt idx="7">
                  <c:v>5.7697291308118223E-2</c:v>
                </c:pt>
                <c:pt idx="8">
                  <c:v>5.3139912798210946E-2</c:v>
                </c:pt>
                <c:pt idx="9">
                  <c:v>4.809685938039969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Bouvet Ladubay (1.5%)</c:v>
                </c:pt>
                <c:pt idx="6">
                  <c:v>Les Grumes  (1.0%)</c:v>
                </c:pt>
                <c:pt idx="7">
                  <c:v>Malard (6.0%)</c:v>
                </c:pt>
                <c:pt idx="8">
                  <c:v>Dea Augusta (0.5%)</c:v>
                </c:pt>
                <c:pt idx="9">
                  <c:v>Nicolas Feuillatte (4.5%)</c:v>
                </c:pt>
              </c:strCache>
            </c:strRef>
          </c:cat>
          <c:val>
            <c:numRef>
              <c:f>Sheet1!$B$2:$B$11</c:f>
              <c:numCache>
                <c:formatCode>General</c:formatCode>
                <c:ptCount val="10"/>
                <c:pt idx="0">
                  <c:v>0.1932081477860178</c:v>
                </c:pt>
                <c:pt idx="1">
                  <c:v>0.1077577015532096</c:v>
                </c:pt>
                <c:pt idx="2">
                  <c:v>0.10374462554138833</c:v>
                </c:pt>
                <c:pt idx="3">
                  <c:v>8.046352017652933E-2</c:v>
                </c:pt>
                <c:pt idx="4">
                  <c:v>7.6679576649178918E-2</c:v>
                </c:pt>
                <c:pt idx="5">
                  <c:v>3.8268107608142636E-2</c:v>
                </c:pt>
                <c:pt idx="6">
                  <c:v>3.4643508332484023E-2</c:v>
                </c:pt>
                <c:pt idx="7">
                  <c:v>3.2645748408058381E-2</c:v>
                </c:pt>
                <c:pt idx="8">
                  <c:v>2.7600001554101361E-2</c:v>
                </c:pt>
                <c:pt idx="9">
                  <c:v>2.58982109842369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Patriarche (2.6%)</c:v>
                </c:pt>
                <c:pt idx="4">
                  <c:v>Savian (2.1%)</c:v>
                </c:pt>
                <c:pt idx="5">
                  <c:v>Bouvet Ladubay (1.5%)</c:v>
                </c:pt>
                <c:pt idx="6">
                  <c:v>Malard (6.0%)</c:v>
                </c:pt>
                <c:pt idx="7">
                  <c:v>Les Grumes  (1.0%)</c:v>
                </c:pt>
                <c:pt idx="8">
                  <c:v>Nicolas Feuillatte (4.5%)</c:v>
                </c:pt>
                <c:pt idx="9">
                  <c:v>Demoiselle (3.5%)</c:v>
                </c:pt>
              </c:strCache>
            </c:strRef>
          </c:cat>
          <c:val>
            <c:numRef>
              <c:f>Sheet1!$B$2:$B$11</c:f>
              <c:numCache>
                <c:formatCode>General</c:formatCode>
                <c:ptCount val="10"/>
                <c:pt idx="0">
                  <c:v>0.1679930737412022</c:v>
                </c:pt>
                <c:pt idx="1">
                  <c:v>0.11635181944432629</c:v>
                </c:pt>
                <c:pt idx="2">
                  <c:v>0.1061068944697581</c:v>
                </c:pt>
                <c:pt idx="3">
                  <c:v>8.1943719141267496E-2</c:v>
                </c:pt>
                <c:pt idx="4">
                  <c:v>7.0856501651655593E-2</c:v>
                </c:pt>
                <c:pt idx="5">
                  <c:v>3.8986062397065438E-2</c:v>
                </c:pt>
                <c:pt idx="6">
                  <c:v>3.3941552346066009E-2</c:v>
                </c:pt>
                <c:pt idx="7">
                  <c:v>3.0481927134768008E-2</c:v>
                </c:pt>
                <c:pt idx="8">
                  <c:v>2.8076289267925329E-2</c:v>
                </c:pt>
                <c:pt idx="9">
                  <c:v>2.63989971869148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Demoiselle (3.5%)</c:v>
                </c:pt>
                <c:pt idx="4">
                  <c:v>Canard-Duchêne (3.1%)</c:v>
                </c:pt>
                <c:pt idx="5">
                  <c:v>Ruinart (12.8%)</c:v>
                </c:pt>
                <c:pt idx="6">
                  <c:v>Carlo V (5.4%)</c:v>
                </c:pt>
                <c:pt idx="7">
                  <c:v>Bottega (3.7%)</c:v>
                </c:pt>
                <c:pt idx="8">
                  <c:v>Laurent Perrier (3.9%)</c:v>
                </c:pt>
                <c:pt idx="9">
                  <c:v>Patriarche (2.6%)</c:v>
                </c:pt>
              </c:strCache>
            </c:strRef>
          </c:cat>
          <c:val>
            <c:numRef>
              <c:f>Sheet1!$B$2:$B$11</c:f>
              <c:numCache>
                <c:formatCode>General</c:formatCode>
                <c:ptCount val="10"/>
                <c:pt idx="0">
                  <c:v>0.24666955075509078</c:v>
                </c:pt>
                <c:pt idx="1">
                  <c:v>0.14943083023471035</c:v>
                </c:pt>
                <c:pt idx="2">
                  <c:v>7.5287727536846247E-2</c:v>
                </c:pt>
                <c:pt idx="3">
                  <c:v>5.2521459367975212E-2</c:v>
                </c:pt>
                <c:pt idx="4">
                  <c:v>4.9155485508108047E-2</c:v>
                </c:pt>
                <c:pt idx="5">
                  <c:v>3.9064585872170217E-2</c:v>
                </c:pt>
                <c:pt idx="6">
                  <c:v>2.9728604758628561E-2</c:v>
                </c:pt>
                <c:pt idx="7">
                  <c:v>2.8938914705338957E-2</c:v>
                </c:pt>
                <c:pt idx="8">
                  <c:v>2.7389783181813357E-2</c:v>
                </c:pt>
                <c:pt idx="9">
                  <c:v>2.34382789018635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Deutz (4.8%)</c:v>
                </c:pt>
                <c:pt idx="3">
                  <c:v>Canard-Duchêne (3.1%)</c:v>
                </c:pt>
                <c:pt idx="4">
                  <c:v>Nicolas (14.4%)</c:v>
                </c:pt>
                <c:pt idx="5">
                  <c:v>Besserat De Bellefon (2.0%)</c:v>
                </c:pt>
                <c:pt idx="6">
                  <c:v>Ruinart (12.8%)</c:v>
                </c:pt>
                <c:pt idx="7">
                  <c:v>Nicolas Feuillatte (4.5%)</c:v>
                </c:pt>
                <c:pt idx="8">
                  <c:v>Demoiselle (3.5%)</c:v>
                </c:pt>
                <c:pt idx="9">
                  <c:v>De Bligny (1.3%)</c:v>
                </c:pt>
              </c:strCache>
            </c:strRef>
          </c:cat>
          <c:val>
            <c:numRef>
              <c:f>Sheet1!$B$2:$B$11</c:f>
              <c:numCache>
                <c:formatCode>General</c:formatCode>
                <c:ptCount val="10"/>
                <c:pt idx="0">
                  <c:v>0.18795040663751297</c:v>
                </c:pt>
                <c:pt idx="1">
                  <c:v>0.15096531370638336</c:v>
                </c:pt>
                <c:pt idx="2">
                  <c:v>0.10686321263479917</c:v>
                </c:pt>
                <c:pt idx="3">
                  <c:v>9.6515469031388593E-2</c:v>
                </c:pt>
                <c:pt idx="4">
                  <c:v>6.3093451545557955E-2</c:v>
                </c:pt>
                <c:pt idx="5">
                  <c:v>5.4386097294314747E-2</c:v>
                </c:pt>
                <c:pt idx="6">
                  <c:v>4.3454298414971754E-2</c:v>
                </c:pt>
                <c:pt idx="7">
                  <c:v>3.1220840770729119E-2</c:v>
                </c:pt>
                <c:pt idx="8">
                  <c:v>2.8186649972431102E-2</c:v>
                </c:pt>
                <c:pt idx="9">
                  <c:v>2.436793994411266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Canard-Duchêne (3.1%)</c:v>
                </c:pt>
                <c:pt idx="4">
                  <c:v>Demoiselle (3.5%)</c:v>
                </c:pt>
                <c:pt idx="5">
                  <c:v>Ruinart (12.8%)</c:v>
                </c:pt>
                <c:pt idx="6">
                  <c:v>Laurent Perrier (3.9%)</c:v>
                </c:pt>
                <c:pt idx="7">
                  <c:v>Bottega (3.7%)</c:v>
                </c:pt>
                <c:pt idx="8">
                  <c:v>Deutz (4.8%)</c:v>
                </c:pt>
                <c:pt idx="9">
                  <c:v>Carlo V (5.4%)</c:v>
                </c:pt>
              </c:strCache>
            </c:strRef>
          </c:cat>
          <c:val>
            <c:numRef>
              <c:f>Sheet1!$B$2:$B$11</c:f>
              <c:numCache>
                <c:formatCode>General</c:formatCode>
                <c:ptCount val="10"/>
                <c:pt idx="0">
                  <c:v>0.1750738166454299</c:v>
                </c:pt>
                <c:pt idx="1">
                  <c:v>0.13718738500618646</c:v>
                </c:pt>
                <c:pt idx="2">
                  <c:v>0.10322455763628104</c:v>
                </c:pt>
                <c:pt idx="3">
                  <c:v>7.3630347831870238E-2</c:v>
                </c:pt>
                <c:pt idx="4">
                  <c:v>6.9277254067418831E-2</c:v>
                </c:pt>
                <c:pt idx="5">
                  <c:v>4.5769337762908036E-2</c:v>
                </c:pt>
                <c:pt idx="6">
                  <c:v>3.5171739883729576E-2</c:v>
                </c:pt>
                <c:pt idx="7">
                  <c:v>2.8062777133759782E-2</c:v>
                </c:pt>
                <c:pt idx="8">
                  <c:v>2.5240206115447021E-2</c:v>
                </c:pt>
                <c:pt idx="9">
                  <c:v>2.255984588399372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Bouvet Ladubay (1.5%)</c:v>
                </c:pt>
                <c:pt idx="5">
                  <c:v>Château Moncontour  (1.5%)</c:v>
                </c:pt>
                <c:pt idx="6">
                  <c:v>Les Grumes  (1.0%)</c:v>
                </c:pt>
                <c:pt idx="7">
                  <c:v>Muré (1.3%)</c:v>
                </c:pt>
                <c:pt idx="8">
                  <c:v>Malard (6.0%)</c:v>
                </c:pt>
                <c:pt idx="9">
                  <c:v>Dea Augusta (0.5%)</c:v>
                </c:pt>
              </c:strCache>
            </c:strRef>
          </c:cat>
          <c:val>
            <c:numRef>
              <c:f>Sheet1!$B$2:$B$11</c:f>
              <c:numCache>
                <c:formatCode>General</c:formatCode>
                <c:ptCount val="10"/>
                <c:pt idx="0">
                  <c:v>0.14257393351178704</c:v>
                </c:pt>
                <c:pt idx="1">
                  <c:v>0.12257360843362752</c:v>
                </c:pt>
                <c:pt idx="2">
                  <c:v>8.2138153261438307E-2</c:v>
                </c:pt>
                <c:pt idx="3">
                  <c:v>7.1335630288963545E-2</c:v>
                </c:pt>
                <c:pt idx="4">
                  <c:v>6.8421689255034779E-2</c:v>
                </c:pt>
                <c:pt idx="5">
                  <c:v>6.2701991771434568E-2</c:v>
                </c:pt>
                <c:pt idx="6">
                  <c:v>4.6081956411483251E-2</c:v>
                </c:pt>
                <c:pt idx="7">
                  <c:v>4.3656695581877403E-2</c:v>
                </c:pt>
                <c:pt idx="8">
                  <c:v>4.0327295062673983E-2</c:v>
                </c:pt>
                <c:pt idx="9">
                  <c:v>3.335537214999700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Savian (2.1%)</c:v>
                </c:pt>
                <c:pt idx="3">
                  <c:v>Bottega (3.7%)</c:v>
                </c:pt>
                <c:pt idx="4">
                  <c:v>Bouvet Ladubay (1.5%)</c:v>
                </c:pt>
                <c:pt idx="5">
                  <c:v>Château Moncontour  (1.5%)</c:v>
                </c:pt>
                <c:pt idx="6">
                  <c:v>Muré (1.3%)</c:v>
                </c:pt>
                <c:pt idx="7">
                  <c:v>Malard (6.0%)</c:v>
                </c:pt>
                <c:pt idx="8">
                  <c:v>Les Grumes  (1.0%)</c:v>
                </c:pt>
                <c:pt idx="9">
                  <c:v>De Chanceny (0.7%)</c:v>
                </c:pt>
              </c:strCache>
            </c:strRef>
          </c:cat>
          <c:val>
            <c:numRef>
              <c:f>Sheet1!$B$2:$B$11</c:f>
              <c:numCache>
                <c:formatCode>General</c:formatCode>
                <c:ptCount val="10"/>
                <c:pt idx="0">
                  <c:v>0.12740884374373615</c:v>
                </c:pt>
                <c:pt idx="1">
                  <c:v>0.1250615096234142</c:v>
                </c:pt>
                <c:pt idx="2">
                  <c:v>7.4856601846159068E-2</c:v>
                </c:pt>
                <c:pt idx="3">
                  <c:v>7.1467585504435424E-2</c:v>
                </c:pt>
                <c:pt idx="4">
                  <c:v>6.8093765463382347E-2</c:v>
                </c:pt>
                <c:pt idx="5">
                  <c:v>6.1951058410485232E-2</c:v>
                </c:pt>
                <c:pt idx="6">
                  <c:v>4.570819023231628E-2</c:v>
                </c:pt>
                <c:pt idx="7">
                  <c:v>4.2774534303598885E-2</c:v>
                </c:pt>
                <c:pt idx="8">
                  <c:v>4.2080724279823366E-2</c:v>
                </c:pt>
                <c:pt idx="9">
                  <c:v>3.471711813668757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Nicolas (14.4%)</c:v>
                </c:pt>
                <c:pt idx="3">
                  <c:v>Laurent Perrier (3.9%)</c:v>
                </c:pt>
                <c:pt idx="4">
                  <c:v>Malard (6.0%)</c:v>
                </c:pt>
                <c:pt idx="5">
                  <c:v>Demoiselle (3.5%)</c:v>
                </c:pt>
                <c:pt idx="6">
                  <c:v>Heidsieck &amp; C° Monopole (4.2%)</c:v>
                </c:pt>
                <c:pt idx="7">
                  <c:v>Nicolas Feuillatte (4.5%)</c:v>
                </c:pt>
                <c:pt idx="8">
                  <c:v>Taittinger (2.2%)</c:v>
                </c:pt>
                <c:pt idx="9">
                  <c:v>Besserat De Bellefon (2.0%)</c:v>
                </c:pt>
              </c:strCache>
            </c:strRef>
          </c:cat>
          <c:val>
            <c:numRef>
              <c:f>Sheet1!$B$2:$B$11</c:f>
              <c:numCache>
                <c:formatCode>General</c:formatCode>
                <c:ptCount val="10"/>
                <c:pt idx="0">
                  <c:v>9.5436771475643861E-2</c:v>
                </c:pt>
                <c:pt idx="1">
                  <c:v>7.994734966001292E-2</c:v>
                </c:pt>
                <c:pt idx="2">
                  <c:v>7.3018147725796442E-2</c:v>
                </c:pt>
                <c:pt idx="3">
                  <c:v>7.0727794224493448E-2</c:v>
                </c:pt>
                <c:pt idx="4">
                  <c:v>7.0121823900895788E-2</c:v>
                </c:pt>
                <c:pt idx="5">
                  <c:v>6.6400891716140761E-2</c:v>
                </c:pt>
                <c:pt idx="6">
                  <c:v>5.6098655878069149E-2</c:v>
                </c:pt>
                <c:pt idx="7">
                  <c:v>4.9603294308300058E-2</c:v>
                </c:pt>
                <c:pt idx="8">
                  <c:v>4.8888278383452242E-2</c:v>
                </c:pt>
                <c:pt idx="9">
                  <c:v>3.84814387421393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Taittinger (2.2%)</c:v>
                </c:pt>
                <c:pt idx="4">
                  <c:v>Demoiselle (3.5%)</c:v>
                </c:pt>
                <c:pt idx="5">
                  <c:v>Heidsieck &amp; C° Monopole (4.2%)</c:v>
                </c:pt>
                <c:pt idx="6">
                  <c:v>Nicolas (14.4%)</c:v>
                </c:pt>
                <c:pt idx="7">
                  <c:v>Ayala (1.7%)</c:v>
                </c:pt>
                <c:pt idx="8">
                  <c:v>Malard (6.0%)</c:v>
                </c:pt>
                <c:pt idx="9">
                  <c:v>Veuve Clicquot (1.7%)</c:v>
                </c:pt>
              </c:strCache>
            </c:strRef>
          </c:cat>
          <c:val>
            <c:numRef>
              <c:f>Sheet1!$B$2:$B$11</c:f>
              <c:numCache>
                <c:formatCode>General</c:formatCode>
                <c:ptCount val="10"/>
                <c:pt idx="0">
                  <c:v>0.18791836272901091</c:v>
                </c:pt>
                <c:pt idx="1">
                  <c:v>0.13567164101234211</c:v>
                </c:pt>
                <c:pt idx="2">
                  <c:v>8.148164141302712E-2</c:v>
                </c:pt>
                <c:pt idx="3">
                  <c:v>8.1338314761628214E-2</c:v>
                </c:pt>
                <c:pt idx="4">
                  <c:v>4.7015428242237998E-2</c:v>
                </c:pt>
                <c:pt idx="5">
                  <c:v>4.4359807010527726E-2</c:v>
                </c:pt>
                <c:pt idx="6">
                  <c:v>3.8173913738691209E-2</c:v>
                </c:pt>
                <c:pt idx="7">
                  <c:v>3.6070568487191534E-2</c:v>
                </c:pt>
                <c:pt idx="8">
                  <c:v>3.5911221988566708E-2</c:v>
                </c:pt>
                <c:pt idx="9">
                  <c:v>3.190403189817452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arlo V (5.4%)</c:v>
                </c:pt>
                <c:pt idx="3">
                  <c:v>Château Moncontour  (1.5%)</c:v>
                </c:pt>
                <c:pt idx="4">
                  <c:v>Bouvet Ladubay (1.5%)</c:v>
                </c:pt>
                <c:pt idx="5">
                  <c:v>Bottega (3.7%)</c:v>
                </c:pt>
                <c:pt idx="6">
                  <c:v>Savian (2.1%)</c:v>
                </c:pt>
                <c:pt idx="7">
                  <c:v>Malard (6.0%)</c:v>
                </c:pt>
                <c:pt idx="8">
                  <c:v>Les Grumes  (1.0%)</c:v>
                </c:pt>
                <c:pt idx="9">
                  <c:v>Lyre's (1.0%)</c:v>
                </c:pt>
              </c:strCache>
            </c:strRef>
          </c:cat>
          <c:val>
            <c:numRef>
              <c:f>Sheet1!$B$2:$B$11</c:f>
              <c:numCache>
                <c:formatCode>General</c:formatCode>
                <c:ptCount val="10"/>
                <c:pt idx="0">
                  <c:v>0.12396125628640969</c:v>
                </c:pt>
                <c:pt idx="1">
                  <c:v>9.6460704771730188E-2</c:v>
                </c:pt>
                <c:pt idx="2">
                  <c:v>8.4247198104611745E-2</c:v>
                </c:pt>
                <c:pt idx="3">
                  <c:v>7.9289408178719739E-2</c:v>
                </c:pt>
                <c:pt idx="4">
                  <c:v>6.0379132380387224E-2</c:v>
                </c:pt>
                <c:pt idx="5">
                  <c:v>5.361620103243879E-2</c:v>
                </c:pt>
                <c:pt idx="6">
                  <c:v>5.2751121663634472E-2</c:v>
                </c:pt>
                <c:pt idx="7">
                  <c:v>4.5428346599227384E-2</c:v>
                </c:pt>
                <c:pt idx="8">
                  <c:v>4.4309035793789989E-2</c:v>
                </c:pt>
                <c:pt idx="9">
                  <c:v>3.656037226838841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hâteau Moncontour  (1.5%)</c:v>
                </c:pt>
                <c:pt idx="3">
                  <c:v>Carlo V (5.4%)</c:v>
                </c:pt>
                <c:pt idx="4">
                  <c:v>Bouvet Ladubay (1.5%)</c:v>
                </c:pt>
                <c:pt idx="5">
                  <c:v>Bottega (3.7%)</c:v>
                </c:pt>
                <c:pt idx="6">
                  <c:v>Malard (6.0%)</c:v>
                </c:pt>
                <c:pt idx="7">
                  <c:v>Savian (2.1%)</c:v>
                </c:pt>
                <c:pt idx="8">
                  <c:v>Les Grumes  (1.0%)</c:v>
                </c:pt>
                <c:pt idx="9">
                  <c:v>Lyre's (1.0%)</c:v>
                </c:pt>
              </c:strCache>
            </c:strRef>
          </c:cat>
          <c:val>
            <c:numRef>
              <c:f>Sheet1!$B$2:$B$11</c:f>
              <c:numCache>
                <c:formatCode>General</c:formatCode>
                <c:ptCount val="10"/>
                <c:pt idx="0">
                  <c:v>0.13059742332283336</c:v>
                </c:pt>
                <c:pt idx="1">
                  <c:v>9.7311919177671485E-2</c:v>
                </c:pt>
                <c:pt idx="2">
                  <c:v>7.8245468343558527E-2</c:v>
                </c:pt>
                <c:pt idx="3">
                  <c:v>7.3703368046379697E-2</c:v>
                </c:pt>
                <c:pt idx="4">
                  <c:v>5.7871892567007886E-2</c:v>
                </c:pt>
                <c:pt idx="5">
                  <c:v>5.2628272619729084E-2</c:v>
                </c:pt>
                <c:pt idx="6">
                  <c:v>4.7941805074515384E-2</c:v>
                </c:pt>
                <c:pt idx="7">
                  <c:v>4.7483218039754166E-2</c:v>
                </c:pt>
                <c:pt idx="8">
                  <c:v>4.0139057300109818E-2</c:v>
                </c:pt>
                <c:pt idx="9">
                  <c:v>3.53609583359588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Malard (6.0%)</c:v>
                </c:pt>
                <c:pt idx="4">
                  <c:v>Nicolas (14.4%)</c:v>
                </c:pt>
                <c:pt idx="5">
                  <c:v>Besserat De Bellefon (2.0%)</c:v>
                </c:pt>
                <c:pt idx="6">
                  <c:v>Carlo V (5.4%)</c:v>
                </c:pt>
                <c:pt idx="7">
                  <c:v>Demoiselle (3.5%)</c:v>
                </c:pt>
                <c:pt idx="8">
                  <c:v>Bottega (3.7%)</c:v>
                </c:pt>
                <c:pt idx="9">
                  <c:v>Laurent Perrier (3.9%)</c:v>
                </c:pt>
              </c:strCache>
            </c:strRef>
          </c:cat>
          <c:val>
            <c:numRef>
              <c:f>Sheet1!$B$2:$B$11</c:f>
              <c:numCache>
                <c:formatCode>General</c:formatCode>
                <c:ptCount val="10"/>
                <c:pt idx="0">
                  <c:v>0.38787718451765346</c:v>
                </c:pt>
                <c:pt idx="1">
                  <c:v>9.1632032696108701E-2</c:v>
                </c:pt>
                <c:pt idx="2">
                  <c:v>6.6891441157277992E-2</c:v>
                </c:pt>
                <c:pt idx="3">
                  <c:v>5.2019133613404892E-2</c:v>
                </c:pt>
                <c:pt idx="4">
                  <c:v>4.6009351232312916E-2</c:v>
                </c:pt>
                <c:pt idx="5">
                  <c:v>3.3186792009841128E-2</c:v>
                </c:pt>
                <c:pt idx="6">
                  <c:v>3.0742418473036107E-2</c:v>
                </c:pt>
                <c:pt idx="7">
                  <c:v>3.0740553126430613E-2</c:v>
                </c:pt>
                <c:pt idx="8">
                  <c:v>2.4136004366653009E-2</c:v>
                </c:pt>
                <c:pt idx="9">
                  <c:v>2.075448230893659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Heidsieck &amp; C° Monopole (4.2%)</c:v>
                </c:pt>
                <c:pt idx="2">
                  <c:v>Malard (6.0%)</c:v>
                </c:pt>
                <c:pt idx="3">
                  <c:v>Canard-Duchêne (3.1%)</c:v>
                </c:pt>
                <c:pt idx="4">
                  <c:v>Ruinart (12.8%)</c:v>
                </c:pt>
                <c:pt idx="5">
                  <c:v>Besserat De Bellefon (2.0%)</c:v>
                </c:pt>
                <c:pt idx="6">
                  <c:v>Nicolas (14.4%)</c:v>
                </c:pt>
                <c:pt idx="7">
                  <c:v>Demoiselle (3.5%)</c:v>
                </c:pt>
                <c:pt idx="8">
                  <c:v>Laurent Perrier (3.9%)</c:v>
                </c:pt>
                <c:pt idx="9">
                  <c:v>Nicolas Feuillatte (4.5%)</c:v>
                </c:pt>
              </c:strCache>
            </c:strRef>
          </c:cat>
          <c:val>
            <c:numRef>
              <c:f>Sheet1!$B$2:$B$11</c:f>
              <c:numCache>
                <c:formatCode>General</c:formatCode>
                <c:ptCount val="10"/>
                <c:pt idx="0">
                  <c:v>0.16395860419672703</c:v>
                </c:pt>
                <c:pt idx="1">
                  <c:v>0.12718957490715654</c:v>
                </c:pt>
                <c:pt idx="2">
                  <c:v>0.12684014658357709</c:v>
                </c:pt>
                <c:pt idx="3">
                  <c:v>8.1210360242678747E-2</c:v>
                </c:pt>
                <c:pt idx="4">
                  <c:v>6.2622061798299156E-2</c:v>
                </c:pt>
                <c:pt idx="5">
                  <c:v>5.8100194282747195E-2</c:v>
                </c:pt>
                <c:pt idx="6">
                  <c:v>5.2695057051728049E-2</c:v>
                </c:pt>
                <c:pt idx="7">
                  <c:v>3.0664138782468962E-2</c:v>
                </c:pt>
                <c:pt idx="8">
                  <c:v>2.8512871378172031E-2</c:v>
                </c:pt>
                <c:pt idx="9">
                  <c:v>2.70948650799317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Nicolas (14.4%)</c:v>
                </c:pt>
                <c:pt idx="4">
                  <c:v>Malard (6.0%)</c:v>
                </c:pt>
                <c:pt idx="5">
                  <c:v>Laurent Perrier (3.9%)</c:v>
                </c:pt>
                <c:pt idx="6">
                  <c:v>Demoiselle (3.5%)</c:v>
                </c:pt>
                <c:pt idx="7">
                  <c:v>Besserat De Bellefon (2.0%)</c:v>
                </c:pt>
                <c:pt idx="8">
                  <c:v>Deutz (4.8%)</c:v>
                </c:pt>
                <c:pt idx="9">
                  <c:v>Ruinart (12.8%)</c:v>
                </c:pt>
              </c:strCache>
            </c:strRef>
          </c:cat>
          <c:val>
            <c:numRef>
              <c:f>Sheet1!$B$2:$B$11</c:f>
              <c:numCache>
                <c:formatCode>General</c:formatCode>
                <c:ptCount val="10"/>
                <c:pt idx="0">
                  <c:v>0.28133070697171308</c:v>
                </c:pt>
                <c:pt idx="1">
                  <c:v>8.9143440353484996E-2</c:v>
                </c:pt>
                <c:pt idx="2">
                  <c:v>5.5722082295866691E-2</c:v>
                </c:pt>
                <c:pt idx="3">
                  <c:v>5.1016796433607348E-2</c:v>
                </c:pt>
                <c:pt idx="4">
                  <c:v>4.7883135024880411E-2</c:v>
                </c:pt>
                <c:pt idx="5">
                  <c:v>4.6779066913251691E-2</c:v>
                </c:pt>
                <c:pt idx="6">
                  <c:v>4.609276279072741E-2</c:v>
                </c:pt>
                <c:pt idx="7">
                  <c:v>4.1550727452301421E-2</c:v>
                </c:pt>
                <c:pt idx="8">
                  <c:v>3.2298125979856006E-2</c:v>
                </c:pt>
                <c:pt idx="9">
                  <c:v>3.019730800302794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Besserat De Bellefon (2.0%)</c:v>
                </c:pt>
                <c:pt idx="3">
                  <c:v>Demoiselle (3.5%)</c:v>
                </c:pt>
                <c:pt idx="4">
                  <c:v>Heidsieck &amp; C° Monopole (4.2%)</c:v>
                </c:pt>
                <c:pt idx="5">
                  <c:v>Laurent Perrier (3.9%)</c:v>
                </c:pt>
                <c:pt idx="6">
                  <c:v>Deutz (4.8%)</c:v>
                </c:pt>
                <c:pt idx="7">
                  <c:v>Ruinart (12.8%)</c:v>
                </c:pt>
                <c:pt idx="8">
                  <c:v>Nicolas Feuillatte (4.5%)</c:v>
                </c:pt>
                <c:pt idx="9">
                  <c:v>Taittinger (2.2%)</c:v>
                </c:pt>
              </c:strCache>
            </c:strRef>
          </c:cat>
          <c:val>
            <c:numRef>
              <c:f>Sheet1!$B$2:$B$11</c:f>
              <c:numCache>
                <c:formatCode>General</c:formatCode>
                <c:ptCount val="10"/>
                <c:pt idx="0">
                  <c:v>0.11779192453938772</c:v>
                </c:pt>
                <c:pt idx="1">
                  <c:v>9.8571911815449706E-2</c:v>
                </c:pt>
                <c:pt idx="2">
                  <c:v>5.8886835987061216E-2</c:v>
                </c:pt>
                <c:pt idx="3">
                  <c:v>5.8208775693714715E-2</c:v>
                </c:pt>
                <c:pt idx="4">
                  <c:v>5.5092139973079997E-2</c:v>
                </c:pt>
                <c:pt idx="5">
                  <c:v>5.5064055243578075E-2</c:v>
                </c:pt>
                <c:pt idx="6">
                  <c:v>5.1635764393062188E-2</c:v>
                </c:pt>
                <c:pt idx="7">
                  <c:v>5.0764255082843039E-2</c:v>
                </c:pt>
                <c:pt idx="8">
                  <c:v>4.7924341938120701E-2</c:v>
                </c:pt>
                <c:pt idx="9">
                  <c:v>3.231917438070323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Malard (6.0%)</c:v>
                </c:pt>
                <c:pt idx="2">
                  <c:v>Nicolas (14.4%)</c:v>
                </c:pt>
                <c:pt idx="3">
                  <c:v>Ruinart (12.8%)</c:v>
                </c:pt>
                <c:pt idx="4">
                  <c:v>Laurent Perrier (3.9%)</c:v>
                </c:pt>
                <c:pt idx="5">
                  <c:v>Demoiselle (3.5%)</c:v>
                </c:pt>
                <c:pt idx="6">
                  <c:v>Besserat De Bellefon (2.0%)</c:v>
                </c:pt>
                <c:pt idx="7">
                  <c:v>Taittinger (2.2%)</c:v>
                </c:pt>
                <c:pt idx="8">
                  <c:v>Nicolas Feuillatte (4.5%)</c:v>
                </c:pt>
                <c:pt idx="9">
                  <c:v>Heidsieck &amp; C° Monopole (4.2%)</c:v>
                </c:pt>
              </c:strCache>
            </c:strRef>
          </c:cat>
          <c:val>
            <c:numRef>
              <c:f>Sheet1!$B$2:$B$11</c:f>
              <c:numCache>
                <c:formatCode>General</c:formatCode>
                <c:ptCount val="10"/>
                <c:pt idx="0">
                  <c:v>9.0444659390842258E-2</c:v>
                </c:pt>
                <c:pt idx="1">
                  <c:v>8.7830499042921797E-2</c:v>
                </c:pt>
                <c:pt idx="2">
                  <c:v>8.4541116455805199E-2</c:v>
                </c:pt>
                <c:pt idx="3">
                  <c:v>7.883888566813875E-2</c:v>
                </c:pt>
                <c:pt idx="4">
                  <c:v>6.4628785243736123E-2</c:v>
                </c:pt>
                <c:pt idx="5">
                  <c:v>5.2693799153531236E-2</c:v>
                </c:pt>
                <c:pt idx="6">
                  <c:v>4.964248014417999E-2</c:v>
                </c:pt>
                <c:pt idx="7">
                  <c:v>4.8545512529144262E-2</c:v>
                </c:pt>
                <c:pt idx="8">
                  <c:v>4.2871794087451898E-2</c:v>
                </c:pt>
                <c:pt idx="9">
                  <c:v>4.09300469502635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Nicolas (14.4%)</c:v>
                </c:pt>
                <c:pt idx="3">
                  <c:v>Nicolas Feuillatte (4.5%)</c:v>
                </c:pt>
                <c:pt idx="4">
                  <c:v>Demoiselle (3.5%)</c:v>
                </c:pt>
                <c:pt idx="5">
                  <c:v>Laurent Perrier (3.9%)</c:v>
                </c:pt>
                <c:pt idx="6">
                  <c:v>Besserat De Bellefon (2.0%)</c:v>
                </c:pt>
                <c:pt idx="7">
                  <c:v>Deutz (4.8%)</c:v>
                </c:pt>
                <c:pt idx="8">
                  <c:v>Canard-Duchêne (3.1%)</c:v>
                </c:pt>
                <c:pt idx="9">
                  <c:v>Ruinart (12.8%)</c:v>
                </c:pt>
              </c:strCache>
            </c:strRef>
          </c:cat>
          <c:val>
            <c:numRef>
              <c:f>Sheet1!$B$2:$B$11</c:f>
              <c:numCache>
                <c:formatCode>General</c:formatCode>
                <c:ptCount val="10"/>
                <c:pt idx="0">
                  <c:v>0.11284961775319528</c:v>
                </c:pt>
                <c:pt idx="1">
                  <c:v>0.11048806991459895</c:v>
                </c:pt>
                <c:pt idx="2">
                  <c:v>8.9982292442848832E-2</c:v>
                </c:pt>
                <c:pt idx="3">
                  <c:v>7.6611315713777176E-2</c:v>
                </c:pt>
                <c:pt idx="4">
                  <c:v>5.4955344444335287E-2</c:v>
                </c:pt>
                <c:pt idx="5">
                  <c:v>4.8801066081059823E-2</c:v>
                </c:pt>
                <c:pt idx="6">
                  <c:v>4.4994669636930537E-2</c:v>
                </c:pt>
                <c:pt idx="7">
                  <c:v>4.2086647061010264E-2</c:v>
                </c:pt>
                <c:pt idx="8">
                  <c:v>3.7320114535127263E-2</c:v>
                </c:pt>
                <c:pt idx="9">
                  <c:v>3.684598428723288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Laurent Perrier (3.9%)</c:v>
                </c:pt>
                <c:pt idx="3">
                  <c:v>Deutz (4.8%)</c:v>
                </c:pt>
                <c:pt idx="4">
                  <c:v>Heidsieck &amp; C° Monopole (4.2%)</c:v>
                </c:pt>
                <c:pt idx="5">
                  <c:v>Nicolas Feuillatte (4.5%)</c:v>
                </c:pt>
                <c:pt idx="6">
                  <c:v>Ruinart (12.8%)</c:v>
                </c:pt>
                <c:pt idx="7">
                  <c:v>Demoiselle (3.5%)</c:v>
                </c:pt>
                <c:pt idx="8">
                  <c:v>Veuve Clicquot (1.7%)</c:v>
                </c:pt>
                <c:pt idx="9">
                  <c:v>Taittinger (2.2%)</c:v>
                </c:pt>
              </c:strCache>
            </c:strRef>
          </c:cat>
          <c:val>
            <c:numRef>
              <c:f>Sheet1!$B$2:$B$11</c:f>
              <c:numCache>
                <c:formatCode>General</c:formatCode>
                <c:ptCount val="10"/>
                <c:pt idx="0">
                  <c:v>9.2667394712591056E-2</c:v>
                </c:pt>
                <c:pt idx="1">
                  <c:v>7.7266833715095795E-2</c:v>
                </c:pt>
                <c:pt idx="2">
                  <c:v>7.0096537757230321E-2</c:v>
                </c:pt>
                <c:pt idx="3">
                  <c:v>6.9991588659337856E-2</c:v>
                </c:pt>
                <c:pt idx="4">
                  <c:v>6.9867223908721215E-2</c:v>
                </c:pt>
                <c:pt idx="5">
                  <c:v>6.8193027410333507E-2</c:v>
                </c:pt>
                <c:pt idx="6">
                  <c:v>5.6554861473423985E-2</c:v>
                </c:pt>
                <c:pt idx="7">
                  <c:v>4.9451611187118265E-2</c:v>
                </c:pt>
                <c:pt idx="8">
                  <c:v>4.4579089602839156E-2</c:v>
                </c:pt>
                <c:pt idx="9">
                  <c:v>4.40097440153014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c:v>
                </c:pt>
                <c:pt idx="1">
                  <c:v>0</c:v>
                </c:pt>
                <c:pt idx="2">
                  <c:v>0</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Malard (6.0%)</c:v>
                </c:pt>
                <c:pt idx="5">
                  <c:v>Laurent Perrier (3.9%)</c:v>
                </c:pt>
                <c:pt idx="6">
                  <c:v>Veuve Clicquot (1.7%)</c:v>
                </c:pt>
                <c:pt idx="7">
                  <c:v>Nicolas Feuillatte (4.5%)</c:v>
                </c:pt>
                <c:pt idx="8">
                  <c:v>Demoiselle (3.5%)</c:v>
                </c:pt>
                <c:pt idx="9">
                  <c:v>Bollinger (1.3%)</c:v>
                </c:pt>
              </c:strCache>
            </c:strRef>
          </c:cat>
          <c:val>
            <c:numRef>
              <c:f>Sheet1!$B$2:$B$11</c:f>
              <c:numCache>
                <c:formatCode>General</c:formatCode>
                <c:ptCount val="10"/>
                <c:pt idx="0">
                  <c:v>0.24917434390399848</c:v>
                </c:pt>
                <c:pt idx="1">
                  <c:v>0.1361183913465833</c:v>
                </c:pt>
                <c:pt idx="2">
                  <c:v>7.0516270855615862E-2</c:v>
                </c:pt>
                <c:pt idx="3">
                  <c:v>4.7824430119453309E-2</c:v>
                </c:pt>
                <c:pt idx="4">
                  <c:v>4.6647574331237958E-2</c:v>
                </c:pt>
                <c:pt idx="5">
                  <c:v>3.9729825521197963E-2</c:v>
                </c:pt>
                <c:pt idx="6">
                  <c:v>3.9423649824403093E-2</c:v>
                </c:pt>
                <c:pt idx="7">
                  <c:v>3.4958130577491871E-2</c:v>
                </c:pt>
                <c:pt idx="8">
                  <c:v>3.3643388875768516E-2</c:v>
                </c:pt>
                <c:pt idx="9">
                  <c:v>2.890366686585958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Malard (6.0%)</c:v>
                </c:pt>
                <c:pt idx="4">
                  <c:v>Taittinger (2.2%)</c:v>
                </c:pt>
                <c:pt idx="5">
                  <c:v>Demoiselle (3.5%)</c:v>
                </c:pt>
                <c:pt idx="6">
                  <c:v>Laurent Perrier (3.9%)</c:v>
                </c:pt>
                <c:pt idx="7">
                  <c:v>Bollinger (1.3%)</c:v>
                </c:pt>
                <c:pt idx="8">
                  <c:v>Veuve Clicquot (1.7%)</c:v>
                </c:pt>
                <c:pt idx="9">
                  <c:v>Nicolas Feuillatte (4.5%)</c:v>
                </c:pt>
              </c:strCache>
            </c:strRef>
          </c:cat>
          <c:val>
            <c:numRef>
              <c:f>Sheet1!$B$2:$B$11</c:f>
              <c:numCache>
                <c:formatCode>General</c:formatCode>
                <c:ptCount val="10"/>
                <c:pt idx="0">
                  <c:v>0.29863117164665098</c:v>
                </c:pt>
                <c:pt idx="1">
                  <c:v>0.13691473838852139</c:v>
                </c:pt>
                <c:pt idx="2">
                  <c:v>5.7683657055935519E-2</c:v>
                </c:pt>
                <c:pt idx="3">
                  <c:v>4.1593218964277381E-2</c:v>
                </c:pt>
                <c:pt idx="4">
                  <c:v>4.0537180552674384E-2</c:v>
                </c:pt>
                <c:pt idx="5">
                  <c:v>3.8562917665911578E-2</c:v>
                </c:pt>
                <c:pt idx="6">
                  <c:v>3.5979229307223456E-2</c:v>
                </c:pt>
                <c:pt idx="7">
                  <c:v>3.5461614055975421E-2</c:v>
                </c:pt>
                <c:pt idx="8">
                  <c:v>3.3224300647194435E-2</c:v>
                </c:pt>
                <c:pt idx="9">
                  <c:v>3.19913525969490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Laurent Perrier (3.9%)</c:v>
                </c:pt>
                <c:pt idx="2">
                  <c:v>Nicolas (14.4%)</c:v>
                </c:pt>
                <c:pt idx="3">
                  <c:v>Demoiselle (3.5%)</c:v>
                </c:pt>
                <c:pt idx="4">
                  <c:v>Taittinger (2.2%)</c:v>
                </c:pt>
                <c:pt idx="5">
                  <c:v>Nicolas Feuillatte (4.5%)</c:v>
                </c:pt>
                <c:pt idx="6">
                  <c:v>Veuve Clicquot (1.7%)</c:v>
                </c:pt>
                <c:pt idx="7">
                  <c:v>Ayala (1.7%)</c:v>
                </c:pt>
                <c:pt idx="8">
                  <c:v>Bollinger (1.3%)</c:v>
                </c:pt>
                <c:pt idx="9">
                  <c:v>Malard (6.0%)</c:v>
                </c:pt>
              </c:strCache>
            </c:strRef>
          </c:cat>
          <c:val>
            <c:numRef>
              <c:f>Sheet1!$B$2:$B$11</c:f>
              <c:numCache>
                <c:formatCode>General</c:formatCode>
                <c:ptCount val="10"/>
                <c:pt idx="0">
                  <c:v>0.14348788104759302</c:v>
                </c:pt>
                <c:pt idx="1">
                  <c:v>7.7198149492931648E-2</c:v>
                </c:pt>
                <c:pt idx="2">
                  <c:v>7.0687128693851131E-2</c:v>
                </c:pt>
                <c:pt idx="3">
                  <c:v>6.2036882874654406E-2</c:v>
                </c:pt>
                <c:pt idx="4">
                  <c:v>6.1427938046514106E-2</c:v>
                </c:pt>
                <c:pt idx="5">
                  <c:v>5.9611995280198907E-2</c:v>
                </c:pt>
                <c:pt idx="6">
                  <c:v>5.7992108765183355E-2</c:v>
                </c:pt>
                <c:pt idx="7">
                  <c:v>4.928835407834542E-2</c:v>
                </c:pt>
                <c:pt idx="8">
                  <c:v>4.2260887937264631E-2</c:v>
                </c:pt>
                <c:pt idx="9">
                  <c:v>4.02099107600469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Canard-Duchêne (3.1%)</c:v>
                </c:pt>
                <c:pt idx="4">
                  <c:v>Vesselle (1.0%)</c:v>
                </c:pt>
                <c:pt idx="5">
                  <c:v>Nicolas Feuillatte (4.5%)</c:v>
                </c:pt>
                <c:pt idx="6">
                  <c:v>Ayala (1.7%)</c:v>
                </c:pt>
                <c:pt idx="7">
                  <c:v>Deutz (4.8%)</c:v>
                </c:pt>
                <c:pt idx="8">
                  <c:v>De Bligny (1.3%)</c:v>
                </c:pt>
                <c:pt idx="9">
                  <c:v>Demoiselle (3.5%)</c:v>
                </c:pt>
              </c:strCache>
            </c:strRef>
          </c:cat>
          <c:val>
            <c:numRef>
              <c:f>Sheet1!$B$2:$B$11</c:f>
              <c:numCache>
                <c:formatCode>General</c:formatCode>
                <c:ptCount val="10"/>
                <c:pt idx="0">
                  <c:v>0.15489720869780435</c:v>
                </c:pt>
                <c:pt idx="1">
                  <c:v>0.13408644837254693</c:v>
                </c:pt>
                <c:pt idx="2">
                  <c:v>0.12494548047933758</c:v>
                </c:pt>
                <c:pt idx="3">
                  <c:v>4.5799170116582501E-2</c:v>
                </c:pt>
                <c:pt idx="4">
                  <c:v>4.4623211081930132E-2</c:v>
                </c:pt>
                <c:pt idx="5">
                  <c:v>4.4167426997259902E-2</c:v>
                </c:pt>
                <c:pt idx="6">
                  <c:v>3.6560265647678426E-2</c:v>
                </c:pt>
                <c:pt idx="7">
                  <c:v>3.6033163439584612E-2</c:v>
                </c:pt>
                <c:pt idx="8">
                  <c:v>3.4581346432561402E-2</c:v>
                </c:pt>
                <c:pt idx="9">
                  <c:v>3.04452711571772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Demoiselle (3.5%)</c:v>
                </c:pt>
                <c:pt idx="2">
                  <c:v>Laurent Perrier (3.9%)</c:v>
                </c:pt>
                <c:pt idx="3">
                  <c:v>Nicolas (14.4%)</c:v>
                </c:pt>
                <c:pt idx="4">
                  <c:v>Bollinger (1.3%)</c:v>
                </c:pt>
                <c:pt idx="5">
                  <c:v>Taittinger (2.2%)</c:v>
                </c:pt>
                <c:pt idx="6">
                  <c:v>Veuve Clicquot (1.7%)</c:v>
                </c:pt>
                <c:pt idx="7">
                  <c:v>Nicolas Feuillatte (4.5%)</c:v>
                </c:pt>
                <c:pt idx="8">
                  <c:v>Moët &amp; Chandon (1.1%)</c:v>
                </c:pt>
                <c:pt idx="9">
                  <c:v>Malard (6.0%)</c:v>
                </c:pt>
              </c:strCache>
            </c:strRef>
          </c:cat>
          <c:val>
            <c:numRef>
              <c:f>Sheet1!$B$2:$B$11</c:f>
              <c:numCache>
                <c:formatCode>General</c:formatCode>
                <c:ptCount val="10"/>
                <c:pt idx="0">
                  <c:v>0.14048765478287767</c:v>
                </c:pt>
                <c:pt idx="1">
                  <c:v>7.5029321064808668E-2</c:v>
                </c:pt>
                <c:pt idx="2">
                  <c:v>7.3221828782738599E-2</c:v>
                </c:pt>
                <c:pt idx="3">
                  <c:v>6.4448213204255103E-2</c:v>
                </c:pt>
                <c:pt idx="4">
                  <c:v>6.3474802223003515E-2</c:v>
                </c:pt>
                <c:pt idx="5">
                  <c:v>5.8947578060622542E-2</c:v>
                </c:pt>
                <c:pt idx="6">
                  <c:v>5.6587963773019709E-2</c:v>
                </c:pt>
                <c:pt idx="7">
                  <c:v>5.4454135534316508E-2</c:v>
                </c:pt>
                <c:pt idx="8">
                  <c:v>3.3663012067163253E-2</c:v>
                </c:pt>
                <c:pt idx="9">
                  <c:v>3.330632485022684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8692155238664753</c:v>
                </c:pt>
                <c:pt idx="1">
                  <c:v>9.7018012038104381E-2</c:v>
                </c:pt>
                <c:pt idx="2">
                  <c:v>5.7371342741849574E-2</c:v>
                </c:pt>
                <c:pt idx="3">
                  <c:v>5.7297833200758416E-2</c:v>
                </c:pt>
                <c:pt idx="4">
                  <c:v>5.0336715658285035E-2</c:v>
                </c:pt>
                <c:pt idx="5">
                  <c:v>3.3681236150635167E-2</c:v>
                </c:pt>
                <c:pt idx="6">
                  <c:v>2.5236905432727257E-2</c:v>
                </c:pt>
                <c:pt idx="7">
                  <c:v>2.0270157657120945E-2</c:v>
                </c:pt>
                <c:pt idx="8">
                  <c:v>1.9715112821664858E-2</c:v>
                </c:pt>
                <c:pt idx="9">
                  <c:v>1.51608223075577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2676905558989953</c:v>
                </c:pt>
                <c:pt idx="1">
                  <c:v>0.14097770348583677</c:v>
                </c:pt>
                <c:pt idx="2">
                  <c:v>6.8191581319070355E-2</c:v>
                </c:pt>
                <c:pt idx="3">
                  <c:v>5.0732362126538803E-2</c:v>
                </c:pt>
                <c:pt idx="4">
                  <c:v>4.9778745804582698E-2</c:v>
                </c:pt>
                <c:pt idx="5">
                  <c:v>3.1584712841389181E-2</c:v>
                </c:pt>
                <c:pt idx="6">
                  <c:v>2.8424660333952984E-2</c:v>
                </c:pt>
                <c:pt idx="7">
                  <c:v>2.1695651448774309E-2</c:v>
                </c:pt>
                <c:pt idx="8">
                  <c:v>1.9929771670190874E-2</c:v>
                </c:pt>
                <c:pt idx="9">
                  <c:v>1.462708133392527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Laurent Perrier (3.9%)</c:v>
                </c:pt>
                <c:pt idx="3">
                  <c:v>Malard (6.0%)</c:v>
                </c:pt>
                <c:pt idx="4">
                  <c:v>Nicolas (14.4%)</c:v>
                </c:pt>
                <c:pt idx="5">
                  <c:v>Heidsieck &amp; C° Monopole (4.2%)</c:v>
                </c:pt>
                <c:pt idx="6">
                  <c:v>Nicolas Feuillatte (4.5%)</c:v>
                </c:pt>
                <c:pt idx="7">
                  <c:v>Veuve Clicquot (1.7%)</c:v>
                </c:pt>
                <c:pt idx="8">
                  <c:v>Demoiselle (3.5%)</c:v>
                </c:pt>
                <c:pt idx="9">
                  <c:v>Besserat De Bellefon (2.0%)</c:v>
                </c:pt>
              </c:strCache>
            </c:strRef>
          </c:cat>
          <c:val>
            <c:numRef>
              <c:f>Sheet1!$B$2:$B$11</c:f>
              <c:numCache>
                <c:formatCode>General</c:formatCode>
                <c:ptCount val="10"/>
                <c:pt idx="0">
                  <c:v>0.10299935196160472</c:v>
                </c:pt>
                <c:pt idx="1">
                  <c:v>9.7481333063092382E-2</c:v>
                </c:pt>
                <c:pt idx="2">
                  <c:v>8.4686278068383358E-2</c:v>
                </c:pt>
                <c:pt idx="3">
                  <c:v>8.1472034020097908E-2</c:v>
                </c:pt>
                <c:pt idx="4">
                  <c:v>6.1514127856241142E-2</c:v>
                </c:pt>
                <c:pt idx="5">
                  <c:v>5.8653161487640049E-2</c:v>
                </c:pt>
                <c:pt idx="6">
                  <c:v>4.9097496280947645E-2</c:v>
                </c:pt>
                <c:pt idx="7">
                  <c:v>4.6411736651859957E-2</c:v>
                </c:pt>
                <c:pt idx="8">
                  <c:v>4.4521436352370714E-2</c:v>
                </c:pt>
                <c:pt idx="9">
                  <c:v>4.16277886368070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Veuve Clicquot (1.7%)</c:v>
                </c:pt>
                <c:pt idx="4">
                  <c:v>Malard (6.0%)</c:v>
                </c:pt>
                <c:pt idx="5">
                  <c:v>Heidsieck &amp; C° Monopole (4.2%)</c:v>
                </c:pt>
                <c:pt idx="6">
                  <c:v>Nicolas (14.4%)</c:v>
                </c:pt>
                <c:pt idx="7">
                  <c:v>Nicolas Feuillatte (4.5%)</c:v>
                </c:pt>
                <c:pt idx="8">
                  <c:v>Demoiselle (3.5%)</c:v>
                </c:pt>
                <c:pt idx="9">
                  <c:v>Besserat De Bellefon (2.0%)</c:v>
                </c:pt>
              </c:strCache>
            </c:strRef>
          </c:cat>
          <c:val>
            <c:numRef>
              <c:f>Sheet1!$B$2:$B$11</c:f>
              <c:numCache>
                <c:formatCode>General</c:formatCode>
                <c:ptCount val="10"/>
                <c:pt idx="0">
                  <c:v>0.18313898771172313</c:v>
                </c:pt>
                <c:pt idx="1">
                  <c:v>0.12331497489203609</c:v>
                </c:pt>
                <c:pt idx="2">
                  <c:v>8.909705922985417E-2</c:v>
                </c:pt>
                <c:pt idx="3">
                  <c:v>7.2145898714264994E-2</c:v>
                </c:pt>
                <c:pt idx="4">
                  <c:v>5.1435940044736429E-2</c:v>
                </c:pt>
                <c:pt idx="5">
                  <c:v>4.0627869519699752E-2</c:v>
                </c:pt>
                <c:pt idx="6">
                  <c:v>3.8004002382320289E-2</c:v>
                </c:pt>
                <c:pt idx="7">
                  <c:v>3.3814750495133244E-2</c:v>
                </c:pt>
                <c:pt idx="8">
                  <c:v>3.3076457029885778E-2</c:v>
                </c:pt>
                <c:pt idx="9">
                  <c:v>3.237236637439668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Louis Martin (0.5%)</c:v>
                </c:pt>
                <c:pt idx="5">
                  <c:v>Besserat De Bellefon (2.0%)</c:v>
                </c:pt>
                <c:pt idx="6">
                  <c:v>Carlo V (5.4%)</c:v>
                </c:pt>
                <c:pt idx="7">
                  <c:v>Patriarche (2.6%)</c:v>
                </c:pt>
                <c:pt idx="8">
                  <c:v>Bottega (3.7%)</c:v>
                </c:pt>
                <c:pt idx="9">
                  <c:v>Demoiselle (3.5%)</c:v>
                </c:pt>
              </c:strCache>
            </c:strRef>
          </c:cat>
          <c:val>
            <c:numRef>
              <c:f>Sheet1!$B$2:$B$11</c:f>
              <c:numCache>
                <c:formatCode>General</c:formatCode>
                <c:ptCount val="10"/>
                <c:pt idx="0">
                  <c:v>0.32277263106508802</c:v>
                </c:pt>
                <c:pt idx="1">
                  <c:v>0.17259878456107891</c:v>
                </c:pt>
                <c:pt idx="2">
                  <c:v>4.2388437006132429E-2</c:v>
                </c:pt>
                <c:pt idx="3">
                  <c:v>3.9700101858460513E-2</c:v>
                </c:pt>
                <c:pt idx="4">
                  <c:v>3.5950932436315704E-2</c:v>
                </c:pt>
                <c:pt idx="5">
                  <c:v>2.7196626208491854E-2</c:v>
                </c:pt>
                <c:pt idx="6">
                  <c:v>2.7109232036605181E-2</c:v>
                </c:pt>
                <c:pt idx="7">
                  <c:v>2.6447819844024084E-2</c:v>
                </c:pt>
                <c:pt idx="8">
                  <c:v>2.2690977039973581E-2</c:v>
                </c:pt>
                <c:pt idx="9">
                  <c:v>2.031784816030292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Besserat De Bellefon (2.0%)</c:v>
                </c:pt>
                <c:pt idx="4">
                  <c:v>Nicolas Feuillatte (4.5%)</c:v>
                </c:pt>
                <c:pt idx="5">
                  <c:v>Louis Martin (0.5%)</c:v>
                </c:pt>
                <c:pt idx="6">
                  <c:v>Lefèvre (0.4%)</c:v>
                </c:pt>
                <c:pt idx="7">
                  <c:v>Demoiselle (3.5%)</c:v>
                </c:pt>
                <c:pt idx="8">
                  <c:v>Canard-Duchêne (3.1%)</c:v>
                </c:pt>
                <c:pt idx="9">
                  <c:v>De Bligny (1.3%)</c:v>
                </c:pt>
              </c:strCache>
            </c:strRef>
          </c:cat>
          <c:val>
            <c:numRef>
              <c:f>Sheet1!$B$2:$B$11</c:f>
              <c:numCache>
                <c:formatCode>General</c:formatCode>
                <c:ptCount val="10"/>
                <c:pt idx="0">
                  <c:v>0.23995932659239194</c:v>
                </c:pt>
                <c:pt idx="1">
                  <c:v>0.17126306930243376</c:v>
                </c:pt>
                <c:pt idx="2">
                  <c:v>5.7799524468732162E-2</c:v>
                </c:pt>
                <c:pt idx="3">
                  <c:v>4.680634916603086E-2</c:v>
                </c:pt>
                <c:pt idx="4">
                  <c:v>4.6383918761868238E-2</c:v>
                </c:pt>
                <c:pt idx="5">
                  <c:v>3.3601213184393991E-2</c:v>
                </c:pt>
                <c:pt idx="6">
                  <c:v>3.0318967589769895E-2</c:v>
                </c:pt>
                <c:pt idx="7">
                  <c:v>2.6604935640732869E-2</c:v>
                </c:pt>
                <c:pt idx="8">
                  <c:v>2.632231610936385E-2</c:v>
                </c:pt>
                <c:pt idx="9">
                  <c:v>2.60364897515151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Laurent Perrier (3.9%)</c:v>
                </c:pt>
                <c:pt idx="3">
                  <c:v>Nicolas Feuillatte (4.5%)</c:v>
                </c:pt>
                <c:pt idx="4">
                  <c:v>Malard (6.0%)</c:v>
                </c:pt>
                <c:pt idx="5">
                  <c:v>Demoiselle (3.5%)</c:v>
                </c:pt>
                <c:pt idx="6">
                  <c:v>Heidsieck &amp; C° Monopole (4.2%)</c:v>
                </c:pt>
                <c:pt idx="7">
                  <c:v>Taittinger (2.2%)</c:v>
                </c:pt>
                <c:pt idx="8">
                  <c:v>Deutz (4.8%)</c:v>
                </c:pt>
                <c:pt idx="9">
                  <c:v>Carlo V (5.4%)</c:v>
                </c:pt>
              </c:strCache>
            </c:strRef>
          </c:cat>
          <c:val>
            <c:numRef>
              <c:f>Sheet1!$B$2:$B$11</c:f>
              <c:numCache>
                <c:formatCode>General</c:formatCode>
                <c:ptCount val="10"/>
                <c:pt idx="0">
                  <c:v>8.2782206738086006E-2</c:v>
                </c:pt>
                <c:pt idx="1">
                  <c:v>7.7145850201670543E-2</c:v>
                </c:pt>
                <c:pt idx="2">
                  <c:v>7.3071743608364978E-2</c:v>
                </c:pt>
                <c:pt idx="3">
                  <c:v>6.9792315881581315E-2</c:v>
                </c:pt>
                <c:pt idx="4">
                  <c:v>6.5433240646655857E-2</c:v>
                </c:pt>
                <c:pt idx="5">
                  <c:v>5.7203873944320263E-2</c:v>
                </c:pt>
                <c:pt idx="6">
                  <c:v>5.6292530497565885E-2</c:v>
                </c:pt>
                <c:pt idx="7">
                  <c:v>5.4802558143284372E-2</c:v>
                </c:pt>
                <c:pt idx="8">
                  <c:v>5.3840012412856783E-2</c:v>
                </c:pt>
                <c:pt idx="9">
                  <c:v>4.040245263235874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Taittinger (2.2%)</c:v>
                </c:pt>
                <c:pt idx="3">
                  <c:v>Laurent Perrier (3.9%)</c:v>
                </c:pt>
                <c:pt idx="4">
                  <c:v>Nicolas Feuillatte (4.5%)</c:v>
                </c:pt>
                <c:pt idx="5">
                  <c:v>Nicolas (14.4%)</c:v>
                </c:pt>
                <c:pt idx="6">
                  <c:v>Demoiselle (3.5%)</c:v>
                </c:pt>
                <c:pt idx="7">
                  <c:v>Malard (6.0%)</c:v>
                </c:pt>
                <c:pt idx="8">
                  <c:v>Moët &amp; Chandon (1.1%)</c:v>
                </c:pt>
                <c:pt idx="9">
                  <c:v>Heidsieck &amp; C° Monopole (4.2%)</c:v>
                </c:pt>
              </c:strCache>
            </c:strRef>
          </c:cat>
          <c:val>
            <c:numRef>
              <c:f>Sheet1!$B$2:$B$11</c:f>
              <c:numCache>
                <c:formatCode>General</c:formatCode>
                <c:ptCount val="10"/>
                <c:pt idx="0">
                  <c:v>0.13981989879062071</c:v>
                </c:pt>
                <c:pt idx="1">
                  <c:v>9.5460805334715848E-2</c:v>
                </c:pt>
                <c:pt idx="2">
                  <c:v>8.9095557828155911E-2</c:v>
                </c:pt>
                <c:pt idx="3">
                  <c:v>8.6682746071279931E-2</c:v>
                </c:pt>
                <c:pt idx="4">
                  <c:v>6.0775721617010274E-2</c:v>
                </c:pt>
                <c:pt idx="5">
                  <c:v>5.877628143855506E-2</c:v>
                </c:pt>
                <c:pt idx="6">
                  <c:v>4.7269104766686401E-2</c:v>
                </c:pt>
                <c:pt idx="7">
                  <c:v>4.3473374465944674E-2</c:v>
                </c:pt>
                <c:pt idx="8">
                  <c:v>3.90711056236384E-2</c:v>
                </c:pt>
                <c:pt idx="9">
                  <c:v>3.869685977161881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Les Grumes  (1.0%)</c:v>
                </c:pt>
                <c:pt idx="2">
                  <c:v>Savian (2.1%)</c:v>
                </c:pt>
                <c:pt idx="3">
                  <c:v>Nicolas (14.4%)</c:v>
                </c:pt>
                <c:pt idx="4">
                  <c:v>Bottega (3.7%)</c:v>
                </c:pt>
                <c:pt idx="5">
                  <c:v>Patriarche (2.6%)</c:v>
                </c:pt>
                <c:pt idx="6">
                  <c:v>Muré (1.3%)</c:v>
                </c:pt>
                <c:pt idx="7">
                  <c:v>Bouvet Ladubay (1.5%)</c:v>
                </c:pt>
                <c:pt idx="8">
                  <c:v>Dea Augusta (0.5%)</c:v>
                </c:pt>
                <c:pt idx="9">
                  <c:v>Malard (6.0%)</c:v>
                </c:pt>
              </c:strCache>
            </c:strRef>
          </c:cat>
          <c:val>
            <c:numRef>
              <c:f>Sheet1!$B$2:$B$11</c:f>
              <c:numCache>
                <c:formatCode>General</c:formatCode>
                <c:ptCount val="10"/>
                <c:pt idx="0">
                  <c:v>0.25363612788626183</c:v>
                </c:pt>
                <c:pt idx="1">
                  <c:v>7.5781195499562748E-2</c:v>
                </c:pt>
                <c:pt idx="2">
                  <c:v>6.9922491719196386E-2</c:v>
                </c:pt>
                <c:pt idx="3">
                  <c:v>6.5544537219265162E-2</c:v>
                </c:pt>
                <c:pt idx="4">
                  <c:v>6.1988945207421493E-2</c:v>
                </c:pt>
                <c:pt idx="5">
                  <c:v>5.5012386362951908E-2</c:v>
                </c:pt>
                <c:pt idx="6">
                  <c:v>4.3149440890558152E-2</c:v>
                </c:pt>
                <c:pt idx="7">
                  <c:v>4.0294415368351079E-2</c:v>
                </c:pt>
                <c:pt idx="8">
                  <c:v>3.7390775845437159E-2</c:v>
                </c:pt>
                <c:pt idx="9">
                  <c:v>3.051747963067974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9/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9/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chart" Target="../charts/chart170.xml"/><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174.xml"/><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178.xml"/><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181.xml"/><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184.xml"/><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chart" Target="../charts/chart187.xml"/><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chart" Target="../charts/chart191.xml"/><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chart" Target="../charts/chart194.xml"/><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chart" Target="../charts/chart198.xml"/><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chart" Target="../charts/chart201.xml"/><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205.xml"/><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206.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3" Type="http://schemas.openxmlformats.org/officeDocument/2006/relationships/chart" Target="../charts/chart208.xml"/><Relationship Id="rId2" Type="http://schemas.openxmlformats.org/officeDocument/2006/relationships/chart" Target="../charts/chart207.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20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3" Type="http://schemas.openxmlformats.org/officeDocument/2006/relationships/chart" Target="../charts/chart211.xml"/><Relationship Id="rId2" Type="http://schemas.openxmlformats.org/officeDocument/2006/relationships/chart" Target="../charts/chart210.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212.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213.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chart" Target="../charts/chart215.xml"/><Relationship Id="rId2" Type="http://schemas.openxmlformats.org/officeDocument/2006/relationships/chart" Target="../charts/chart214.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216.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217.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219.xml"/><Relationship Id="rId2" Type="http://schemas.openxmlformats.org/officeDocument/2006/relationships/chart" Target="../charts/chart218.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220.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222.xml"/><Relationship Id="rId2" Type="http://schemas.openxmlformats.org/officeDocument/2006/relationships/chart" Target="../charts/chart221.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22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chart" Target="../charts/chart225.xml"/><Relationship Id="rId2" Type="http://schemas.openxmlformats.org/officeDocument/2006/relationships/chart" Target="../charts/chart224.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2" Type="http://schemas.openxmlformats.org/officeDocument/2006/relationships/chart" Target="../charts/chart226.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chart" Target="../charts/chart228.xml"/><Relationship Id="rId2" Type="http://schemas.openxmlformats.org/officeDocument/2006/relationships/chart" Target="../charts/chart227.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229.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31.xml"/><Relationship Id="rId2" Type="http://schemas.openxmlformats.org/officeDocument/2006/relationships/chart" Target="../charts/chart230.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chart" Target="../charts/chart232.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chart" Target="../charts/chart233.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3" Type="http://schemas.openxmlformats.org/officeDocument/2006/relationships/chart" Target="../charts/chart235.xml"/><Relationship Id="rId2" Type="http://schemas.openxmlformats.org/officeDocument/2006/relationships/chart" Target="../charts/chart234.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2" Type="http://schemas.openxmlformats.org/officeDocument/2006/relationships/chart" Target="../charts/chart236.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chart" Target="../charts/chart23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chart" Target="../charts/chart239.xml"/><Relationship Id="rId2" Type="http://schemas.openxmlformats.org/officeDocument/2006/relationships/chart" Target="../charts/chart238.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2" Type="http://schemas.openxmlformats.org/officeDocument/2006/relationships/chart" Target="../charts/chart240.xml"/><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2" Type="http://schemas.openxmlformats.org/officeDocument/2006/relationships/chart" Target="../charts/chart241.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3" Type="http://schemas.openxmlformats.org/officeDocument/2006/relationships/chart" Target="../charts/chart243.xml"/><Relationship Id="rId2" Type="http://schemas.openxmlformats.org/officeDocument/2006/relationships/chart" Target="../charts/chart242.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chart" Target="../charts/chart244.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chart" Target="../charts/chart246.xml"/><Relationship Id="rId2" Type="http://schemas.openxmlformats.org/officeDocument/2006/relationships/chart" Target="../charts/chart24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chart" Target="../charts/chart247.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3" Type="http://schemas.openxmlformats.org/officeDocument/2006/relationships/chart" Target="../charts/chart249.xml"/><Relationship Id="rId2" Type="http://schemas.openxmlformats.org/officeDocument/2006/relationships/chart" Target="../charts/chart248.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chart" Target="../charts/chart250.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chart" Target="../charts/chart25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chart" Target="../charts/chart253.xml"/><Relationship Id="rId2" Type="http://schemas.openxmlformats.org/officeDocument/2006/relationships/chart" Target="../charts/chart252.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chart" Target="../charts/chart254.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chart" Target="../charts/chart255.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3" Type="http://schemas.openxmlformats.org/officeDocument/2006/relationships/chart" Target="../charts/chart257.xml"/><Relationship Id="rId2" Type="http://schemas.openxmlformats.org/officeDocument/2006/relationships/chart" Target="../charts/chart256.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chart" Target="../charts/chart258.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3" Type="http://schemas.openxmlformats.org/officeDocument/2006/relationships/chart" Target="../charts/chart260.xml"/><Relationship Id="rId2" Type="http://schemas.openxmlformats.org/officeDocument/2006/relationships/chart" Target="../charts/chart259.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chart" Target="../charts/chart261.xml"/><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3" Type="http://schemas.openxmlformats.org/officeDocument/2006/relationships/chart" Target="../charts/chart263.xml"/><Relationship Id="rId2" Type="http://schemas.openxmlformats.org/officeDocument/2006/relationships/chart" Target="../charts/chart262.xml"/><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chart" Target="../charts/chart264.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chart" Target="../charts/chart26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3" Type="http://schemas.openxmlformats.org/officeDocument/2006/relationships/chart" Target="../charts/chart267.xml"/><Relationship Id="rId2" Type="http://schemas.openxmlformats.org/officeDocument/2006/relationships/chart" Target="../charts/chart266.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chart" Target="../charts/chart268.xml"/><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2" Type="http://schemas.openxmlformats.org/officeDocument/2006/relationships/chart" Target="../charts/chart269.xml"/><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3" Type="http://schemas.openxmlformats.org/officeDocument/2006/relationships/chart" Target="../charts/chart271.xml"/><Relationship Id="rId2" Type="http://schemas.openxmlformats.org/officeDocument/2006/relationships/chart" Target="../charts/chart270.xml"/><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chart" Target="../charts/chart272.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chart" Target="../charts/chart273.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3" Type="http://schemas.openxmlformats.org/officeDocument/2006/relationships/chart" Target="../charts/chart275.xml"/><Relationship Id="rId2" Type="http://schemas.openxmlformats.org/officeDocument/2006/relationships/chart" Target="../charts/chart274.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chart" Target="../charts/chart276.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2" Type="http://schemas.openxmlformats.org/officeDocument/2006/relationships/chart" Target="../charts/chart277.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3" Type="http://schemas.openxmlformats.org/officeDocument/2006/relationships/chart" Target="../charts/chart279.xml"/><Relationship Id="rId2" Type="http://schemas.openxmlformats.org/officeDocument/2006/relationships/chart" Target="../charts/chart27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chart" Target="../charts/chart280.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chart" Target="../charts/chart281.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3" Type="http://schemas.openxmlformats.org/officeDocument/2006/relationships/chart" Target="../charts/chart283.xml"/><Relationship Id="rId2" Type="http://schemas.openxmlformats.org/officeDocument/2006/relationships/chart" Target="../charts/chart282.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chart" Target="../charts/chart284.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chart" Target="../charts/chart285.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3" Type="http://schemas.openxmlformats.org/officeDocument/2006/relationships/chart" Target="../charts/chart287.xml"/><Relationship Id="rId2" Type="http://schemas.openxmlformats.org/officeDocument/2006/relationships/chart" Target="../charts/chart286.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chart" Target="../charts/chart288.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chart" Target="../charts/chart289.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3" Type="http://schemas.openxmlformats.org/officeDocument/2006/relationships/chart" Target="../charts/chart291.xml"/><Relationship Id="rId2" Type="http://schemas.openxmlformats.org/officeDocument/2006/relationships/chart" Target="../charts/chart290.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chart" Target="../charts/chart29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chart" Target="../charts/chart293.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3" Type="http://schemas.openxmlformats.org/officeDocument/2006/relationships/chart" Target="../charts/chart295.xml"/><Relationship Id="rId2" Type="http://schemas.openxmlformats.org/officeDocument/2006/relationships/chart" Target="../charts/chart294.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chart" Target="../charts/chart296.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3" Type="http://schemas.openxmlformats.org/officeDocument/2006/relationships/chart" Target="../charts/chart298.xml"/><Relationship Id="rId2" Type="http://schemas.openxmlformats.org/officeDocument/2006/relationships/chart" Target="../charts/chart297.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chart" Target="../charts/chart299.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chart" Target="../charts/chart300.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3" Type="http://schemas.openxmlformats.org/officeDocument/2006/relationships/chart" Target="../charts/chart302.xml"/><Relationship Id="rId2" Type="http://schemas.openxmlformats.org/officeDocument/2006/relationships/chart" Target="../charts/chart301.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chart" Target="../charts/chart303.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chart" Target="../charts/chart305.xml"/><Relationship Id="rId2" Type="http://schemas.openxmlformats.org/officeDocument/2006/relationships/chart" Target="../charts/chart304.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chart" Target="../charts/chart30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3" Type="http://schemas.openxmlformats.org/officeDocument/2006/relationships/chart" Target="../charts/chart308.xml"/><Relationship Id="rId2" Type="http://schemas.openxmlformats.org/officeDocument/2006/relationships/chart" Target="../charts/chart307.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chart" Target="../charts/chart309.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3" Type="http://schemas.openxmlformats.org/officeDocument/2006/relationships/chart" Target="../charts/chart311.xml"/><Relationship Id="rId2" Type="http://schemas.openxmlformats.org/officeDocument/2006/relationships/chart" Target="../charts/chart310.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chart" Target="../charts/chart312.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chart" Target="../charts/chart313.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3" Type="http://schemas.openxmlformats.org/officeDocument/2006/relationships/chart" Target="../charts/chart315.xml"/><Relationship Id="rId2" Type="http://schemas.openxmlformats.org/officeDocument/2006/relationships/chart" Target="../charts/chart314.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chart" Target="../charts/chart316.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2" Type="http://schemas.openxmlformats.org/officeDocument/2006/relationships/chart" Target="../charts/chart317.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3" Type="http://schemas.openxmlformats.org/officeDocument/2006/relationships/chart" Target="../charts/chart319.xml"/><Relationship Id="rId2" Type="http://schemas.openxmlformats.org/officeDocument/2006/relationships/chart" Target="../charts/chart318.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chart" Target="../charts/chart3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chart" Target="../charts/chart322.xml"/><Relationship Id="rId2" Type="http://schemas.openxmlformats.org/officeDocument/2006/relationships/chart" Target="../charts/chart321.xml"/><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chart" Target="../charts/chart323.xml"/><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chart" Target="../charts/chart324.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3" Type="http://schemas.openxmlformats.org/officeDocument/2006/relationships/chart" Target="../charts/chart326.xml"/><Relationship Id="rId2" Type="http://schemas.openxmlformats.org/officeDocument/2006/relationships/chart" Target="../charts/chart325.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chart" Target="../charts/chart327.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chart" Target="../charts/chart328.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3" Type="http://schemas.openxmlformats.org/officeDocument/2006/relationships/chart" Target="../charts/chart330.xml"/><Relationship Id="rId2" Type="http://schemas.openxmlformats.org/officeDocument/2006/relationships/chart" Target="../charts/chart329.xml"/><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chart" Target="../charts/chart331.xml"/><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3" Type="http://schemas.openxmlformats.org/officeDocument/2006/relationships/chart" Target="../charts/chart333.xml"/><Relationship Id="rId2" Type="http://schemas.openxmlformats.org/officeDocument/2006/relationships/chart" Target="../charts/chart332.xml"/><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chart" Target="../charts/chart33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chart" Target="../charts/chart335.xml"/><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3" Type="http://schemas.openxmlformats.org/officeDocument/2006/relationships/chart" Target="../charts/chart337.xml"/><Relationship Id="rId2" Type="http://schemas.openxmlformats.org/officeDocument/2006/relationships/chart" Target="../charts/chart336.xml"/><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chart" Target="../charts/chart338.xml"/><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chart" Target="../charts/chart339.xml"/><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3" Type="http://schemas.openxmlformats.org/officeDocument/2006/relationships/chart" Target="../charts/chart341.xml"/><Relationship Id="rId2" Type="http://schemas.openxmlformats.org/officeDocument/2006/relationships/chart" Target="../charts/chart340.xml"/><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2" Type="http://schemas.openxmlformats.org/officeDocument/2006/relationships/chart" Target="../charts/chart342.xml"/><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2" Type="http://schemas.openxmlformats.org/officeDocument/2006/relationships/chart" Target="../charts/chart343.xml"/><Relationship Id="rId1" Type="http://schemas.openxmlformats.org/officeDocument/2006/relationships/slideLayout" Target="../slideLayouts/slideLayout7.xml"/></Relationships>
</file>

<file path=ppt/slides/_rels/slide227.xml.rels><?xml version="1.0" encoding="UTF-8" standalone="yes"?>
<Relationships xmlns="http://schemas.openxmlformats.org/package/2006/relationships"><Relationship Id="rId3" Type="http://schemas.openxmlformats.org/officeDocument/2006/relationships/chart" Target="../charts/chart345.xml"/><Relationship Id="rId2" Type="http://schemas.openxmlformats.org/officeDocument/2006/relationships/chart" Target="../charts/chart344.xml"/><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chart" Target="../charts/chart346.xml"/><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chart" Target="../charts/chart34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3" Type="http://schemas.openxmlformats.org/officeDocument/2006/relationships/chart" Target="../charts/chart349.xml"/><Relationship Id="rId2" Type="http://schemas.openxmlformats.org/officeDocument/2006/relationships/chart" Target="../charts/chart348.xml"/><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2" Type="http://schemas.openxmlformats.org/officeDocument/2006/relationships/chart" Target="../charts/chart350.xml"/><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3" Type="http://schemas.openxmlformats.org/officeDocument/2006/relationships/chart" Target="../charts/chart352.xml"/><Relationship Id="rId2" Type="http://schemas.openxmlformats.org/officeDocument/2006/relationships/chart" Target="../charts/chart351.xml"/><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2" Type="http://schemas.openxmlformats.org/officeDocument/2006/relationships/chart" Target="../charts/chart353.xml"/><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3" Type="http://schemas.openxmlformats.org/officeDocument/2006/relationships/chart" Target="../charts/chart355.xml"/><Relationship Id="rId2" Type="http://schemas.openxmlformats.org/officeDocument/2006/relationships/chart" Target="../charts/chart354.xml"/><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2" Type="http://schemas.openxmlformats.org/officeDocument/2006/relationships/chart" Target="../charts/chart356.xml"/><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3" Type="http://schemas.openxmlformats.org/officeDocument/2006/relationships/chart" Target="../charts/chart358.xml"/><Relationship Id="rId2" Type="http://schemas.openxmlformats.org/officeDocument/2006/relationships/chart" Target="../charts/chart357.xml"/><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2" Type="http://schemas.openxmlformats.org/officeDocument/2006/relationships/chart" Target="../charts/chart359.xml"/><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3" Type="http://schemas.openxmlformats.org/officeDocument/2006/relationships/chart" Target="../charts/chart361.xml"/><Relationship Id="rId2" Type="http://schemas.openxmlformats.org/officeDocument/2006/relationships/chart" Target="../charts/chart360.xml"/><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2" Type="http://schemas.openxmlformats.org/officeDocument/2006/relationships/chart" Target="../charts/chart36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40.xml.rels><?xml version="1.0" encoding="UTF-8" standalone="yes"?>
<Relationships xmlns="http://schemas.openxmlformats.org/package/2006/relationships"><Relationship Id="rId3" Type="http://schemas.openxmlformats.org/officeDocument/2006/relationships/chart" Target="../charts/chart364.xml"/><Relationship Id="rId2" Type="http://schemas.openxmlformats.org/officeDocument/2006/relationships/chart" Target="../charts/chart363.xml"/><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2" Type="http://schemas.openxmlformats.org/officeDocument/2006/relationships/chart" Target="../charts/chart365.xml"/><Relationship Id="rId1" Type="http://schemas.openxmlformats.org/officeDocument/2006/relationships/slideLayout" Target="../slideLayouts/slideLayout7.xml"/></Relationships>
</file>

<file path=ppt/slides/_rels/slide242.xml.rels><?xml version="1.0" encoding="UTF-8" standalone="yes"?>
<Relationships xmlns="http://schemas.openxmlformats.org/package/2006/relationships"><Relationship Id="rId2" Type="http://schemas.openxmlformats.org/officeDocument/2006/relationships/chart" Target="../charts/chart366.xml"/><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3" Type="http://schemas.openxmlformats.org/officeDocument/2006/relationships/chart" Target="../charts/chart368.xml"/><Relationship Id="rId2" Type="http://schemas.openxmlformats.org/officeDocument/2006/relationships/chart" Target="../charts/chart367.xml"/><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chart" Target="../charts/chart369.xml"/><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3" Type="http://schemas.openxmlformats.org/officeDocument/2006/relationships/chart" Target="../charts/chart371.xml"/><Relationship Id="rId2" Type="http://schemas.openxmlformats.org/officeDocument/2006/relationships/chart" Target="../charts/chart370.xml"/><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2" Type="http://schemas.openxmlformats.org/officeDocument/2006/relationships/chart" Target="../charts/chart372.xml"/><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3" Type="http://schemas.openxmlformats.org/officeDocument/2006/relationships/chart" Target="../charts/chart374.xml"/><Relationship Id="rId2" Type="http://schemas.openxmlformats.org/officeDocument/2006/relationships/chart" Target="../charts/chart373.xml"/><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2" Type="http://schemas.openxmlformats.org/officeDocument/2006/relationships/chart" Target="../charts/chart375.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3" Type="http://schemas.openxmlformats.org/officeDocument/2006/relationships/chart" Target="../charts/chart377.xml"/><Relationship Id="rId2" Type="http://schemas.openxmlformats.org/officeDocument/2006/relationships/chart" Target="../charts/chart37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2" Type="http://schemas.openxmlformats.org/officeDocument/2006/relationships/chart" Target="../charts/chart378.xml"/><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3" Type="http://schemas.openxmlformats.org/officeDocument/2006/relationships/chart" Target="../charts/chart380.xml"/><Relationship Id="rId2" Type="http://schemas.openxmlformats.org/officeDocument/2006/relationships/chart" Target="../charts/chart379.xml"/><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2" Type="http://schemas.openxmlformats.org/officeDocument/2006/relationships/chart" Target="../charts/chart381.xml"/><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chart" Target="../charts/chart382.xml"/><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3" Type="http://schemas.openxmlformats.org/officeDocument/2006/relationships/chart" Target="../charts/chart384.xml"/><Relationship Id="rId2" Type="http://schemas.openxmlformats.org/officeDocument/2006/relationships/chart" Target="../charts/chart383.xml"/><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chart" Target="../charts/chart385.xml"/><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3" Type="http://schemas.openxmlformats.org/officeDocument/2006/relationships/chart" Target="../charts/chart387.xml"/><Relationship Id="rId2" Type="http://schemas.openxmlformats.org/officeDocument/2006/relationships/chart" Target="../charts/chart386.xml"/><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2" Type="http://schemas.openxmlformats.org/officeDocument/2006/relationships/chart" Target="../charts/chart388.xml"/><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3" Type="http://schemas.openxmlformats.org/officeDocument/2006/relationships/chart" Target="../charts/chart390.xml"/><Relationship Id="rId2" Type="http://schemas.openxmlformats.org/officeDocument/2006/relationships/chart" Target="../charts/chart389.xml"/><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chart" Target="../charts/chart39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3" Type="http://schemas.openxmlformats.org/officeDocument/2006/relationships/chart" Target="../charts/chart393.xml"/><Relationship Id="rId2" Type="http://schemas.openxmlformats.org/officeDocument/2006/relationships/chart" Target="../charts/chart392.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2" Type="http://schemas.openxmlformats.org/officeDocument/2006/relationships/chart" Target="../charts/chart394.xml"/><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chart" Target="../charts/chart395.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3" Type="http://schemas.openxmlformats.org/officeDocument/2006/relationships/chart" Target="../charts/chart397.xml"/><Relationship Id="rId2" Type="http://schemas.openxmlformats.org/officeDocument/2006/relationships/chart" Target="../charts/chart396.xml"/><Relationship Id="rId1" Type="http://schemas.openxmlformats.org/officeDocument/2006/relationships/slideLayout" Target="../slideLayouts/slideLayout7.xml"/></Relationships>
</file>

<file path=ppt/slides/_rels/slide264.xml.rels><?xml version="1.0" encoding="UTF-8" standalone="yes"?>
<Relationships xmlns="http://schemas.openxmlformats.org/package/2006/relationships"><Relationship Id="rId2" Type="http://schemas.openxmlformats.org/officeDocument/2006/relationships/chart" Target="../charts/chart398.xml"/><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3" Type="http://schemas.openxmlformats.org/officeDocument/2006/relationships/chart" Target="../charts/chart400.xml"/><Relationship Id="rId2" Type="http://schemas.openxmlformats.org/officeDocument/2006/relationships/chart" Target="../charts/chart399.xml"/><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chart" Target="../charts/chart401.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3" Type="http://schemas.openxmlformats.org/officeDocument/2006/relationships/chart" Target="../charts/chart403.xml"/><Relationship Id="rId2" Type="http://schemas.openxmlformats.org/officeDocument/2006/relationships/chart" Target="../charts/chart402.xml"/><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2" Type="http://schemas.openxmlformats.org/officeDocument/2006/relationships/chart" Target="../charts/chart404.xml"/><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3" Type="http://schemas.openxmlformats.org/officeDocument/2006/relationships/chart" Target="../charts/chart406.xml"/><Relationship Id="rId2" Type="http://schemas.openxmlformats.org/officeDocument/2006/relationships/chart" Target="../charts/chart40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70.xml.rels><?xml version="1.0" encoding="UTF-8" standalone="yes"?>
<Relationships xmlns="http://schemas.openxmlformats.org/package/2006/relationships"><Relationship Id="rId2" Type="http://schemas.openxmlformats.org/officeDocument/2006/relationships/chart" Target="../charts/chart407.xml"/><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chart" Target="../charts/chart408.xml"/><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3" Type="http://schemas.openxmlformats.org/officeDocument/2006/relationships/chart" Target="../charts/chart410.xml"/><Relationship Id="rId2" Type="http://schemas.openxmlformats.org/officeDocument/2006/relationships/chart" Target="../charts/chart409.xml"/><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chart" Target="../charts/chart411.xml"/><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3" Type="http://schemas.openxmlformats.org/officeDocument/2006/relationships/chart" Target="../charts/chart413.xml"/><Relationship Id="rId2" Type="http://schemas.openxmlformats.org/officeDocument/2006/relationships/chart" Target="../charts/chart412.xml"/><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2" Type="http://schemas.openxmlformats.org/officeDocument/2006/relationships/chart" Target="../charts/chart414.xml"/><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3" Type="http://schemas.openxmlformats.org/officeDocument/2006/relationships/chart" Target="../charts/chart416.xml"/><Relationship Id="rId2" Type="http://schemas.openxmlformats.org/officeDocument/2006/relationships/chart" Target="../charts/chart415.xml"/><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2" Type="http://schemas.openxmlformats.org/officeDocument/2006/relationships/chart" Target="../charts/chart417.xml"/><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3" Type="http://schemas.openxmlformats.org/officeDocument/2006/relationships/chart" Target="../charts/chart419.xml"/><Relationship Id="rId2" Type="http://schemas.openxmlformats.org/officeDocument/2006/relationships/chart" Target="../charts/chart418.xml"/><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2" Type="http://schemas.openxmlformats.org/officeDocument/2006/relationships/chart" Target="../charts/chart4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3" Type="http://schemas.openxmlformats.org/officeDocument/2006/relationships/chart" Target="../charts/chart422.xml"/><Relationship Id="rId2" Type="http://schemas.openxmlformats.org/officeDocument/2006/relationships/chart" Target="../charts/chart421.xml"/><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2" Type="http://schemas.openxmlformats.org/officeDocument/2006/relationships/chart" Target="../charts/chart423.xml"/><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2" Type="http://schemas.openxmlformats.org/officeDocument/2006/relationships/chart" Target="../charts/chart424.xml"/><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3" Type="http://schemas.openxmlformats.org/officeDocument/2006/relationships/chart" Target="../charts/chart426.xml"/><Relationship Id="rId2" Type="http://schemas.openxmlformats.org/officeDocument/2006/relationships/chart" Target="../charts/chart425.xml"/><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2" Type="http://schemas.openxmlformats.org/officeDocument/2006/relationships/chart" Target="../charts/chart427.xml"/><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chart" Target="../charts/chart428.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3" Type="http://schemas.openxmlformats.org/officeDocument/2006/relationships/chart" Target="../charts/chart430.xml"/><Relationship Id="rId2" Type="http://schemas.openxmlformats.org/officeDocument/2006/relationships/chart" Target="../charts/chart429.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2" Type="http://schemas.openxmlformats.org/officeDocument/2006/relationships/chart" Target="../charts/chart431.xml"/><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3" Type="http://schemas.openxmlformats.org/officeDocument/2006/relationships/chart" Target="../charts/chart433.xml"/><Relationship Id="rId2" Type="http://schemas.openxmlformats.org/officeDocument/2006/relationships/chart" Target="../charts/chart432.xml"/><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2" Type="http://schemas.openxmlformats.org/officeDocument/2006/relationships/chart" Target="../charts/chart43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3" Type="http://schemas.openxmlformats.org/officeDocument/2006/relationships/chart" Target="../charts/chart436.xml"/><Relationship Id="rId2" Type="http://schemas.openxmlformats.org/officeDocument/2006/relationships/chart" Target="../charts/chart435.xml"/><Relationship Id="rId1" Type="http://schemas.openxmlformats.org/officeDocument/2006/relationships/slideLayout" Target="../slideLayouts/slideLayout7.xml"/></Relationships>
</file>

<file path=ppt/slides/_rels/slide291.xml.rels><?xml version="1.0" encoding="UTF-8" standalone="yes"?>
<Relationships xmlns="http://schemas.openxmlformats.org/package/2006/relationships"><Relationship Id="rId2" Type="http://schemas.openxmlformats.org/officeDocument/2006/relationships/chart" Target="../charts/chart437.xml"/><Relationship Id="rId1" Type="http://schemas.openxmlformats.org/officeDocument/2006/relationships/slideLayout" Target="../slideLayouts/slideLayout7.xml"/></Relationships>
</file>

<file path=ppt/slides/_rels/slide292.xml.rels><?xml version="1.0" encoding="UTF-8" standalone="yes"?>
<Relationships xmlns="http://schemas.openxmlformats.org/package/2006/relationships"><Relationship Id="rId3" Type="http://schemas.openxmlformats.org/officeDocument/2006/relationships/chart" Target="../charts/chart439.xml"/><Relationship Id="rId2" Type="http://schemas.openxmlformats.org/officeDocument/2006/relationships/chart" Target="../charts/chart438.xml"/><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2" Type="http://schemas.openxmlformats.org/officeDocument/2006/relationships/chart" Target="../charts/chart440.xml"/><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2" Type="http://schemas.openxmlformats.org/officeDocument/2006/relationships/chart" Target="../charts/chart441.xml"/><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3" Type="http://schemas.openxmlformats.org/officeDocument/2006/relationships/chart" Target="../charts/chart443.xml"/><Relationship Id="rId2" Type="http://schemas.openxmlformats.org/officeDocument/2006/relationships/chart" Target="../charts/chart442.xml"/><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2" Type="http://schemas.openxmlformats.org/officeDocument/2006/relationships/chart" Target="../charts/chart444.xml"/><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3" Type="http://schemas.openxmlformats.org/officeDocument/2006/relationships/chart" Target="../charts/chart446.xml"/><Relationship Id="rId2" Type="http://schemas.openxmlformats.org/officeDocument/2006/relationships/chart" Target="../charts/chart445.xml"/><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2" Type="http://schemas.openxmlformats.org/officeDocument/2006/relationships/chart" Target="../charts/chart447.xml"/><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3" Type="http://schemas.openxmlformats.org/officeDocument/2006/relationships/chart" Target="../charts/chart449.xml"/><Relationship Id="rId2" Type="http://schemas.openxmlformats.org/officeDocument/2006/relationships/chart" Target="../charts/chart44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2" Type="http://schemas.openxmlformats.org/officeDocument/2006/relationships/chart" Target="../charts/chart450.xml"/><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3" Type="http://schemas.openxmlformats.org/officeDocument/2006/relationships/chart" Target="../charts/chart452.xml"/><Relationship Id="rId2" Type="http://schemas.openxmlformats.org/officeDocument/2006/relationships/chart" Target="../charts/chart451.xml"/><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2" Type="http://schemas.openxmlformats.org/officeDocument/2006/relationships/chart" Target="../charts/chart453.xml"/><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3" Type="http://schemas.openxmlformats.org/officeDocument/2006/relationships/chart" Target="../charts/chart455.xml"/><Relationship Id="rId2" Type="http://schemas.openxmlformats.org/officeDocument/2006/relationships/chart" Target="../charts/chart454.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104.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09.xml"/><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15.xml"/><Relationship Id="rId2" Type="http://schemas.openxmlformats.org/officeDocument/2006/relationships/chart" Target="../charts/chart114.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chart" Target="../charts/chart129.xml"/><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36.xml"/><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chart" Target="../charts/chart139.xml"/><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chart" Target="../charts/chart142.xml"/><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46.xml"/><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49.xml"/><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53.xml"/><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chart" Target="../charts/chart157.xml"/><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60.xml"/><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64.xml"/><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67.xml"/><Relationship Id="rId2" Type="http://schemas.openxmlformats.org/officeDocument/2006/relationships/chart" Target="../charts/chart16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0C707-98A0-5F18-C17D-47B0C7113103}"/>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081B3FC5-58FF-B1F2-1B58-45213247DC6E}"/>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3FF65C56-5FBC-9CA1-8DC9-3B96CBB158A1}"/>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E005EF3-52CF-9F76-593E-E1B5D314C671}"/>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D1192447-5D0D-BB12-B31A-7E16F375425C}"/>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CE6BE5B1-DEDB-4CBA-B519-7766624AA94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9690EEA4-C70A-DF43-F01E-E0F2DE46834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CC2F8978-0E40-9F9B-204F-B18D1DE9F4D3}"/>
              </a:ext>
            </a:extLst>
          </p:cNvPr>
          <p:cNvSpPr>
            <a:spLocks noGrp="1"/>
          </p:cNvSpPr>
          <p:nvPr>
            <p:ph type="body" sz="quarter" idx="18"/>
          </p:nvPr>
        </p:nvSpPr>
        <p:spPr>
          <a:xfrm>
            <a:off x="503238" y="774000"/>
            <a:ext cx="8136762" cy="360000"/>
          </a:xfrm>
        </p:spPr>
        <p:txBody>
          <a:bodyPr/>
          <a:lstStyle/>
          <a:p>
            <a:pPr>
              <a:defRPr sz="1200"/>
            </a:pPr>
            <a:r>
              <a:t>Based on price change | by Brand | Effervescents | NICOLAS</a:t>
            </a:r>
          </a:p>
        </p:txBody>
      </p:sp>
      <p:sp>
        <p:nvSpPr>
          <p:cNvPr id="3" name="Title 2">
            <a:extLst>
              <a:ext uri="{FF2B5EF4-FFF2-40B4-BE49-F238E27FC236}">
                <a16:creationId xmlns:a16="http://schemas.microsoft.com/office/drawing/2014/main" id="{F5BF6B65-71C1-C126-809A-680A5C331FA5}"/>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C2BE4176-3C90-FDA9-F5F6-13B0FBFA0A7D}"/>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9226D4D0-7DAA-296A-CB0E-2DC2387FF747}"/>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86F0634B-B69C-CF1E-E4B3-7EF5034D6E43}"/>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A4F5EFF9-E8F4-73AA-4536-5E97B9093CC6}"/>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C142EB3C-82C5-0A9B-5CF2-4596294E1071}"/>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760CB4EE-0FAC-90BB-00F8-901406FCA47A}"/>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6FE52027-3566-563A-932F-E83ACD8B39E9}"/>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F65D5B55-B060-60CF-495B-79DCFB3076B7}"/>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B320AED-39A9-480B-A119-BF32D5920ECA}"/>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8778AA5A-C459-48B8-6B5A-CE17D4FCAC01}"/>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9803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3E894-5AF7-CC35-758E-75ACB1DCB18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99BEE17-6805-38EF-DEAB-80026B98769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F9BBF3E-29C9-96F0-C291-32CA44DA467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9D1B0B2-5CA1-2D15-E21A-5A3AAE7D93A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41B7BAD-AE97-AB9E-AE16-CC93E0953AE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C5F37F0-3E7D-E0B8-76B9-D59556D678B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uvet Ladubay (1.5%) | Up &amp; Down Pricing | NICOLAS | Assumes no other are changing prices</a:t>
            </a:r>
          </a:p>
        </p:txBody>
      </p:sp>
      <p:sp>
        <p:nvSpPr>
          <p:cNvPr id="4" name="Title1">
            <a:extLst>
              <a:ext uri="{FF2B5EF4-FFF2-40B4-BE49-F238E27FC236}">
                <a16:creationId xmlns:a16="http://schemas.microsoft.com/office/drawing/2014/main" id="{8DB6B363-3BB1-60A7-7C93-0A33B0CF130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02859F1-2FA0-D953-0B33-3E39F9BAF210}"/>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B662462-9147-8671-1484-7E1A7BC4F31F}"/>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97FD485-E27B-8BFC-AFAD-77CF022FA722}"/>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B7B35A6-EF20-001F-3E0A-83FD7CB902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70305647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9A22C-A606-A3A8-922E-D0081668F70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B751F3A-70D3-9FD2-0E8D-4122F9EBDA6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7E77063-4625-B530-3B79-B3869934A3A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C5BE9C97-F3D0-2853-2707-4FD847B9C77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1500ml | NICOLAS | Assuming no other products are changing prices</a:t>
            </a:r>
          </a:p>
        </p:txBody>
      </p:sp>
      <p:sp>
        <p:nvSpPr>
          <p:cNvPr id="10" name="Title 9">
            <a:extLst>
              <a:ext uri="{FF2B5EF4-FFF2-40B4-BE49-F238E27FC236}">
                <a16:creationId xmlns:a16="http://schemas.microsoft.com/office/drawing/2014/main" id="{1874180F-EEAC-86FA-2F03-1E64FAE10E9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56BC502-21C5-1B2A-783E-384BA2B3D8E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EADD9BF-B7D3-4B0F-CC23-56A9A97C738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B9C208F-57BB-B4AE-E586-BBA7796576B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072D64E-2284-E781-E50B-41BBF0E610C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011B8A3-6B34-3BF6-D4B7-E8037877DDAD}"/>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841D1F6-26F4-DC68-8FE6-38B6B9789DBE}"/>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a:extLst>
              <a:ext uri="{FF2B5EF4-FFF2-40B4-BE49-F238E27FC236}">
                <a16:creationId xmlns:a16="http://schemas.microsoft.com/office/drawing/2014/main" id="{C50D0668-1DE3-DA5D-FABF-8ED1CB34DFEB}"/>
              </a:ext>
            </a:extLst>
          </p:cNvPr>
          <p:cNvSpPr/>
          <p:nvPr/>
        </p:nvSpPr>
        <p:spPr>
          <a:xfrm>
            <a:off x="9720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FA84B648-D38E-38C8-5D9A-D24F68FD4161}"/>
              </a:ext>
            </a:extLst>
          </p:cNvPr>
          <p:cNvSpPr/>
          <p:nvPr/>
        </p:nvSpPr>
        <p:spPr>
          <a:xfrm>
            <a:off x="36284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D98655F3-FD7E-FBD4-D7BB-9AC186F32566}"/>
              </a:ext>
            </a:extLst>
          </p:cNvPr>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27D23D44-1285-33C4-1D10-CDE605FFA93D}"/>
              </a:ext>
            </a:extLst>
          </p:cNvPr>
          <p:cNvSpPr/>
          <p:nvPr/>
        </p:nvSpPr>
        <p:spPr>
          <a:xfrm>
            <a:off x="413712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FDD434C9-BCA7-B212-5F2F-929879851F77}"/>
              </a:ext>
            </a:extLst>
          </p:cNvPr>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385223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469D-1BFA-45DD-3BCD-BC3BB7AD34A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0CB0A3A-532E-746E-856A-865B94DA604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5303EC3-3287-E11A-ACCD-3C01BB045E4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32CF503-D253-47A6-0C3F-2B75A21087C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23672AB-9F18-D2F4-C79D-11A8048E8F0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35AFC2F-F5D9-E633-9671-3AF8E04B083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1500ml (0.2%) | Up &amp; Down Pricing | NICOLAS | Assumes no other are changing prices</a:t>
            </a:r>
          </a:p>
        </p:txBody>
      </p:sp>
      <p:sp>
        <p:nvSpPr>
          <p:cNvPr id="4" name="Title1">
            <a:extLst>
              <a:ext uri="{FF2B5EF4-FFF2-40B4-BE49-F238E27FC236}">
                <a16:creationId xmlns:a16="http://schemas.microsoft.com/office/drawing/2014/main" id="{264EF762-2DC3-852C-5575-5279F94F398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32146D3-4140-3B0D-DDAD-005068C545E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7154365-ADFE-FFF2-9280-14D97734F44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3EC222E-56AB-5292-0C9C-903F517678B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AB4190A-4487-5075-CA7F-E2EDDA21DED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8AB3D9EE-0E91-2D9C-EA00-F55114CF481B}"/>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9850280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77464-B78F-AAEC-D961-FE51CD76812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04BBCAC-107F-7B98-8F6C-9131B31B215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E6353DA-B0E0-DED7-4D6B-5027D605C43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0551837F-C5FC-5BC8-E0A8-24A3BDC31D06}"/>
              </a:ext>
            </a:extLst>
          </p:cNvPr>
          <p:cNvSpPr>
            <a:spLocks noGrp="1"/>
          </p:cNvSpPr>
          <p:nvPr>
            <p:ph type="body" sz="quarter" idx="18"/>
          </p:nvPr>
        </p:nvSpPr>
        <p:spPr>
          <a:xfrm>
            <a:off x="503238" y="774000"/>
            <a:ext cx="8136762" cy="360000"/>
          </a:xfrm>
        </p:spPr>
        <p:txBody>
          <a:bodyPr/>
          <a:lstStyle/>
          <a:p>
            <a:pPr>
              <a:defRPr sz="1200">
                <a:latin typeface="Nexa Bold (Headings)"/>
              </a:defRPr>
            </a:pPr>
            <a:r>
              <a:t>Lallier | Price Elasticity | NICOLAS | Assumes no other products are changing prices</a:t>
            </a:r>
          </a:p>
        </p:txBody>
      </p:sp>
      <p:sp>
        <p:nvSpPr>
          <p:cNvPr id="18" name="Title 17">
            <a:extLst>
              <a:ext uri="{FF2B5EF4-FFF2-40B4-BE49-F238E27FC236}">
                <a16:creationId xmlns:a16="http://schemas.microsoft.com/office/drawing/2014/main" id="{63967C68-B8B2-02C1-DFE6-A126D5693386}"/>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FBF41C1-7134-39EE-DF85-55C0ECABB8DB}"/>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llier Blanc Série R.021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000DC0A-7199-BE81-ECDD-39C7D782706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6F3068C-2597-6568-36F6-9A037E7317A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E8142C5C-34E8-4BF3-D18C-3283772A38F2}"/>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3" name="TextBox Y">
            <a:extLst>
              <a:ext uri="{FF2B5EF4-FFF2-40B4-BE49-F238E27FC236}">
                <a16:creationId xmlns:a16="http://schemas.microsoft.com/office/drawing/2014/main" id="{A6CFD720-A6C5-E5F2-B407-7E3C8DAF8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4835467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C24C0-5B49-E365-D26E-841366C3E7F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3FB69CC-5582-28E7-45C3-7EB5287CD0A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3C5BBA9-FB89-FA91-3929-F56A451AE41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CE8BF6AF-5363-B75A-C436-6A23FCFE0FC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llier Blanc Série R.021 750ml | NICOLAS | Assuming no other products are changing prices</a:t>
            </a:r>
          </a:p>
        </p:txBody>
      </p:sp>
      <p:sp>
        <p:nvSpPr>
          <p:cNvPr id="10" name="Title 9">
            <a:extLst>
              <a:ext uri="{FF2B5EF4-FFF2-40B4-BE49-F238E27FC236}">
                <a16:creationId xmlns:a16="http://schemas.microsoft.com/office/drawing/2014/main" id="{433E116C-CF1B-BD57-D9AB-C476DC4EB2C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4779523-40D5-DF6C-E6A5-0ABFE71F9C2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D01FAEA-F9E7-51BE-DFFF-0EC1713D9ED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0E147A3-440C-C789-F2A3-C52A63C920F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05CC654-A00C-900E-7127-DBBD64E310B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144E879-2E24-A6B8-7914-49CC8B05518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88FB6FD-3139-BC47-D337-324D3C312F3F}"/>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a:extLst>
              <a:ext uri="{FF2B5EF4-FFF2-40B4-BE49-F238E27FC236}">
                <a16:creationId xmlns:a16="http://schemas.microsoft.com/office/drawing/2014/main" id="{2FE50F19-9116-38F0-C33E-2767AF572B16}"/>
              </a:ext>
            </a:extLst>
          </p:cNvPr>
          <p:cNvSpPr/>
          <p:nvPr/>
        </p:nvSpPr>
        <p:spPr>
          <a:xfrm>
            <a:off x="972000" y="1458000"/>
            <a:ext cx="339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98858EE-AE4A-A972-C272-CDED72B36778}"/>
              </a:ext>
            </a:extLst>
          </p:cNvPr>
          <p:cNvSpPr/>
          <p:nvPr/>
        </p:nvSpPr>
        <p:spPr>
          <a:xfrm>
            <a:off x="131112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3A996363-EAAE-F2EF-3B5B-1DEF1EB80E44}"/>
              </a:ext>
            </a:extLst>
          </p:cNvPr>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E7918113-2AB7-ED2C-27C4-4AD7375FBA51}"/>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5000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57E41-0FCE-E582-004A-BD3E1708AD2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DD1BAF9-C5FB-5BFE-4E71-CF94FAE0075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5A1A487-4B39-85B5-8637-E92941D6C82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93E5482-434E-A110-B4AE-F705E95B5F6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E7DE27D-7535-35D1-7607-94044ED0C62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D473B20-8779-56B1-DEF6-9DBD00E50D3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llier Blanc Série R.021 750ml (0.4%) | Up &amp; Down Pricing | NICOLAS | Assumes no other are changing prices</a:t>
            </a:r>
          </a:p>
        </p:txBody>
      </p:sp>
      <p:sp>
        <p:nvSpPr>
          <p:cNvPr id="4" name="Title1">
            <a:extLst>
              <a:ext uri="{FF2B5EF4-FFF2-40B4-BE49-F238E27FC236}">
                <a16:creationId xmlns:a16="http://schemas.microsoft.com/office/drawing/2014/main" id="{2AF2BAE8-6ADD-EED7-5BC3-57A683B8A60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E7FC2F5-19C8-4FC3-0110-B80F2E3159E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F6CFC1-2ED8-907A-3F25-9791AD4A832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D211537-B76D-D64A-136B-DEC5EE38BF7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0A79AE1-1377-0C0B-E280-EEBABD984B2D}"/>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12C62F77-86AC-A3A1-8267-B7FDF5145D29}"/>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157379130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07D4C-DE2A-3CF9-D92B-ABB31A2B3D3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5A1AF98-1A7D-1F73-2A64-90C85D06D93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93017E1-2F4E-FF02-B568-9BEF9E03AE5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4FAAE12-9A6E-1E13-AE6F-56F996D78B52}"/>
              </a:ext>
            </a:extLst>
          </p:cNvPr>
          <p:cNvSpPr>
            <a:spLocks noGrp="1"/>
          </p:cNvSpPr>
          <p:nvPr>
            <p:ph type="body" sz="quarter" idx="18"/>
          </p:nvPr>
        </p:nvSpPr>
        <p:spPr>
          <a:xfrm>
            <a:off x="503238" y="774000"/>
            <a:ext cx="8136762" cy="360000"/>
          </a:xfrm>
        </p:spPr>
        <p:txBody>
          <a:bodyPr/>
          <a:lstStyle/>
          <a:p>
            <a:pPr>
              <a:defRPr sz="1200">
                <a:latin typeface="Nexa Bold (Headings)"/>
              </a:defRPr>
            </a:pPr>
            <a:r>
              <a:t>Deutz | Price Elasticity | NICOLAS | Assumes no other products are changing prices</a:t>
            </a:r>
          </a:p>
        </p:txBody>
      </p:sp>
      <p:sp>
        <p:nvSpPr>
          <p:cNvPr id="18" name="Title 17">
            <a:extLst>
              <a:ext uri="{FF2B5EF4-FFF2-40B4-BE49-F238E27FC236}">
                <a16:creationId xmlns:a16="http://schemas.microsoft.com/office/drawing/2014/main" id="{31BCAFEC-BAEE-0468-3EFC-7A473BB8948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86D5147-BA02-67A2-B7C0-A15E92D25D5D}"/>
              </a:ext>
            </a:extLst>
          </p:cNvPr>
          <p:cNvGraphicFramePr>
            <a:graphicFrameLocks/>
          </p:cNvGraphicFramePr>
          <p:nvPr/>
        </p:nvGraphicFramePr>
        <p:xfrm>
          <a:off x="4579258" y="1141495"/>
          <a:ext cx="4057904" cy="1392331"/>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utz Brut Classiqu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utz Brut Classiqu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Deutz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93BE0A93-7F24-14E3-B9EE-999EDBF946B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D5077B4-BFDC-B17C-6010-F5D1D43C759B}"/>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DAE6EB7D-0E3E-3815-2714-3CCF53930212}"/>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3" name="TextBox Y">
            <a:extLst>
              <a:ext uri="{FF2B5EF4-FFF2-40B4-BE49-F238E27FC236}">
                <a16:creationId xmlns:a16="http://schemas.microsoft.com/office/drawing/2014/main" id="{2DFC703A-8413-C74B-D9A8-6D3C6909AC6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141617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AB331-0F94-A8ED-28A9-33AEB11C882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DD75E64-8B94-63EB-A3E2-7D8E04244D8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763689F-C819-FDBE-D212-401D54CE6EF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C5E211F7-E651-DEA4-5996-910DF9A6AF0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75ml | NICOLAS | Assuming no other products are changing prices</a:t>
            </a:r>
          </a:p>
        </p:txBody>
      </p:sp>
      <p:sp>
        <p:nvSpPr>
          <p:cNvPr id="10" name="Title 9">
            <a:extLst>
              <a:ext uri="{FF2B5EF4-FFF2-40B4-BE49-F238E27FC236}">
                <a16:creationId xmlns:a16="http://schemas.microsoft.com/office/drawing/2014/main" id="{FECD0312-7CE7-1BDF-05DE-DB30020419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4FEF85B-058C-767C-12F3-55E4A55FF67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7090A90-83D3-3C3D-9087-14903EFF462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8D64D99-9452-44C4-9109-C89DB0FB6A1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F329F19-5E4D-8FF0-C09F-91BB7263903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5CD0A56-8B62-4B0F-06FA-BFD2E73DE57B}"/>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3A7D72D-FF31-19D4-20D7-8BBB93A781E5}"/>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a:extLst>
              <a:ext uri="{FF2B5EF4-FFF2-40B4-BE49-F238E27FC236}">
                <a16:creationId xmlns:a16="http://schemas.microsoft.com/office/drawing/2014/main" id="{B45EEABD-DDC9-1844-5EC7-C49288E05955}"/>
              </a:ext>
            </a:extLst>
          </p:cNvPr>
          <p:cNvSpPr/>
          <p:nvPr/>
        </p:nvSpPr>
        <p:spPr>
          <a:xfrm>
            <a:off x="97200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BCC9B85-4847-08A2-1B86-239DDA49FA0E}"/>
              </a:ext>
            </a:extLst>
          </p:cNvPr>
          <p:cNvSpPr/>
          <p:nvPr/>
        </p:nvSpPr>
        <p:spPr>
          <a:xfrm>
            <a:off x="22154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05BEC2B-2BF5-2BA9-AD1A-386A079B98D2}"/>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A8ED6DE9-9514-2FCF-4330-058BB9A2C02F}"/>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932806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2EE6B-574B-95F4-D008-ECA39A7E079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6A61AAF-CE35-D091-1311-7C4DA07C2C1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375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C054DE8-F549-D7E3-0B51-F9EA3CCEF3C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9E615D5-8331-3B10-8091-53042EB97C2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8BE73EF-81F7-3AEF-BBE4-47F3432E4EA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A45D96F-DC74-E00F-E963-C977F59F790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75ml (0.3%) | Up &amp; Down Pricing | NICOLAS | Assumes no other are changing prices</a:t>
            </a:r>
          </a:p>
        </p:txBody>
      </p:sp>
      <p:sp>
        <p:nvSpPr>
          <p:cNvPr id="4" name="Title1">
            <a:extLst>
              <a:ext uri="{FF2B5EF4-FFF2-40B4-BE49-F238E27FC236}">
                <a16:creationId xmlns:a16="http://schemas.microsoft.com/office/drawing/2014/main" id="{5E0DC5F6-24EE-4047-A39C-AA16C01CB3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6338CD5-62AA-26A4-A4CE-5F3A19032A3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5B26277-2106-AEED-F98C-71045040239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A8FA60D-A5CA-A7DA-8656-7724D053D10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00D1BAA-8523-73C6-3E9C-EAAF38B9FBC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43194EC-D0FA-75F6-7ECB-76F99C81CF84}"/>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8946815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C8ED3-C568-E94B-C2AE-2DF2AE81FD0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7625927-67F4-07FD-5677-9A8737B3DFF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7438BC7-2FCA-6BBB-34B0-3842E12B538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C4E3DA9-A067-6756-9ED4-4EC68458BE9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750ml | NICOLAS | Assuming no other products are changing prices</a:t>
            </a:r>
          </a:p>
        </p:txBody>
      </p:sp>
      <p:sp>
        <p:nvSpPr>
          <p:cNvPr id="10" name="Title 9">
            <a:extLst>
              <a:ext uri="{FF2B5EF4-FFF2-40B4-BE49-F238E27FC236}">
                <a16:creationId xmlns:a16="http://schemas.microsoft.com/office/drawing/2014/main" id="{373E9FCE-EEB6-BE7D-DC77-F0892CC8435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33FE7C4-BC13-89CE-C43A-AC199FD6254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115BFCC-F67F-AE59-343C-95194693D0C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0B7829A-E828-ADF9-2FFE-D1E93673EE2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E75F63E-5FAD-0E7A-EE93-2BEE0DA901C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0DC2ADD-4309-A6B6-FFB7-C2DAD929F60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32EC21B-2C20-580A-2E7F-C494E950BC72}"/>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a:extLst>
              <a:ext uri="{FF2B5EF4-FFF2-40B4-BE49-F238E27FC236}">
                <a16:creationId xmlns:a16="http://schemas.microsoft.com/office/drawing/2014/main" id="{24A292B3-7453-6329-93E0-D373CFE7B38E}"/>
              </a:ext>
            </a:extLst>
          </p:cNvPr>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A0F07271-CA6D-E819-47CD-4F03B14FB3E9}"/>
              </a:ext>
            </a:extLst>
          </p:cNvPr>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DD5C0272-94A1-EA59-791D-A3B2E85048C4}"/>
              </a:ext>
            </a:extLst>
          </p:cNvPr>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4757052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876E9-B1BB-B5D1-50CE-D533B8079E6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F2605C5-B862-4B32-F29F-1112F7682F1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6762237-CED2-800C-FA81-FC93AF4E40B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2AC4FB4-D922-FC06-56A0-9A7BFE9653B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B6AB512-8527-9B6D-7D4B-B1BCE60DFF6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3ED7B9F-B2FE-5A8A-B4F2-E82B978BEDE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750ml (3.4%) | Up &amp; Down Pricing | NICOLAS | Assumes no other are changing prices</a:t>
            </a:r>
          </a:p>
        </p:txBody>
      </p:sp>
      <p:sp>
        <p:nvSpPr>
          <p:cNvPr id="4" name="Title1">
            <a:extLst>
              <a:ext uri="{FF2B5EF4-FFF2-40B4-BE49-F238E27FC236}">
                <a16:creationId xmlns:a16="http://schemas.microsoft.com/office/drawing/2014/main" id="{F82E67EF-A4B4-ECB8-25C3-43A4A2F7DA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2B41A80-5E6B-EAF4-9680-B3FDE9F73F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D68E3CF-F736-6911-B37F-87D98032E15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044703B-6D5C-0BC1-9A85-983EDA945F8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6457E2C-838E-1980-B47E-BEB9254798A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31EF4BC-FA94-744D-8C36-DF6C45D57F72}"/>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113256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741B0-0839-D875-7047-197D05E470D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64A1D56-04FE-650C-816B-7859E0BA931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30E59F7-663B-7C4C-A772-52F80BB2BC0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0558C11-3270-597E-CF22-6DA7067700F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95C426C-AD15-F24D-8B84-FE3C3A4ECC0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E79B120-D00A-1D18-C0A2-732833866DC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nard-Duchêne (3.1%) | Up &amp; Down Pricing | NICOLAS | Assumes no other are changing prices</a:t>
            </a:r>
          </a:p>
        </p:txBody>
      </p:sp>
      <p:sp>
        <p:nvSpPr>
          <p:cNvPr id="4" name="Title1">
            <a:extLst>
              <a:ext uri="{FF2B5EF4-FFF2-40B4-BE49-F238E27FC236}">
                <a16:creationId xmlns:a16="http://schemas.microsoft.com/office/drawing/2014/main" id="{6DA49060-4293-F717-48C2-807DFD120B3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FF8872E-CF2B-75B3-93AF-BF2A825C0119}"/>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7346577-CAC3-A3FA-CBB4-9608982ECEF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F9DBDED-79E5-98AD-954F-1AB9F4B1B661}"/>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48F3737D-FA4D-A035-3EC3-280A62CF36A8}"/>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1340292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1A3DB-E93F-EDDC-18D3-0EAEC44C9F6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3737A7B-74FE-40AB-3F6D-FB15C5266F8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C51479D-7033-F22B-8C79-4C45B189CB6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5F8606B-8D00-633C-43E6-92F6F4AEA35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1500ml | NICOLAS | Assuming no other products are changing prices</a:t>
            </a:r>
          </a:p>
        </p:txBody>
      </p:sp>
      <p:sp>
        <p:nvSpPr>
          <p:cNvPr id="10" name="Title 9">
            <a:extLst>
              <a:ext uri="{FF2B5EF4-FFF2-40B4-BE49-F238E27FC236}">
                <a16:creationId xmlns:a16="http://schemas.microsoft.com/office/drawing/2014/main" id="{17618555-6405-6B52-05D2-B72B0E68FC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21A8179-EBF0-5800-9C29-8B0171F49E5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50E4E84-C448-98A2-24DC-F7727A0D970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CF26D30-EABC-B8A2-8D93-EFE5F2F9844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8DB3467-280F-4CC7-6E92-B9C14298FFE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C632A34-9CED-6526-531C-3EBB2D47F23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8395DBE-F438-5853-85BE-7B2B5BBE90B1}"/>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a:extLst>
              <a:ext uri="{FF2B5EF4-FFF2-40B4-BE49-F238E27FC236}">
                <a16:creationId xmlns:a16="http://schemas.microsoft.com/office/drawing/2014/main" id="{DD393981-4152-02BF-D5E3-F25D565583D0}"/>
              </a:ext>
            </a:extLst>
          </p:cNvPr>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B2EEEC8-3C55-1FE9-CBD0-25A32EC863C1}"/>
              </a:ext>
            </a:extLst>
          </p:cNvPr>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1521448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A7ECC-1487-0B17-4545-A29F827E58F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7F0976F-0F13-4D53-BEB7-C42A58F0F95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AAE6EF-E31E-41F0-02F6-DF237254FA1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2BCD0FD-98A3-29F9-4E67-D2522C4367C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7085F17-91C5-70E3-5B4C-FEFB1C5AAA2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6DD3858-A691-D0C6-14D2-8C497154B74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1500ml (0.6%) | Up &amp; Down Pricing | NICOLAS | Assumes no other are changing prices</a:t>
            </a:r>
          </a:p>
        </p:txBody>
      </p:sp>
      <p:sp>
        <p:nvSpPr>
          <p:cNvPr id="4" name="Title1">
            <a:extLst>
              <a:ext uri="{FF2B5EF4-FFF2-40B4-BE49-F238E27FC236}">
                <a16:creationId xmlns:a16="http://schemas.microsoft.com/office/drawing/2014/main" id="{7388F290-FB45-DFE9-7E1E-5D422C99384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AEC746C-E688-1C6D-9CE9-9FD0BD59446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9F2F285-3177-8CCD-4A63-10240F27BCF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97E1E11-39BD-6B06-3CD1-92480483FC3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BE04541-FAB6-85B8-7309-30FBD9F6D99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8383CBF-D1D7-7B0F-F376-2795F4806FC5}"/>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13271683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78791-8957-2997-61BB-6B4C619AD76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6F57777-21C1-6890-3758-47546902E8E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85CF7A4-E724-4564-BEE1-C7982DA8689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099B7B6-2F25-7C89-E144-B8DB64F31BC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Rosé 750ml | NICOLAS | Assuming no other products are changing prices</a:t>
            </a:r>
          </a:p>
        </p:txBody>
      </p:sp>
      <p:sp>
        <p:nvSpPr>
          <p:cNvPr id="10" name="Title 9">
            <a:extLst>
              <a:ext uri="{FF2B5EF4-FFF2-40B4-BE49-F238E27FC236}">
                <a16:creationId xmlns:a16="http://schemas.microsoft.com/office/drawing/2014/main" id="{BA135BA2-CB79-C6D9-CCB6-951F03402E5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DF85B9E-12AF-1E16-3156-4BDCF0CFA19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3F5EAEB-3655-555A-ABAE-C3ADE2F6D5F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E433109-9D5B-4F9C-0E38-27C31D01170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4392E92-C5FB-81CB-8DDE-6A02524AF9E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6FF5081-9CFE-2819-816F-897CEF66CBC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E3ACA73-62AE-968A-AEF7-A1F82F68C1D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a:extLst>
              <a:ext uri="{FF2B5EF4-FFF2-40B4-BE49-F238E27FC236}">
                <a16:creationId xmlns:a16="http://schemas.microsoft.com/office/drawing/2014/main" id="{78E9FC44-5743-F924-0C7F-50D9DE6178E8}"/>
              </a:ext>
            </a:extLst>
          </p:cNvPr>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7912A71-E2C3-8708-9B77-C5B0F3234C3D}"/>
              </a:ext>
            </a:extLst>
          </p:cNvPr>
          <p:cNvSpPr/>
          <p:nvPr/>
        </p:nvSpPr>
        <p:spPr>
          <a:xfrm>
            <a:off x="153720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30977946-5256-2B26-5E8E-4E4F926D00B0}"/>
              </a:ext>
            </a:extLst>
          </p:cNvPr>
          <p:cNvSpPr/>
          <p:nvPr/>
        </p:nvSpPr>
        <p:spPr>
          <a:xfrm>
            <a:off x="283716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38483DA2-3B2D-C703-8A6C-C779B122ECA3}"/>
              </a:ext>
            </a:extLst>
          </p:cNvPr>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BE1E7733-1D5B-0E3D-31C9-5A0C7643736D}"/>
              </a:ext>
            </a:extLst>
          </p:cNvPr>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7" name="Rectangle 26">
            <a:extLst>
              <a:ext uri="{FF2B5EF4-FFF2-40B4-BE49-F238E27FC236}">
                <a16:creationId xmlns:a16="http://schemas.microsoft.com/office/drawing/2014/main" id="{F37F2701-DC05-357B-6223-21365D2FF8B9}"/>
              </a:ext>
            </a:extLst>
          </p:cNvPr>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580735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6CFB5-2C43-45D8-B6A0-1CF2BCC742F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E63D677-BAA6-75D7-B532-2C00DE9D612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E97F595-BA2F-D439-8DC1-5AE188FC1CF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88D1E17-437D-593F-9340-2DF09F4D85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C507613-DFE2-616D-0C02-F2D3FD59146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056D746-5570-4F88-A702-A6A57D163DB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Rosé 750ml (0.5%) | Up &amp; Down Pricing | NICOLAS | Assumes no other are changing prices</a:t>
            </a:r>
          </a:p>
        </p:txBody>
      </p:sp>
      <p:sp>
        <p:nvSpPr>
          <p:cNvPr id="4" name="Title1">
            <a:extLst>
              <a:ext uri="{FF2B5EF4-FFF2-40B4-BE49-F238E27FC236}">
                <a16:creationId xmlns:a16="http://schemas.microsoft.com/office/drawing/2014/main" id="{8A49487D-2E5B-F140-83C6-97020AD5DC5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9FAF616-B4BE-E3BF-9F2F-69968FF1C8C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81E140E-BD15-E925-5C2E-45B059AED86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9FED073-8B88-EA53-E89B-747E6D53C22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EE6563B-33F7-B7BC-E2D8-3EA261B6332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B7A2259-69E0-F696-6F0A-ECE253B3C2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7520019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120A5-4377-FDEA-3020-E40F15E374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1082A6D-7F9E-F536-0209-EAAC1782E32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5FEB575-8CF5-F4A1-1BF5-C24EF2E31E0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CED2E43C-D204-2EB7-6EA1-F700F8A2FE11}"/>
              </a:ext>
            </a:extLst>
          </p:cNvPr>
          <p:cNvSpPr>
            <a:spLocks noGrp="1"/>
          </p:cNvSpPr>
          <p:nvPr>
            <p:ph type="body" sz="quarter" idx="18"/>
          </p:nvPr>
        </p:nvSpPr>
        <p:spPr>
          <a:xfrm>
            <a:off x="503238" y="774000"/>
            <a:ext cx="8136762" cy="360000"/>
          </a:xfrm>
        </p:spPr>
        <p:txBody>
          <a:bodyPr/>
          <a:lstStyle/>
          <a:p>
            <a:pPr>
              <a:defRPr sz="1200">
                <a:latin typeface="Nexa Bold (Headings)"/>
              </a:defRPr>
            </a:pPr>
            <a:r>
              <a:t>Delisted P3M | Price Elasticity | NICOLAS | Assumes no other products are changing prices</a:t>
            </a:r>
          </a:p>
        </p:txBody>
      </p:sp>
      <p:sp>
        <p:nvSpPr>
          <p:cNvPr id="18" name="Title 17">
            <a:extLst>
              <a:ext uri="{FF2B5EF4-FFF2-40B4-BE49-F238E27FC236}">
                <a16:creationId xmlns:a16="http://schemas.microsoft.com/office/drawing/2014/main" id="{25E4868E-9C61-D7C6-563F-BF88EFF0B76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2080E26-25F8-7311-EA56-25A2DB797875}"/>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osset Grande Réserv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020A238-AD98-AF90-BDEA-996151AF65A2}"/>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BA379F4-35BE-F97E-A099-4DF215E9B328}"/>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DD86CEA6-372B-B3E5-22A5-7194D7BC55C5}"/>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3" name="TextBox Y">
            <a:extLst>
              <a:ext uri="{FF2B5EF4-FFF2-40B4-BE49-F238E27FC236}">
                <a16:creationId xmlns:a16="http://schemas.microsoft.com/office/drawing/2014/main" id="{DD0B2FC3-3C9B-348B-92AB-196A93E02ED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064740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2DECA-45C3-23F1-7D90-3F8E965D704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027B1C0-7C4F-EFC4-402F-B8FD82C840B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65E3109-7A0A-79BE-8FA2-FE0CE3118DE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98F5059-5617-1A33-CF26-4E96BC3DE90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osset Grande Réserve 750ml | NICOLAS | Assuming no other products are changing prices</a:t>
            </a:r>
          </a:p>
        </p:txBody>
      </p:sp>
      <p:sp>
        <p:nvSpPr>
          <p:cNvPr id="10" name="Title 9">
            <a:extLst>
              <a:ext uri="{FF2B5EF4-FFF2-40B4-BE49-F238E27FC236}">
                <a16:creationId xmlns:a16="http://schemas.microsoft.com/office/drawing/2014/main" id="{A3D63B5F-52F1-E6AA-0E56-EF0E2A250EA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CDE0AA0-4A84-907B-D121-3380CB444DC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3F85A2D-B738-E951-A6DA-1C892AD3F84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C5E1740-B2AA-B3AB-B776-EC09879C54F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5A0A149-F4F2-0C78-2D72-5AC701FA3CA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73D1A47-D24A-C036-9CBA-6120F53CA2C9}"/>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DDF5A74-3C22-375C-1C4F-5DD43652FA84}"/>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a:extLst>
              <a:ext uri="{FF2B5EF4-FFF2-40B4-BE49-F238E27FC236}">
                <a16:creationId xmlns:a16="http://schemas.microsoft.com/office/drawing/2014/main" id="{B52F2910-4CBD-4F72-4E4A-363A87D7B63D}"/>
              </a:ext>
            </a:extLst>
          </p:cNvPr>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B281A3C-A278-9991-E341-4A1CAEA50605}"/>
              </a:ext>
            </a:extLst>
          </p:cNvPr>
          <p:cNvSpPr/>
          <p:nvPr/>
        </p:nvSpPr>
        <p:spPr>
          <a:xfrm>
            <a:off x="2328480" y="1458000"/>
            <a:ext cx="4295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96351038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1C50D-C238-A995-2DFB-1E5FF492C6D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E3996A9-DB22-550E-5412-29B36E60159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64EDF51-9309-90BA-6450-D7E2B7EE7B0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A059588-E6C1-FB37-114C-2646672CF41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305C4E3-E349-B987-C12A-6CE029DBC74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BBADD72-D662-1EF7-76CC-23ABFF583D6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osset Grande Réserve 750ml (0.0%) | Up &amp; Down Pricing | NICOLAS | Assumes no other are changing prices</a:t>
            </a:r>
          </a:p>
        </p:txBody>
      </p:sp>
      <p:sp>
        <p:nvSpPr>
          <p:cNvPr id="4" name="Title1">
            <a:extLst>
              <a:ext uri="{FF2B5EF4-FFF2-40B4-BE49-F238E27FC236}">
                <a16:creationId xmlns:a16="http://schemas.microsoft.com/office/drawing/2014/main" id="{7C717E7E-1C40-2A87-19C5-125F6DB7239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BB59AB9-71C9-0B4F-68A5-EAF3244E5EF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47E9E1-A53D-E3E3-2D01-C02164BB487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7D91711-522A-35D6-A08D-6FD105B7270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B61176A-40DD-1654-EF72-48FE7F73A3A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E4C0104-D956-5CCB-C0B8-0A0CDF0B16A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90333190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D970B-69FD-6BE2-37A0-4EE9BA040DD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EC6602B-1B45-6C73-CC4E-C85E76EE19D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4A2D2DC-6CFB-A3C2-AB8E-7B88680AD83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3D8C6F0-8DA9-1AAB-4FAD-CB1E4D647BD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1500ml | NICOLAS | Assuming no other products are changing prices</a:t>
            </a:r>
          </a:p>
        </p:txBody>
      </p:sp>
      <p:sp>
        <p:nvSpPr>
          <p:cNvPr id="10" name="Title 9">
            <a:extLst>
              <a:ext uri="{FF2B5EF4-FFF2-40B4-BE49-F238E27FC236}">
                <a16:creationId xmlns:a16="http://schemas.microsoft.com/office/drawing/2014/main" id="{97BC0219-C4D8-11E5-A77D-9405F788333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2BBF237-AF74-0EB4-0A39-83E60547CFF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9473212-3298-C4D0-D3A2-51CCF5DDF4D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6432703-0986-62A4-333A-12CAFAACAF8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8CE99EE-9BCF-CC34-F3C0-D698E221BFC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E7FCF55-261C-6173-99E3-D48E6E60EA8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AF735CB-C37C-8D66-311C-1003CA86E4F3}"/>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a:extLst>
              <a:ext uri="{FF2B5EF4-FFF2-40B4-BE49-F238E27FC236}">
                <a16:creationId xmlns:a16="http://schemas.microsoft.com/office/drawing/2014/main" id="{7A7BB7D2-102C-BB3C-C860-E4BDC4B2E7A9}"/>
              </a:ext>
            </a:extLst>
          </p:cNvPr>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B5DE63C-EEC7-F86B-1F77-4BB2EF600D4E}"/>
              </a:ext>
            </a:extLst>
          </p:cNvPr>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312109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81A4C-9A8D-05D1-CD33-35016CB785C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A66C23F-3428-B31A-50F1-E90EFF236E2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FD7C85C-D206-0A6C-1700-EDF24436881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3D8813B-C5E7-C012-2FC1-8270EE13740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14BE254-3622-98CC-3DE5-193EDA0820B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688E2F8-6437-A9B7-181A-3DEA68F00B6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1500ml (0.0%) | Up &amp; Down Pricing | NICOLAS | Assumes no other are changing prices</a:t>
            </a:r>
          </a:p>
        </p:txBody>
      </p:sp>
      <p:sp>
        <p:nvSpPr>
          <p:cNvPr id="4" name="Title1">
            <a:extLst>
              <a:ext uri="{FF2B5EF4-FFF2-40B4-BE49-F238E27FC236}">
                <a16:creationId xmlns:a16="http://schemas.microsoft.com/office/drawing/2014/main" id="{1A45BB9E-95AD-6EDA-27A3-281953CE807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34DA074-4D9F-18BD-F755-314E4B1B811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5E380EA-FFF3-C033-1831-BB44BF508CC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EFE517E-D2B2-6F87-58AF-E8879BF246C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A3C5E26-FD20-2B6B-2342-89C8D79A392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BD11F0A-5B59-A91D-1017-26ED08853014}"/>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400131393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C36C6-6DF2-42D5-DF92-CF46DCA9AF8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F89A9B4-7FA9-1DEC-7044-931C7B9FC4E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CC6C90E-A5BA-01A4-0C9A-F4FA3861A61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EF02276A-CAA9-2B36-AE92-2A48F829DDFC}"/>
              </a:ext>
            </a:extLst>
          </p:cNvPr>
          <p:cNvSpPr>
            <a:spLocks noGrp="1"/>
          </p:cNvSpPr>
          <p:nvPr>
            <p:ph type="body" sz="quarter" idx="18"/>
          </p:nvPr>
        </p:nvSpPr>
        <p:spPr>
          <a:xfrm>
            <a:off x="503238" y="774000"/>
            <a:ext cx="8136762" cy="360000"/>
          </a:xfrm>
        </p:spPr>
        <p:txBody>
          <a:bodyPr/>
          <a:lstStyle/>
          <a:p>
            <a:pPr>
              <a:defRPr sz="1200">
                <a:latin typeface="Nexa Bold (Headings)"/>
              </a:defRPr>
            </a:pPr>
            <a:r>
              <a:t>Henriot | Price Elasticity | NICOLAS | Assumes no other products are changing prices</a:t>
            </a:r>
          </a:p>
        </p:txBody>
      </p:sp>
      <p:sp>
        <p:nvSpPr>
          <p:cNvPr id="18" name="Title 17">
            <a:extLst>
              <a:ext uri="{FF2B5EF4-FFF2-40B4-BE49-F238E27FC236}">
                <a16:creationId xmlns:a16="http://schemas.microsoft.com/office/drawing/2014/main" id="{83FF706B-AC7B-B723-659B-AC156B3A41F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BC30AD1-2531-0CDA-1AA8-7B6E448FA085}"/>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nriot Brut Souverain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Henriot Brut Souverain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CBCECA2-FA13-C15F-3BB3-7B6E176E5C9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786ABAA-4EBD-C67E-64F9-FF50F3EBEB5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7F801A7C-4404-DDAD-3129-243D898E7E72}"/>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3" name="TextBox Y">
            <a:extLst>
              <a:ext uri="{FF2B5EF4-FFF2-40B4-BE49-F238E27FC236}">
                <a16:creationId xmlns:a16="http://schemas.microsoft.com/office/drawing/2014/main" id="{D9AC1734-BB1C-43DC-462F-47AF9062770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50066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03001-6462-483C-B087-B2BBE3E35A1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C3EE5F8-340E-B69B-C7B6-BA1174E0B116}"/>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3F78EF1-680D-BCAF-D416-09AE37367C8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27B653D-BB60-6933-B5F0-B8B5778E4A0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BAE3399-484D-B280-67C1-78AA09D2EF4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114C4D1-DA9C-43B1-EA2C-D2C4D569A16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lo V (5.4%) | Up &amp; Down Pricing | NICOLAS | Assumes no other are changing prices</a:t>
            </a:r>
          </a:p>
        </p:txBody>
      </p:sp>
      <p:sp>
        <p:nvSpPr>
          <p:cNvPr id="4" name="Title1">
            <a:extLst>
              <a:ext uri="{FF2B5EF4-FFF2-40B4-BE49-F238E27FC236}">
                <a16:creationId xmlns:a16="http://schemas.microsoft.com/office/drawing/2014/main" id="{A6393B0E-E64C-3911-F04F-DC2DC36126F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80FB468-3DF0-7B58-EC14-5AA3AD64473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1DB525C-7CC4-2DAC-1CB0-4668B600E3F5}"/>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C616E48-7E29-7D9A-9C43-851ED145428F}"/>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5AB0EFCC-B230-4CD8-7B2C-0E2799095F4A}"/>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93707750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C29DD-378C-47FF-DE98-EFDFEA3C44F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A6E9671-2FA2-40EE-E7D9-9841944AAC4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D6CC030-4E4C-8E24-8F18-53C5A828EEA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3719843-9163-E03E-0F67-B3B77DF834C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375ml | NICOLAS | Assuming no other products are changing prices</a:t>
            </a:r>
          </a:p>
        </p:txBody>
      </p:sp>
      <p:sp>
        <p:nvSpPr>
          <p:cNvPr id="10" name="Title 9">
            <a:extLst>
              <a:ext uri="{FF2B5EF4-FFF2-40B4-BE49-F238E27FC236}">
                <a16:creationId xmlns:a16="http://schemas.microsoft.com/office/drawing/2014/main" id="{F65A9FAB-0719-019A-2CCB-687BD833D9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EC558B2-5BA6-3A70-BF21-DD5539CE2C8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E959B7E-D21C-543C-24C2-A84DF3D3D3C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12CA62D-F888-36A7-2E89-FD11EAD6D57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A4C07BE-AC55-9B6B-3128-F7005DD39A9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9EDF694-3159-E54E-B8D7-534CD01DC94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7D2ED74-16B1-81D8-CB00-6707D935290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a:extLst>
              <a:ext uri="{FF2B5EF4-FFF2-40B4-BE49-F238E27FC236}">
                <a16:creationId xmlns:a16="http://schemas.microsoft.com/office/drawing/2014/main" id="{7BF9B5AD-AB54-F854-17E7-62EB38963D12}"/>
              </a:ext>
            </a:extLst>
          </p:cNvPr>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A465938-8DEB-A54D-E92B-5F6651CEBB74}"/>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9147755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F58E4-D5BC-2F39-CF22-8464DE75C6E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E2B2344-F2C7-E8BC-972D-7941D60D784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093B6A-0A08-3879-4F55-34A6C951A36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8304A8E-A9A9-4D8E-631D-9915E79B230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0EBFAC0-03E6-0DDD-EA3B-E7D6A072CEB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3FE686A-EFB1-C405-8EB6-E86388A62D8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375ml (0.2%) | Up &amp; Down Pricing | NICOLAS | Assumes no other are changing prices</a:t>
            </a:r>
          </a:p>
        </p:txBody>
      </p:sp>
      <p:sp>
        <p:nvSpPr>
          <p:cNvPr id="4" name="Title1">
            <a:extLst>
              <a:ext uri="{FF2B5EF4-FFF2-40B4-BE49-F238E27FC236}">
                <a16:creationId xmlns:a16="http://schemas.microsoft.com/office/drawing/2014/main" id="{EF0CDFAE-1C5B-B3CC-B9DD-1D2949C2D12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8101BBA-BC2B-F063-ECC2-9DA5B16F650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45D9736-B337-E52E-2FB4-C5F60992144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FC69F94-D10F-2947-EC7E-7AFD2E90DE3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AE3C884-6C74-6EAA-1175-D32F53136B4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B0E4007-6DE3-54CA-C705-768171862A8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99949210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47749-98D5-9017-C9F5-6BA4B3ACBF5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715B87E-FCF7-F72D-D418-799685CBD23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7BD577E-85BF-6F63-9C78-73F3F889B9C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441CFE42-5CB3-5740-B9E1-11E391F2C13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750ml | NICOLAS | Assuming no other products are changing prices</a:t>
            </a:r>
          </a:p>
        </p:txBody>
      </p:sp>
      <p:sp>
        <p:nvSpPr>
          <p:cNvPr id="10" name="Title 9">
            <a:extLst>
              <a:ext uri="{FF2B5EF4-FFF2-40B4-BE49-F238E27FC236}">
                <a16:creationId xmlns:a16="http://schemas.microsoft.com/office/drawing/2014/main" id="{D0632306-F908-960B-639E-D2EA10D7F49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8C11946-7AAF-1BEA-71EE-3E44C7E1429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F43FA71-EF00-B4C5-0E54-B3275F4B4C6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1F804DC-89E3-D6EB-C08B-A96ECB97F1E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6A31FE4-BADC-631C-0A99-C30FD540214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CE0CBE9-C2EF-EE80-CC51-B5DBE72A1E2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442BB1A-F045-CE5C-0132-A67AB9532A6B}"/>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a:extLst>
              <a:ext uri="{FF2B5EF4-FFF2-40B4-BE49-F238E27FC236}">
                <a16:creationId xmlns:a16="http://schemas.microsoft.com/office/drawing/2014/main" id="{121F651C-A3DD-5BDC-5412-BA65444F9ABD}"/>
              </a:ext>
            </a:extLst>
          </p:cNvPr>
          <p:cNvSpPr/>
          <p:nvPr/>
        </p:nvSpPr>
        <p:spPr>
          <a:xfrm>
            <a:off x="972000" y="1458000"/>
            <a:ext cx="25999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5F74E1FA-FDF7-2D5D-8558-BBFBEF318EC6}"/>
              </a:ext>
            </a:extLst>
          </p:cNvPr>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0C2FDD59-E77C-2B3E-1BEE-6713CD55F8DF}"/>
              </a:ext>
            </a:extLst>
          </p:cNvPr>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2186177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AF3A5-2F92-6BD5-955B-FB15C9FA3BA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8ED42FD-3935-3C89-E58E-B5108744D9C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4183E3E-52D8-905E-18CC-C6B61869AA7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609BD2C-FF9E-943A-284A-6CD97AF9CB6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374D5B4-50D1-B5D4-0367-7362247D1F2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C134ED6-2746-A1C9-3FA2-DB93559F332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750ml (0.5%) | Up &amp; Down Pricing | NICOLAS | Assumes no other are changing prices</a:t>
            </a:r>
          </a:p>
        </p:txBody>
      </p:sp>
      <p:sp>
        <p:nvSpPr>
          <p:cNvPr id="4" name="Title1">
            <a:extLst>
              <a:ext uri="{FF2B5EF4-FFF2-40B4-BE49-F238E27FC236}">
                <a16:creationId xmlns:a16="http://schemas.microsoft.com/office/drawing/2014/main" id="{3AD8620C-727E-CAE2-602A-34B09C72024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2360693-917C-3E09-9D5C-BD45259A55B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50611F7-8730-33EF-8CD6-31C1EAD6143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15806FC-A1E3-A5AD-8CBF-0FE048ACDC8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DCE7B01-711C-B812-A9CD-FECDE73CCC3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26CCC9A-5592-F16F-3ED5-DFF2DF038717}"/>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10863386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0CC22-8C1D-963C-056B-13B909B4889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E081C40-ABD7-A259-D1E9-3BDE7D6A176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FBBD773-9047-FCCF-97A5-9F1B14D83E7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477ACAA-8C56-6023-E8B5-F0E7B1C63928}"/>
              </a:ext>
            </a:extLst>
          </p:cNvPr>
          <p:cNvSpPr>
            <a:spLocks noGrp="1"/>
          </p:cNvSpPr>
          <p:nvPr>
            <p:ph type="body" sz="quarter" idx="18"/>
          </p:nvPr>
        </p:nvSpPr>
        <p:spPr>
          <a:xfrm>
            <a:off x="503238" y="774000"/>
            <a:ext cx="8136762" cy="360000"/>
          </a:xfrm>
        </p:spPr>
        <p:txBody>
          <a:bodyPr/>
          <a:lstStyle/>
          <a:p>
            <a:pPr>
              <a:defRPr sz="1200">
                <a:latin typeface="Nexa Bold (Headings)"/>
              </a:defRPr>
            </a:pPr>
            <a:r>
              <a:t>Laurent Perrier | Price Elasticity | NICOLAS | Assumes no other products are changing prices</a:t>
            </a:r>
          </a:p>
        </p:txBody>
      </p:sp>
      <p:sp>
        <p:nvSpPr>
          <p:cNvPr id="18" name="Title 17">
            <a:extLst>
              <a:ext uri="{FF2B5EF4-FFF2-40B4-BE49-F238E27FC236}">
                <a16:creationId xmlns:a16="http://schemas.microsoft.com/office/drawing/2014/main" id="{9A6AE5E7-7424-F528-D6A5-5D4D1036D70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0ECDDB5-CFCC-C9E3-1C42-2F13D28FD4AF}"/>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urent-Perrier Blanc La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Laurent-Perrier Blanc La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Laurent-Perrier Blanc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EB0C4C2-4774-584E-6213-8C7F9CACEDF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CBB4EB4-DD6E-4B36-12A2-058DF0777D76}"/>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0D5AA7FC-C994-2A13-0233-5405A9DE2731}"/>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3" name="TextBox Y">
            <a:extLst>
              <a:ext uri="{FF2B5EF4-FFF2-40B4-BE49-F238E27FC236}">
                <a16:creationId xmlns:a16="http://schemas.microsoft.com/office/drawing/2014/main" id="{136C42FA-1F81-F41B-197C-E4BCA7722B8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2554756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79EAD-2629-33C6-BC22-40456E43B8F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9F70462-141F-1280-61C0-6FDF300F611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7046190-F765-9AF8-31C0-947401E5AE2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B207C55F-7080-85B6-A817-EF0F78BB49C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750ml | NICOLAS | Assuming no other products are changing prices</a:t>
            </a:r>
          </a:p>
        </p:txBody>
      </p:sp>
      <p:sp>
        <p:nvSpPr>
          <p:cNvPr id="10" name="Title 9">
            <a:extLst>
              <a:ext uri="{FF2B5EF4-FFF2-40B4-BE49-F238E27FC236}">
                <a16:creationId xmlns:a16="http://schemas.microsoft.com/office/drawing/2014/main" id="{29207FFF-30DC-17C3-9737-E220433513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82312CB-0960-EB64-0DDA-9F4CCC2E6C8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EF00740-0D5C-1B58-DB3D-9CF5252DA9C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E7F7769-F77F-92CC-07EE-355C8F39579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EDFC090-3FC5-7844-5F66-CDAE8A9DD8C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DF3D99E-B5B1-5684-1EB8-D47A4CEB444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3B2E636-B7A1-56CC-591C-A45A673E4272}"/>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a:extLst>
              <a:ext uri="{FF2B5EF4-FFF2-40B4-BE49-F238E27FC236}">
                <a16:creationId xmlns:a16="http://schemas.microsoft.com/office/drawing/2014/main" id="{DF9751BD-D405-2491-13EB-51D7DF80D695}"/>
              </a:ext>
            </a:extLst>
          </p:cNvPr>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4E839DE-BD4C-F10E-0407-11030FD47E0A}"/>
              </a:ext>
            </a:extLst>
          </p:cNvPr>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0CD55E8-1924-F29A-D489-B4D8D1739585}"/>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D3127670-D9EF-1A4B-D355-698FA09FA8DB}"/>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0063947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B0B48-838C-7EA3-B299-12E1D4A7520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F5ACB4F-01D5-9F59-C777-BF6F29C4D7E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41009C3-7DFE-C696-565F-6BAB8F9D6C6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53F4127-B2CA-848C-E5CC-072A4DDB64A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C1127EC-04E2-16D1-6B1B-B14118170DC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656592B-F3D5-D7B4-2B5F-8F3BA195735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750ml (2.7%) | Up &amp; Down Pricing | NICOLAS | Assumes no other are changing prices</a:t>
            </a:r>
          </a:p>
        </p:txBody>
      </p:sp>
      <p:sp>
        <p:nvSpPr>
          <p:cNvPr id="4" name="Title1">
            <a:extLst>
              <a:ext uri="{FF2B5EF4-FFF2-40B4-BE49-F238E27FC236}">
                <a16:creationId xmlns:a16="http://schemas.microsoft.com/office/drawing/2014/main" id="{C1340AF0-7680-CE80-96CE-828245DCC3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FFCB2E9-AA3C-F97C-1BAA-EBC86E37E9F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BFC36C0-33BB-F74A-C980-B4AFB384EE2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08A5ABE-029C-E5CE-0176-FBDAB986B69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5030FE-2CE5-2EE1-D251-B333E08C49F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F12E104-30C6-6982-DF97-7AB94FF26EF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273955261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E4015-EDBA-DD77-6799-E5A3A3534A3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0EFBE63-DE60-9A36-9AB7-973E8DDE85D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46B2D66-7CBF-6C30-B7FA-1594FF1D6DA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B0F93DF-4942-CE63-564E-AC30F6D5022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1500ml | NICOLAS | Assuming no other products are changing prices</a:t>
            </a:r>
          </a:p>
        </p:txBody>
      </p:sp>
      <p:sp>
        <p:nvSpPr>
          <p:cNvPr id="10" name="Title 9">
            <a:extLst>
              <a:ext uri="{FF2B5EF4-FFF2-40B4-BE49-F238E27FC236}">
                <a16:creationId xmlns:a16="http://schemas.microsoft.com/office/drawing/2014/main" id="{29D533F2-EE6A-4B1A-39C8-672ACA9C0EC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F7CCE8F-B45D-F091-588A-5C6FABDDD28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9E96DB0-4CC1-2E91-8C41-05D0A80AE31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26AE983-DE45-9572-137D-E04C9EF00CF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FB6956B-5A8D-1226-707B-B0258356F06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0DBB22-AED8-9832-3ED0-D2B0D3061C6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BA5AE24-F168-88DF-40AD-0EB15433EF01}"/>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a:extLst>
              <a:ext uri="{FF2B5EF4-FFF2-40B4-BE49-F238E27FC236}">
                <a16:creationId xmlns:a16="http://schemas.microsoft.com/office/drawing/2014/main" id="{5202E8F1-F4D6-B460-B40D-E8A0B68C93FF}"/>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9932564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C3DF1-EB8C-D0F5-A252-F332ECC9274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D2BC11E-F284-3396-AB16-7491B0FAC40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F77366C-E4A6-E6B3-95BA-365CF8B1B5F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4F57A21-68B7-270C-0F99-414EB743D7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C1F6D56-F90B-6458-D821-CB42CEFE461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B283284-265D-8490-4D30-22A26CD97C0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1500ml (0.8%) | Up &amp; Down Pricing | NICOLAS | Assumes no other are changing prices</a:t>
            </a:r>
          </a:p>
        </p:txBody>
      </p:sp>
      <p:sp>
        <p:nvSpPr>
          <p:cNvPr id="4" name="Title1">
            <a:extLst>
              <a:ext uri="{FF2B5EF4-FFF2-40B4-BE49-F238E27FC236}">
                <a16:creationId xmlns:a16="http://schemas.microsoft.com/office/drawing/2014/main" id="{2BDBF20C-DA0B-A90C-BF0F-2236A30E14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BA2C62A-795F-ADD4-5615-E1D21A3B396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B279CAD-682E-62AB-F719-6C6940015F4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1CC0144-66B0-2D3C-08DD-49186CB73F6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3DC035C-62C7-14AD-E806-1C549062CBCD}"/>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F8432E54-9315-4D3B-24F6-CFEAB15F79F5}"/>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88003155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C3DE8-EE59-1CC6-82C6-55CDB6597BE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44C3911-C507-0944-6E9F-D6CE98266E0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A14A533-3EC6-D28C-36F8-E2FB0EA30D9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B32D95A-9012-6D5C-89B7-EC6EE9A8177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Rosé 750ml | NICOLAS | Assuming no other products are changing prices</a:t>
            </a:r>
          </a:p>
        </p:txBody>
      </p:sp>
      <p:sp>
        <p:nvSpPr>
          <p:cNvPr id="10" name="Title 9">
            <a:extLst>
              <a:ext uri="{FF2B5EF4-FFF2-40B4-BE49-F238E27FC236}">
                <a16:creationId xmlns:a16="http://schemas.microsoft.com/office/drawing/2014/main" id="{8D2AD957-2874-3510-41E0-0BB98F50DE2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B947F47-4DFC-855B-6C3B-4F86AC9F359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E2B16AA-51D7-EDC2-CC5D-69344AD7068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A35EDCE-CFB5-939C-AC41-A5E84144C67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5F5F169-78CF-BB8C-F700-74ABF4FDD6D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54DA83A-CAF5-90DD-147C-4C0BFB9CDF1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AF0E826-DF44-997C-2448-D4ACF33C9F68}"/>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a:extLst>
              <a:ext uri="{FF2B5EF4-FFF2-40B4-BE49-F238E27FC236}">
                <a16:creationId xmlns:a16="http://schemas.microsoft.com/office/drawing/2014/main" id="{09052D59-BCB6-5FFB-12CF-96A5E1519B03}"/>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4126994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51AF9-CDB7-3FED-46DB-E791C00F8CC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936D1F4-9CE6-D255-7372-C3DE6B6AE87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52298EE-9434-FEB8-1483-99A23945CF1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A22D4A5-EE18-5ECE-259E-69B1C1D3C98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234887D-67BA-D332-792B-57850C9ABAF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95C14E3-ADE6-D6F9-13D2-F4F024C38CB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hâteau Moncontour  (1.5%) | Up &amp; Down Pricing | NICOLAS | Assumes no other are changing prices</a:t>
            </a:r>
          </a:p>
        </p:txBody>
      </p:sp>
      <p:sp>
        <p:nvSpPr>
          <p:cNvPr id="4" name="Title1">
            <a:extLst>
              <a:ext uri="{FF2B5EF4-FFF2-40B4-BE49-F238E27FC236}">
                <a16:creationId xmlns:a16="http://schemas.microsoft.com/office/drawing/2014/main" id="{67ECC909-8147-E3BE-30D3-57BBB45C711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E329690-F82F-6735-8002-52CCB68A1C6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9461BF1-9EBB-3912-ACB9-232B34530D5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77B852C-5B85-1B0A-2E40-F62224F7698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047CCD2-88B2-1F19-D4D5-1FBE230F1DCE}"/>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59471261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D130E-BF76-DA1B-D50A-6F840B99EC2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44414D4-90A8-3C40-7D5B-0841995AFC1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500C43E-2B2E-80D3-8590-0AD2B76B3FB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8F510B7-B938-C485-C8DE-1439B9294DC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A964193-A597-4D87-1008-9FF87666305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BA2FFCF-8E63-46B7-2BE2-D480CDFD254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Rosé 750ml (0.3%) | Up &amp; Down Pricing | NICOLAS | Assumes no other are changing prices</a:t>
            </a:r>
          </a:p>
        </p:txBody>
      </p:sp>
      <p:sp>
        <p:nvSpPr>
          <p:cNvPr id="4" name="Title1">
            <a:extLst>
              <a:ext uri="{FF2B5EF4-FFF2-40B4-BE49-F238E27FC236}">
                <a16:creationId xmlns:a16="http://schemas.microsoft.com/office/drawing/2014/main" id="{5203E5B0-825A-DBB7-D9A7-E69AFE712AC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BFA1FFA-6494-6730-8BA6-EF36193AE67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907EB19-C03E-5CE0-798B-212FA486144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C50EEEC-B3F1-F9DE-5B55-6990E44E381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B86FD44-97B8-7447-8E38-890234661084}"/>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697B5A64-14E7-C415-110B-9402A29D7C1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30538671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4817-7E19-47BF-482C-C82148D6397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28297C4-15FF-A53C-3494-5AF85054DB1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6C048A5-4B89-5C87-1B3D-53F999A2D6F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F59A13E5-FB16-7A0C-DF83-727780820529}"/>
              </a:ext>
            </a:extLst>
          </p:cNvPr>
          <p:cNvSpPr>
            <a:spLocks noGrp="1"/>
          </p:cNvSpPr>
          <p:nvPr>
            <p:ph type="body" sz="quarter" idx="18"/>
          </p:nvPr>
        </p:nvSpPr>
        <p:spPr>
          <a:xfrm>
            <a:off x="503238" y="774000"/>
            <a:ext cx="8136762" cy="360000"/>
          </a:xfrm>
        </p:spPr>
        <p:txBody>
          <a:bodyPr/>
          <a:lstStyle/>
          <a:p>
            <a:pPr>
              <a:defRPr sz="1200">
                <a:latin typeface="Nexa Bold (Headings)"/>
              </a:defRPr>
            </a:pPr>
            <a:r>
              <a:t>Lefèvre | Price Elasticity | NICOLAS | Assumes no other products are changing prices</a:t>
            </a:r>
          </a:p>
        </p:txBody>
      </p:sp>
      <p:sp>
        <p:nvSpPr>
          <p:cNvPr id="18" name="Title 17">
            <a:extLst>
              <a:ext uri="{FF2B5EF4-FFF2-40B4-BE49-F238E27FC236}">
                <a16:creationId xmlns:a16="http://schemas.microsoft.com/office/drawing/2014/main" id="{2CDD12BB-277C-0123-3C5E-553A7909E00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22FB581-23EF-0ECA-C23F-5736A6BF0171}"/>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ristophe Lefèvre Cuvée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35747F8-3F1F-8632-4570-6ABAED73D51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8D6A9B9-3C7E-6E47-638A-F779198A048F}"/>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588450B-47F6-A83B-64CB-F4B6D1CA0033}"/>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3" name="TextBox Y">
            <a:extLst>
              <a:ext uri="{FF2B5EF4-FFF2-40B4-BE49-F238E27FC236}">
                <a16:creationId xmlns:a16="http://schemas.microsoft.com/office/drawing/2014/main" id="{94146BCF-19A4-57FE-4931-81EC7C817B2A}"/>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271213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114B6-5DA2-5305-9B96-727D2BE66D8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06016DC-8A10-446B-877C-88472F64D7E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0C34FB9-C514-549C-1E71-EC06B96B9B1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548B27B-5034-F85A-0D52-438FA733170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ristophe Lefèvre Cuvée Prestige 750ml | NICOLAS | Assuming no other products are changing prices</a:t>
            </a:r>
          </a:p>
        </p:txBody>
      </p:sp>
      <p:sp>
        <p:nvSpPr>
          <p:cNvPr id="10" name="Title 9">
            <a:extLst>
              <a:ext uri="{FF2B5EF4-FFF2-40B4-BE49-F238E27FC236}">
                <a16:creationId xmlns:a16="http://schemas.microsoft.com/office/drawing/2014/main" id="{866CD150-7FE4-81AB-6AA5-A0722A3DF3E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2374C32-86A7-2F8E-2070-83AC47A452A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0AF53C5-5193-E72B-0C1E-FFF737CB8CF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73B975F-103A-1FA1-7C5D-4877202F736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389776C-DEE7-7661-FD2B-850AEEC9DB9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6E00207-FDCD-98A8-5E0B-98C2E8BB65B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B13B1DE-B736-D341-35E7-CD9E0D6B2218}"/>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a:extLst>
              <a:ext uri="{FF2B5EF4-FFF2-40B4-BE49-F238E27FC236}">
                <a16:creationId xmlns:a16="http://schemas.microsoft.com/office/drawing/2014/main" id="{7F3FBC52-9A02-7BE5-27FB-22D40C6E29E9}"/>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C8993FF-A3F0-E96F-97EA-C65771B1AF88}"/>
              </a:ext>
            </a:extLst>
          </p:cNvPr>
          <p:cNvSpPr/>
          <p:nvPr/>
        </p:nvSpPr>
        <p:spPr>
          <a:xfrm>
            <a:off x="176328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B900FE1D-D3E1-EF0F-AA81-A82DC1C80E34}"/>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CBC74C7A-596A-29F3-2484-90D3FCBC5C8C}"/>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5215148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FAB6C-1E78-C27B-7762-E02E56B1AEF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4544756-63F8-C31F-B7F5-6E588DAD59B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CCA77C7-C62A-08A9-87C5-013293268D8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B0AEDC3-670C-11D7-E587-D49B5B0F14D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6F864D9-EA54-D134-677E-FAE0CF873E0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32A75A2-01F6-D8B7-EF33-B6E389DA30D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ristophe Lefèvre Cuvée Prestige 750ml (0.4%) | Up &amp; Down Pricing | NICOLAS | Assumes no other are changing prices</a:t>
            </a:r>
          </a:p>
        </p:txBody>
      </p:sp>
      <p:sp>
        <p:nvSpPr>
          <p:cNvPr id="4" name="Title1">
            <a:extLst>
              <a:ext uri="{FF2B5EF4-FFF2-40B4-BE49-F238E27FC236}">
                <a16:creationId xmlns:a16="http://schemas.microsoft.com/office/drawing/2014/main" id="{DC7C5F01-5043-C924-FB60-51DFB640E2D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FFBCEEF-0B30-555F-0E57-D433C20A7BF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474A01-39D3-E087-B357-6661724B76B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D690000-8C72-409B-6B49-7C71D7B3E43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24E191F-F785-894D-EF93-6753920276E8}"/>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86C1D69-4DBA-0DC0-DAB2-423C02290E4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235391644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F53F1-9E27-70BD-164A-8705248E31F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6C293B1-66DA-DE60-87A2-5DC01A3FB1C1}"/>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2F3BF90-8C76-8A49-6035-C236991B90C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F7D9B256-5087-5EA8-F2F7-6D0D9FEA26CA}"/>
              </a:ext>
            </a:extLst>
          </p:cNvPr>
          <p:cNvSpPr>
            <a:spLocks noGrp="1"/>
          </p:cNvSpPr>
          <p:nvPr>
            <p:ph type="body" sz="quarter" idx="18"/>
          </p:nvPr>
        </p:nvSpPr>
        <p:spPr>
          <a:xfrm>
            <a:off x="503238" y="774000"/>
            <a:ext cx="8136762" cy="360000"/>
          </a:xfrm>
        </p:spPr>
        <p:txBody>
          <a:bodyPr/>
          <a:lstStyle/>
          <a:p>
            <a:pPr>
              <a:defRPr sz="1200">
                <a:latin typeface="Nexa Bold (Headings)"/>
              </a:defRPr>
            </a:pPr>
            <a:r>
              <a:t>Malard | Price Elasticity | NICOLAS | Assumes no other products are changing prices</a:t>
            </a:r>
          </a:p>
        </p:txBody>
      </p:sp>
      <p:sp>
        <p:nvSpPr>
          <p:cNvPr id="18" name="Title 17">
            <a:extLst>
              <a:ext uri="{FF2B5EF4-FFF2-40B4-BE49-F238E27FC236}">
                <a16:creationId xmlns:a16="http://schemas.microsoft.com/office/drawing/2014/main" id="{D36E5715-BA36-00F1-0EE7-EC625F18802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E5D0876D-C468-A469-5F6D-9779FD03B04E}"/>
              </a:ext>
            </a:extLst>
          </p:cNvPr>
          <p:cNvGraphicFramePr>
            <a:graphicFrameLocks/>
          </p:cNvGraphicFramePr>
          <p:nvPr/>
        </p:nvGraphicFramePr>
        <p:xfrm>
          <a:off x="4579258" y="1141495"/>
          <a:ext cx="4057904" cy="153641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alard Brut Millésime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Grand Cru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Malard Grand Cru Blanc de Noir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Malard 1er Cru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ED1DDE7-A872-7FA1-CC47-474D0BB6B122}"/>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2CA7C33-5951-CFF6-56C4-A0C060112AF7}"/>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8A2C320D-E58F-02DC-78D4-64EA9EC92870}"/>
              </a:ext>
            </a:extLst>
          </p:cNvPr>
          <p:cNvSpPr>
            <a:spLocks noGrp="1"/>
          </p:cNvSpPr>
          <p:nvPr>
            <p:ph type="sldNum" sz="quarter" idx="16"/>
          </p:nvPr>
        </p:nvSpPr>
        <p:spPr/>
        <p:txBody>
          <a:bodyPr/>
          <a:lstStyle/>
          <a:p>
            <a:fld id="{7B1F438D-4EAF-094E-9162-80CF3EF77236}" type="slidenum">
              <a:rPr lang="en-US" smtClean="0"/>
              <a:pPr/>
              <a:t>134</a:t>
            </a:fld>
            <a:endParaRPr lang="en-US"/>
          </a:p>
        </p:txBody>
      </p:sp>
      <p:sp>
        <p:nvSpPr>
          <p:cNvPr id="3" name="TextBox Y">
            <a:extLst>
              <a:ext uri="{FF2B5EF4-FFF2-40B4-BE49-F238E27FC236}">
                <a16:creationId xmlns:a16="http://schemas.microsoft.com/office/drawing/2014/main" id="{3A85D3DA-C502-B91C-CF76-D35132F4DD3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7708522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E58C4-6443-6D72-352C-6054351A5DF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974C7F5-23B2-7886-CCEE-79733D5D56D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1E43685-E70C-7729-4010-81F0C59DC3C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4675EA4-33D2-6ECA-A0AF-FBE1F6DF78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Millésime 2015 750ml | NICOLAS | Assuming no other products are changing prices</a:t>
            </a:r>
          </a:p>
        </p:txBody>
      </p:sp>
      <p:sp>
        <p:nvSpPr>
          <p:cNvPr id="10" name="Title 9">
            <a:extLst>
              <a:ext uri="{FF2B5EF4-FFF2-40B4-BE49-F238E27FC236}">
                <a16:creationId xmlns:a16="http://schemas.microsoft.com/office/drawing/2014/main" id="{1B235807-73F4-2E98-0D28-4C168FD90C5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7F3CF5A-5866-4401-301A-D20776FBB59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9DD840B-AA62-4877-CCEA-8A35C454364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1CB7AB2-D8AB-A2F8-C52E-8751B8A172D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E085811-1370-970D-B554-9E00AECF811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3EB7932-1846-7F2B-9025-C9B36685B982}"/>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16D8CB0-1CF4-281C-A68D-052D1072AC44}"/>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a:extLst>
              <a:ext uri="{FF2B5EF4-FFF2-40B4-BE49-F238E27FC236}">
                <a16:creationId xmlns:a16="http://schemas.microsoft.com/office/drawing/2014/main" id="{327BCDA3-AE0E-7F65-8049-DDFDDDEA635B}"/>
              </a:ext>
            </a:extLst>
          </p:cNvPr>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26C8ADA-DCC8-DA69-7CAE-C0BB4790BD24}"/>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794435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B1D364-9AF5-249C-0545-E1920EC256F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188B9CE-9CBA-6A14-F7C4-9912D5802B0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474F7CD-33B3-9CDF-2831-059A6370F54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189ED54-2CFE-5E64-9582-59649B63500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B871353-9F9F-EB2B-12C3-C0752409111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737048D-060A-C060-536E-178B2937C4F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Millésime 2015 750ml (0.3%) | Up &amp; Down Pricing | NICOLAS | Assumes no other are changing prices</a:t>
            </a:r>
          </a:p>
        </p:txBody>
      </p:sp>
      <p:sp>
        <p:nvSpPr>
          <p:cNvPr id="4" name="Title1">
            <a:extLst>
              <a:ext uri="{FF2B5EF4-FFF2-40B4-BE49-F238E27FC236}">
                <a16:creationId xmlns:a16="http://schemas.microsoft.com/office/drawing/2014/main" id="{A08BF9FB-F6C3-AF54-2B22-6DC9F26907A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AF5C66E-4418-A53E-08E0-DAC44FB5B46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5C3EAD3-E4CE-AAA6-C9C8-8150F20E712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FA31C5B-3532-1F00-CF06-4A9301AA6FA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519A470-561F-B7BD-492F-13E349C654C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3367D43-9DCF-0740-E2DE-2F9490C3FF72}"/>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58943617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AC0D4-FF75-2676-6F90-160BA0444CF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AB4BDFB-AB49-313F-3CA5-95C9EE18043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52B6A53-4B56-D160-7B02-7EE5FF90E6B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CC91555-932D-329D-177E-E2A5871947F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Blancs 750ml | NICOLAS | Assuming no other products are changing prices</a:t>
            </a:r>
          </a:p>
        </p:txBody>
      </p:sp>
      <p:sp>
        <p:nvSpPr>
          <p:cNvPr id="10" name="Title 9">
            <a:extLst>
              <a:ext uri="{FF2B5EF4-FFF2-40B4-BE49-F238E27FC236}">
                <a16:creationId xmlns:a16="http://schemas.microsoft.com/office/drawing/2014/main" id="{C00C031F-6345-43CA-89B8-4F6EC2089C8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4E3859F-4A4E-BFBE-1151-33BBF3454FB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F442115-D7AE-47E2-48C9-AABA9E52076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898477-7944-0B6B-E63D-8EFE6372361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19E23A8-8984-2DEA-0A67-45BB6908866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4D02905-2BC5-0BD2-6FE7-EF6BF83AC2D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BA29037-3A6A-312A-A680-881500207F45}"/>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a:extLst>
              <a:ext uri="{FF2B5EF4-FFF2-40B4-BE49-F238E27FC236}">
                <a16:creationId xmlns:a16="http://schemas.microsoft.com/office/drawing/2014/main" id="{8A15FFE1-2107-382E-3A92-BB9A9B231728}"/>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878A24E-BA1B-4903-4477-4446A3A74DBA}"/>
              </a:ext>
            </a:extLst>
          </p:cNvPr>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D4ACDB88-ECB3-C082-27DC-97471CD53484}"/>
              </a:ext>
            </a:extLst>
          </p:cNvPr>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AB6085B7-CC71-F681-44B6-34A53A608650}"/>
              </a:ext>
            </a:extLst>
          </p:cNvPr>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260932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3E4FB-D4AE-3439-D3FE-94F218A1F1D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AC17DBF-56E0-3E4D-0913-E990ED4698E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643D976-0F28-68BE-6721-7C9C0FF8B61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DFEF8C3-CD81-44ED-8E8E-128DCECED58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7EBBA6C-B84F-C3DC-4CC4-5544D8B2B15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E3F76DA-233B-2243-DE05-966B98CF7C6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Blancs 750ml (0.8%) | Up &amp; Down Pricing | NICOLAS | Assumes no other are changing prices</a:t>
            </a:r>
          </a:p>
        </p:txBody>
      </p:sp>
      <p:sp>
        <p:nvSpPr>
          <p:cNvPr id="4" name="Title1">
            <a:extLst>
              <a:ext uri="{FF2B5EF4-FFF2-40B4-BE49-F238E27FC236}">
                <a16:creationId xmlns:a16="http://schemas.microsoft.com/office/drawing/2014/main" id="{6515784C-F8BF-1481-5AE1-8A2B2CB061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1B514FA-27DC-3915-CE99-7BF3202C077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FFF3B6F-1FF7-637C-5597-A347730FC8B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966D68F-1ABC-EADE-428F-0E9BB83EE67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27DDDA3-67CB-DDFD-6D50-6C58ED5226F8}"/>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DA9BE7D-D908-44B0-709B-249D5CAFBE21}"/>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21885815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59063-03A3-9649-C770-D0E7A3B9029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BCB66BA-D2BD-977D-5126-7E6CE505D46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A6A4933-C7CA-E00C-F995-F6A818E7408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AFE2566-0B80-DBA4-FEB2-2A6F69A66B6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Noirs 750ml | NICOLAS | Assuming no other products are changing prices</a:t>
            </a:r>
          </a:p>
        </p:txBody>
      </p:sp>
      <p:sp>
        <p:nvSpPr>
          <p:cNvPr id="10" name="Title 9">
            <a:extLst>
              <a:ext uri="{FF2B5EF4-FFF2-40B4-BE49-F238E27FC236}">
                <a16:creationId xmlns:a16="http://schemas.microsoft.com/office/drawing/2014/main" id="{C05CEF52-29AF-B70F-7B9F-6D6EC5A5BC5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DFA64BC-B87E-C02F-F7F0-2CA882965EE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49C8FE5-FE8B-9DB7-FFBB-34AA4E86716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FE3A917-F331-6E85-9154-3F5CE8FF3E2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F6D36FF-E242-2EE2-4942-B8BE0A07496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77D0398-5C98-698F-D695-D4E3FA36AFD4}"/>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720E1B14-403C-33D1-B031-DBCD3ED07A3A}"/>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22" name="Rectangle 21">
            <a:extLst>
              <a:ext uri="{FF2B5EF4-FFF2-40B4-BE49-F238E27FC236}">
                <a16:creationId xmlns:a16="http://schemas.microsoft.com/office/drawing/2014/main" id="{5D421F00-9524-1A6C-CBCF-EE6416290222}"/>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DE2708A-B1CF-B3A2-391D-BAE85E05F0A1}"/>
              </a:ext>
            </a:extLst>
          </p:cNvPr>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98399FCB-0829-1AB6-AC4D-277802E1E7A3}"/>
              </a:ext>
            </a:extLst>
          </p:cNvPr>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7F0EE30C-7A6E-160A-4606-A672AB1DE2C8}"/>
              </a:ext>
            </a:extLst>
          </p:cNvPr>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60099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9E849-7DA9-DDD6-F35B-91265003CA3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15E2717-52D6-3424-9DC2-BA456D1B28B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5CCF912-D57D-2E51-6095-015ABA3108F9}"/>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24882E0-4576-39ED-B022-F47A92B30D8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742209E-835B-9370-ED80-3D6C63BFA6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BAC81585-B302-635D-B1B5-F91006689FC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ontarini (0.2%) | Up &amp; Down Pricing | NICOLAS | Assumes no other are changing prices</a:t>
            </a:r>
          </a:p>
        </p:txBody>
      </p:sp>
      <p:sp>
        <p:nvSpPr>
          <p:cNvPr id="4" name="Title1">
            <a:extLst>
              <a:ext uri="{FF2B5EF4-FFF2-40B4-BE49-F238E27FC236}">
                <a16:creationId xmlns:a16="http://schemas.microsoft.com/office/drawing/2014/main" id="{A2FB670A-CF1C-EA68-CEA3-A04C386448C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209E309-3D20-5D66-72B1-599C2227BF4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C0AA620-E16A-D8A3-70C8-4EFC77D5684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613E74E-74D8-C27D-23C4-13B589C1E7E7}"/>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C8FA25A-8B50-4BEE-530B-2AE9593BCB1D}"/>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71803703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A6E2F-C9AE-CF80-CBAF-E19D35BAAAA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20C20DB-D059-9ECB-05E3-F43AD3A096F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4E4F840-0917-7559-0DB3-EB551212200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4CE4591-E3AB-C2E9-C715-3D67855F07F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C111900-2917-8285-2134-A1267C0609C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1115E11-9BF9-FA61-EA8E-3CABED0ECFC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Noirs 750ml (0.5%) | Up &amp; Down Pricing | NICOLAS | Assumes no other are changing prices</a:t>
            </a:r>
          </a:p>
        </p:txBody>
      </p:sp>
      <p:sp>
        <p:nvSpPr>
          <p:cNvPr id="4" name="Title1">
            <a:extLst>
              <a:ext uri="{FF2B5EF4-FFF2-40B4-BE49-F238E27FC236}">
                <a16:creationId xmlns:a16="http://schemas.microsoft.com/office/drawing/2014/main" id="{6B163F9C-E682-C489-158F-6E1642C696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8ADC933-DBC6-BA0F-795E-3F4E2EB4D57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64F1D35-C83A-0469-462E-CE1E18E1507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C866602-4CC0-92B0-408B-18E7141E3C6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2F75A86-3A5B-C8CF-1163-DD6E90CD848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44EB5A0-5B53-288A-D2FC-666881081785}"/>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428485853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3914E-CF22-145B-C866-ABC66AF7E61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22B3A79-28E5-AEB1-F38F-AE23E0CD558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1EE2ADF-74C7-6DC3-6036-691403CDF71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48659B5-688A-3A98-7328-85D6BE1BA98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750ml | NICOLAS | Assuming no other products are changing prices</a:t>
            </a:r>
          </a:p>
        </p:txBody>
      </p:sp>
      <p:sp>
        <p:nvSpPr>
          <p:cNvPr id="10" name="Title 9">
            <a:extLst>
              <a:ext uri="{FF2B5EF4-FFF2-40B4-BE49-F238E27FC236}">
                <a16:creationId xmlns:a16="http://schemas.microsoft.com/office/drawing/2014/main" id="{7F1B70E2-78CD-2FFB-415F-1D30AD4AEA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A2CEE52-6542-97DB-D532-6647C026DCB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E725BF1-CD8D-2B43-D904-5DB04DE0EB6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E802C88-6A10-82C9-100D-09351F661B9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0454C20-CFA6-4102-2FA1-DFCEA570660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4A7A4FF-D23D-E800-39A6-F81A591C9C9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C7B67164-3B1E-52A5-7657-ADADD9034E7A}"/>
              </a:ext>
            </a:extLst>
          </p:cNvPr>
          <p:cNvSpPr>
            <a:spLocks noGrp="1"/>
          </p:cNvSpPr>
          <p:nvPr>
            <p:ph type="sldNum" sz="quarter" idx="16"/>
          </p:nvPr>
        </p:nvSpPr>
        <p:spPr/>
        <p:txBody>
          <a:bodyPr/>
          <a:lstStyle/>
          <a:p>
            <a:fld id="{7B1F438D-4EAF-094E-9162-80CF3EF77236}" type="slidenum">
              <a:rPr lang="en-US" smtClean="0"/>
              <a:pPr/>
              <a:t>141</a:t>
            </a:fld>
            <a:endParaRPr lang="en-US"/>
          </a:p>
        </p:txBody>
      </p:sp>
      <p:sp>
        <p:nvSpPr>
          <p:cNvPr id="22" name="Rectangle 21">
            <a:extLst>
              <a:ext uri="{FF2B5EF4-FFF2-40B4-BE49-F238E27FC236}">
                <a16:creationId xmlns:a16="http://schemas.microsoft.com/office/drawing/2014/main" id="{3EA6F81D-57A1-FADD-CEF7-AF53581F774D}"/>
              </a:ext>
            </a:extLst>
          </p:cNvPr>
          <p:cNvSpPr/>
          <p:nvPr/>
        </p:nvSpPr>
        <p:spPr>
          <a:xfrm>
            <a:off x="9720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7613EF1-1BB8-5505-D0C0-75331EB2DEDB}"/>
              </a:ext>
            </a:extLst>
          </p:cNvPr>
          <p:cNvSpPr/>
          <p:nvPr/>
        </p:nvSpPr>
        <p:spPr>
          <a:xfrm>
            <a:off x="12546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665A832-BEA8-3A91-E6EE-8EF42B9BC686}"/>
              </a:ext>
            </a:extLst>
          </p:cNvPr>
          <p:cNvSpPr/>
          <p:nvPr/>
        </p:nvSpPr>
        <p:spPr>
          <a:xfrm>
            <a:off x="255456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FA8E8EB-AC97-ABBB-0CE9-F79EF29522D9}"/>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40E90FF2-D964-0843-3F06-CE5BAEBBC031}"/>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5132187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58D1E-0360-62A4-863D-86844B78470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BA1BA61-7831-EED0-47BB-8E785045CDB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7341C1D-B30C-B03A-787A-18AC0FC4A7F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CEFE710-3FF4-BAE4-9ECC-26C7B259A41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EAC5C16-31E2-05C0-5E9F-38385196D58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A169F37-6DEB-767F-152C-8C10889E6C0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750ml (4.1%) | Up &amp; Down Pricing | NICOLAS | Assumes no other are changing prices</a:t>
            </a:r>
          </a:p>
        </p:txBody>
      </p:sp>
      <p:sp>
        <p:nvSpPr>
          <p:cNvPr id="4" name="Title1">
            <a:extLst>
              <a:ext uri="{FF2B5EF4-FFF2-40B4-BE49-F238E27FC236}">
                <a16:creationId xmlns:a16="http://schemas.microsoft.com/office/drawing/2014/main" id="{51B626A2-DDAE-DD5E-DBCF-C1C47064314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7EBE36F-4D1A-774B-44F4-BAED31854F1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5A02A39-0C87-9250-9128-10A2612B2EF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F806EC5-B253-2810-98C1-B90EA455A61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B41DA6B-467E-480E-83A7-6868D2D2109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2D538A1-CCF0-C58D-E94A-DCBA975BC0E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74821962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179C0-0F39-D9E6-4A50-058159E0B4C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AAD40D6-825F-6597-27F5-508E3687FD9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0EAA283-AD2D-703B-E472-80B3CC7D086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853834FF-87B4-B923-1441-6FA317AFF9F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1er Cru Rosé 750ml | NICOLAS | Assuming no other products are changing prices</a:t>
            </a:r>
          </a:p>
        </p:txBody>
      </p:sp>
      <p:sp>
        <p:nvSpPr>
          <p:cNvPr id="10" name="Title 9">
            <a:extLst>
              <a:ext uri="{FF2B5EF4-FFF2-40B4-BE49-F238E27FC236}">
                <a16:creationId xmlns:a16="http://schemas.microsoft.com/office/drawing/2014/main" id="{72408CFD-1700-5FFA-8A27-A71B6FF22C1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F7AFC48-B854-2E34-A53F-2CF55A823B7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8435BE8-0999-245A-B5E7-CF3A39A455F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6B036F9-4DA8-0FB6-059D-6ACB55C1F25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78771DF-D4B1-F6D4-53D7-A69A324EA99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646A634-18AF-B9C3-A3E3-B4296DF9701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27AD34E-968B-F2D2-9C12-E74F158620E7}"/>
              </a:ext>
            </a:extLst>
          </p:cNvPr>
          <p:cNvSpPr>
            <a:spLocks noGrp="1"/>
          </p:cNvSpPr>
          <p:nvPr>
            <p:ph type="sldNum" sz="quarter" idx="16"/>
          </p:nvPr>
        </p:nvSpPr>
        <p:spPr/>
        <p:txBody>
          <a:bodyPr/>
          <a:lstStyle/>
          <a:p>
            <a:fld id="{7B1F438D-4EAF-094E-9162-80CF3EF77236}" type="slidenum">
              <a:rPr lang="en-US" smtClean="0"/>
              <a:pPr/>
              <a:t>143</a:t>
            </a:fld>
            <a:endParaRPr lang="en-US"/>
          </a:p>
        </p:txBody>
      </p:sp>
      <p:sp>
        <p:nvSpPr>
          <p:cNvPr id="22" name="Rectangle 21">
            <a:extLst>
              <a:ext uri="{FF2B5EF4-FFF2-40B4-BE49-F238E27FC236}">
                <a16:creationId xmlns:a16="http://schemas.microsoft.com/office/drawing/2014/main" id="{0F42AAF6-8B7B-CE64-6563-E2AD1531CF85}"/>
              </a:ext>
            </a:extLst>
          </p:cNvPr>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72EFBFD-EE9D-311F-8FA9-7F002060B5C0}"/>
              </a:ext>
            </a:extLst>
          </p:cNvPr>
          <p:cNvSpPr/>
          <p:nvPr/>
        </p:nvSpPr>
        <p:spPr>
          <a:xfrm>
            <a:off x="289368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81614F5-116A-DCA5-E9B1-57888FBF4CA2}"/>
              </a:ext>
            </a:extLst>
          </p:cNvPr>
          <p:cNvSpPr/>
          <p:nvPr/>
        </p:nvSpPr>
        <p:spPr>
          <a:xfrm>
            <a:off x="4702320" y="1458000"/>
            <a:ext cx="1921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815589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A2850-2F1E-45CE-4837-9DDDAF6E3A8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0E88326-34DB-9784-B077-E46AC34AFC1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E42BF5D-3E14-C755-347B-9E98F355EF1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94D4F45-2D91-6E6E-E1BD-B1D351C46BC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AC0D22-DABD-BF4F-7DA5-F58CDBD378F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836176A-2AB9-1C82-DBDA-35689A7B0C4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1er Cru Rosé 750ml (0.3%) | Up &amp; Down Pricing | NICOLAS | Assumes no other are changing prices</a:t>
            </a:r>
          </a:p>
        </p:txBody>
      </p:sp>
      <p:sp>
        <p:nvSpPr>
          <p:cNvPr id="4" name="Title1">
            <a:extLst>
              <a:ext uri="{FF2B5EF4-FFF2-40B4-BE49-F238E27FC236}">
                <a16:creationId xmlns:a16="http://schemas.microsoft.com/office/drawing/2014/main" id="{C4B00552-1F73-1FFE-3141-1A3B85B5AB9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0B1B750-068C-6C0B-6171-1A4A8144DB1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8D4C271-3175-D2CF-0715-F2116451D0D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DDE161A-6B53-6266-EE33-21EC35B77EA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D7FC9D1-0327-D091-CCB5-D0312097F8A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6295866-83C4-66CA-AB7C-119BA4C409C8}"/>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89632234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B6EE8-05FE-3F83-447D-F59D26759E2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2154E4C-C751-9C61-3470-55E6B444EB61}"/>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ABB8C6F-F195-CEDD-2750-EA5652517F7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2D6C653A-E01B-F9A0-9F69-F1CB876EA65B}"/>
              </a:ext>
            </a:extLst>
          </p:cNvPr>
          <p:cNvSpPr>
            <a:spLocks noGrp="1"/>
          </p:cNvSpPr>
          <p:nvPr>
            <p:ph type="body" sz="quarter" idx="18"/>
          </p:nvPr>
        </p:nvSpPr>
        <p:spPr>
          <a:xfrm>
            <a:off x="503238" y="774000"/>
            <a:ext cx="8136762" cy="360000"/>
          </a:xfrm>
        </p:spPr>
        <p:txBody>
          <a:bodyPr/>
          <a:lstStyle/>
          <a:p>
            <a:pPr>
              <a:defRPr sz="1200">
                <a:latin typeface="Nexa Bold (Headings)"/>
              </a:defRPr>
            </a:pPr>
            <a:r>
              <a:t>De Bligny | Price Elasticity | NICOLAS | Assumes no other products are changing prices</a:t>
            </a:r>
          </a:p>
        </p:txBody>
      </p:sp>
      <p:sp>
        <p:nvSpPr>
          <p:cNvPr id="18" name="Title 17">
            <a:extLst>
              <a:ext uri="{FF2B5EF4-FFF2-40B4-BE49-F238E27FC236}">
                <a16:creationId xmlns:a16="http://schemas.microsoft.com/office/drawing/2014/main" id="{ACAFDA92-2205-DC72-DA3B-150596B26D3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39D1183-E325-A2CE-70BB-5F6C985D9B00}"/>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âteau de Blign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DFB0DF4-1E90-FC85-EAB0-AE0808A129C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EBC1176-6611-5403-C242-70ED89606166}"/>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0C4E2C4F-5337-157C-27D3-2E500B25E6E4}"/>
              </a:ext>
            </a:extLst>
          </p:cNvPr>
          <p:cNvSpPr>
            <a:spLocks noGrp="1"/>
          </p:cNvSpPr>
          <p:nvPr>
            <p:ph type="sldNum" sz="quarter" idx="16"/>
          </p:nvPr>
        </p:nvSpPr>
        <p:spPr/>
        <p:txBody>
          <a:bodyPr/>
          <a:lstStyle/>
          <a:p>
            <a:fld id="{7B1F438D-4EAF-094E-9162-80CF3EF77236}" type="slidenum">
              <a:rPr lang="en-US" smtClean="0"/>
              <a:pPr/>
              <a:t>145</a:t>
            </a:fld>
            <a:endParaRPr lang="en-US"/>
          </a:p>
        </p:txBody>
      </p:sp>
      <p:sp>
        <p:nvSpPr>
          <p:cNvPr id="3" name="TextBox Y">
            <a:extLst>
              <a:ext uri="{FF2B5EF4-FFF2-40B4-BE49-F238E27FC236}">
                <a16:creationId xmlns:a16="http://schemas.microsoft.com/office/drawing/2014/main" id="{F7928F8F-18AE-88B2-EA24-B8EE015902A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4168792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AEC59-850F-B3A5-4A45-12E3CC5F239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FDA99F4-A684-CA1A-E498-FB7A2CE2FA3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78D2727-E445-B325-4D99-CAC5732A700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2E4F854-2AC4-DB88-6A8C-AD810AF4C22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âteau de Bligny 750ml | NICOLAS | Assuming no other products are changing prices</a:t>
            </a:r>
          </a:p>
        </p:txBody>
      </p:sp>
      <p:sp>
        <p:nvSpPr>
          <p:cNvPr id="10" name="Title 9">
            <a:extLst>
              <a:ext uri="{FF2B5EF4-FFF2-40B4-BE49-F238E27FC236}">
                <a16:creationId xmlns:a16="http://schemas.microsoft.com/office/drawing/2014/main" id="{C73F6CB7-7259-9CCE-E2F1-50482E0A368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344110D-B312-579C-758E-D7A3F03CA54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BE6C6A6-D16E-9F1F-77DF-E753A1406EE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A7B617D-EE1F-F6FD-6173-806E2D8F134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F55F4D5-28C8-BDDD-2069-00CE096F6B8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23A7BEE-FA85-85F1-0D18-B4650B2A2D7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6BEC9CE-1138-3EFC-468E-F7D1054BD054}"/>
              </a:ext>
            </a:extLst>
          </p:cNvPr>
          <p:cNvSpPr>
            <a:spLocks noGrp="1"/>
          </p:cNvSpPr>
          <p:nvPr>
            <p:ph type="sldNum" sz="quarter" idx="16"/>
          </p:nvPr>
        </p:nvSpPr>
        <p:spPr/>
        <p:txBody>
          <a:bodyPr/>
          <a:lstStyle/>
          <a:p>
            <a:fld id="{7B1F438D-4EAF-094E-9162-80CF3EF77236}" type="slidenum">
              <a:rPr lang="en-US" smtClean="0"/>
              <a:pPr/>
              <a:t>146</a:t>
            </a:fld>
            <a:endParaRPr lang="en-US"/>
          </a:p>
        </p:txBody>
      </p:sp>
      <p:sp>
        <p:nvSpPr>
          <p:cNvPr id="22" name="Rectangle 21">
            <a:extLst>
              <a:ext uri="{FF2B5EF4-FFF2-40B4-BE49-F238E27FC236}">
                <a16:creationId xmlns:a16="http://schemas.microsoft.com/office/drawing/2014/main" id="{A2935457-696D-FFCE-8FF6-C908D1CEDB0D}"/>
              </a:ext>
            </a:extLst>
          </p:cNvPr>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BA4B962D-4D2E-746C-5B28-98F4AD5587EF}"/>
              </a:ext>
            </a:extLst>
          </p:cNvPr>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F5E15FC-8C6D-4387-4B71-8D25B554810C}"/>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1943809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A3EC7-0FC4-D6CB-C562-91F4ED6F814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8BD3A68-95D3-219A-A5A5-621BBD33396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D2A7105-43A5-B3EA-19E9-DEA5DCFBAD4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D4DA663-9951-E890-D402-7A694A8F81F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BF3E973-B960-4112-C163-35559ADC98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AA58BB3-5439-86F3-BCFD-3DF2F5B3298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âteau de Bligny 750ml (1.3%) | Up &amp; Down Pricing | NICOLAS | Assumes no other are changing prices</a:t>
            </a:r>
          </a:p>
        </p:txBody>
      </p:sp>
      <p:sp>
        <p:nvSpPr>
          <p:cNvPr id="4" name="Title1">
            <a:extLst>
              <a:ext uri="{FF2B5EF4-FFF2-40B4-BE49-F238E27FC236}">
                <a16:creationId xmlns:a16="http://schemas.microsoft.com/office/drawing/2014/main" id="{220F7395-E4C6-FBA6-CA5A-2233C35D971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C0CBA1A-631F-FB81-2154-F71AE0E2F51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CACED90-FD43-B957-3BD5-7E8D4F1B3AA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E26C304-017A-7F67-8936-D2DB5B24A11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71404A4-E2C1-C57B-667E-3442F41E8F3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0BE4260-9E11-2347-3965-B11CBA048320}"/>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143124431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C1806-0629-7323-F4C0-63965FCB5FB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6A2356C-A54F-CD4D-6A28-C8A3167FA95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15FDE87-2D9B-73AF-C59E-42377895949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C1C4C3A4-E312-6A7C-E87D-C738B9516820}"/>
              </a:ext>
            </a:extLst>
          </p:cNvPr>
          <p:cNvSpPr>
            <a:spLocks noGrp="1"/>
          </p:cNvSpPr>
          <p:nvPr>
            <p:ph type="body" sz="quarter" idx="18"/>
          </p:nvPr>
        </p:nvSpPr>
        <p:spPr>
          <a:xfrm>
            <a:off x="503238" y="774000"/>
            <a:ext cx="8136762" cy="360000"/>
          </a:xfrm>
        </p:spPr>
        <p:txBody>
          <a:bodyPr/>
          <a:lstStyle/>
          <a:p>
            <a:pPr>
              <a:defRPr sz="1200">
                <a:latin typeface="Nexa Bold (Headings)"/>
              </a:defRPr>
            </a:pPr>
            <a:r>
              <a:t>Louis Martin | Price Elasticity | NICOLAS | Assumes no other products are changing prices</a:t>
            </a:r>
          </a:p>
        </p:txBody>
      </p:sp>
      <p:sp>
        <p:nvSpPr>
          <p:cNvPr id="18" name="Title 17">
            <a:extLst>
              <a:ext uri="{FF2B5EF4-FFF2-40B4-BE49-F238E27FC236}">
                <a16:creationId xmlns:a16="http://schemas.microsoft.com/office/drawing/2014/main" id="{B0087EB9-00C5-5AC7-F994-2BA7C7FC4CE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C5563FF-99EE-2DBE-11BE-6F619FAC5A04}"/>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Martin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4F1D308-7717-334C-63D0-C7FED865AE3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171D9EC-B1A8-FE77-BF29-86FF31A03A76}"/>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5354DF3A-DF28-4D05-6C91-DB899D69C7AB}"/>
              </a:ext>
            </a:extLst>
          </p:cNvPr>
          <p:cNvSpPr>
            <a:spLocks noGrp="1"/>
          </p:cNvSpPr>
          <p:nvPr>
            <p:ph type="sldNum" sz="quarter" idx="16"/>
          </p:nvPr>
        </p:nvSpPr>
        <p:spPr/>
        <p:txBody>
          <a:bodyPr/>
          <a:lstStyle/>
          <a:p>
            <a:fld id="{7B1F438D-4EAF-094E-9162-80CF3EF77236}" type="slidenum">
              <a:rPr lang="en-US" smtClean="0"/>
              <a:pPr/>
              <a:t>148</a:t>
            </a:fld>
            <a:endParaRPr lang="en-US"/>
          </a:p>
        </p:txBody>
      </p:sp>
      <p:sp>
        <p:nvSpPr>
          <p:cNvPr id="3" name="TextBox Y">
            <a:extLst>
              <a:ext uri="{FF2B5EF4-FFF2-40B4-BE49-F238E27FC236}">
                <a16:creationId xmlns:a16="http://schemas.microsoft.com/office/drawing/2014/main" id="{9D5C9C66-6AA2-F46B-E095-4E6E9CB2B1E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8673336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824FE-B625-2663-A902-505881C1134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2BF7DEF-50C3-B917-6BE1-7F47632D808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B201E6E-B975-57B6-C685-2310F0F6D7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0C3D304-684E-811C-37AB-294C2185887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Martin Brut 1er Cru 750ml | NICOLAS | Assuming no other products are changing prices</a:t>
            </a:r>
          </a:p>
        </p:txBody>
      </p:sp>
      <p:sp>
        <p:nvSpPr>
          <p:cNvPr id="10" name="Title 9">
            <a:extLst>
              <a:ext uri="{FF2B5EF4-FFF2-40B4-BE49-F238E27FC236}">
                <a16:creationId xmlns:a16="http://schemas.microsoft.com/office/drawing/2014/main" id="{EAA9B203-02E5-5662-62F3-D67E7A439CD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CBF249C-21D5-0ED1-9632-F83A52B902A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1CCD77B-3E0E-7B36-49A5-24F21AA9D88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72FDB0A-A5C6-0E79-0D07-6626D351E7C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D1733BA-07E1-2B2B-92A4-F2D1C2C55FA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8908E29-F760-15A5-D5D4-DC3E0530221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B5C924C-DA3A-D623-D7B6-52C71456D182}"/>
              </a:ext>
            </a:extLst>
          </p:cNvPr>
          <p:cNvSpPr>
            <a:spLocks noGrp="1"/>
          </p:cNvSpPr>
          <p:nvPr>
            <p:ph type="sldNum" sz="quarter" idx="16"/>
          </p:nvPr>
        </p:nvSpPr>
        <p:spPr/>
        <p:txBody>
          <a:bodyPr/>
          <a:lstStyle/>
          <a:p>
            <a:fld id="{7B1F438D-4EAF-094E-9162-80CF3EF77236}" type="slidenum">
              <a:rPr lang="en-US" smtClean="0"/>
              <a:pPr/>
              <a:t>149</a:t>
            </a:fld>
            <a:endParaRPr lang="en-US"/>
          </a:p>
        </p:txBody>
      </p:sp>
      <p:sp>
        <p:nvSpPr>
          <p:cNvPr id="22" name="Rectangle 21">
            <a:extLst>
              <a:ext uri="{FF2B5EF4-FFF2-40B4-BE49-F238E27FC236}">
                <a16:creationId xmlns:a16="http://schemas.microsoft.com/office/drawing/2014/main" id="{82759F03-A7BE-0C1E-8269-8827F8F214A9}"/>
              </a:ext>
            </a:extLst>
          </p:cNvPr>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9888BF5-931F-D1D4-641E-1392ADDAEFCC}"/>
              </a:ext>
            </a:extLst>
          </p:cNvPr>
          <p:cNvSpPr/>
          <p:nvPr/>
        </p:nvSpPr>
        <p:spPr>
          <a:xfrm>
            <a:off x="159372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BBCC468F-1BB4-947B-D957-3CC27E635198}"/>
              </a:ext>
            </a:extLst>
          </p:cNvPr>
          <p:cNvSpPr/>
          <p:nvPr/>
        </p:nvSpPr>
        <p:spPr>
          <a:xfrm>
            <a:off x="34588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46F79D75-E680-3476-C287-94D7B8B53649}"/>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27560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2CEA2-9DEE-6E93-7970-AEAF285121E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48DC96F-34C0-DAE4-0C38-2306432688BC}"/>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C6F948A-3C98-7E97-A9C6-18B2EEFF224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31E64C2-3803-7CC4-BCF0-4A6B72A9635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FF39C56-AD48-B598-4C32-EF70168E853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8A6B875-C36F-3DBD-035F-6346F905C71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ru La Maqueline (0.4%) | Up &amp; Down Pricing | NICOLAS | Assumes no other are changing prices</a:t>
            </a:r>
          </a:p>
        </p:txBody>
      </p:sp>
      <p:sp>
        <p:nvSpPr>
          <p:cNvPr id="4" name="Title1">
            <a:extLst>
              <a:ext uri="{FF2B5EF4-FFF2-40B4-BE49-F238E27FC236}">
                <a16:creationId xmlns:a16="http://schemas.microsoft.com/office/drawing/2014/main" id="{2B11BAC0-B5E4-1137-3A28-8D078B7D781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E9BDEE0-24B0-642A-CE1D-D42A243626D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F72CF3E-4BEB-29D5-60F8-FA07FF91E11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1BE85CF-0406-6C20-AC71-8D1EF5EB1FF3}"/>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AB59CDD-9A66-560B-B897-9FCBD2A12835}"/>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54862546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5D59D-B451-A8B2-53FB-3092FF2720B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5C5438A-177F-CBDB-7554-ADCC9D71209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3660E4-9C7F-951E-17B2-B84BBE181E9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02E6F19-D002-D266-2DA9-6F9DC780582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E27273D-6A50-1A6F-55D0-BE4EB97D58C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BC5ACE1E-54EC-A893-5009-F2A6C9919E9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Martin Brut 1er Cru 750ml (0.5%) | Up &amp; Down Pricing | NICOLAS | Assumes no other are changing prices</a:t>
            </a:r>
          </a:p>
        </p:txBody>
      </p:sp>
      <p:sp>
        <p:nvSpPr>
          <p:cNvPr id="4" name="Title1">
            <a:extLst>
              <a:ext uri="{FF2B5EF4-FFF2-40B4-BE49-F238E27FC236}">
                <a16:creationId xmlns:a16="http://schemas.microsoft.com/office/drawing/2014/main" id="{D611FEE4-D5C7-14DE-7154-2151F01B390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1EA15F1-E398-2E94-91B9-54CE00D3E82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9AD5C2A-3802-5331-CAC1-ADD87D50E0B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6D94AA1-EBEA-CBE1-5AFB-DB275A591FC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46AD448-3AC6-DB08-7323-45E581790E9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CBD27C6F-3A16-E2C6-3628-8AB5CB514C9E}"/>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288338552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7B064-9C72-54CA-921E-2B85384AA87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9C4E215-34AB-BB33-68C9-1887424BB9E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FBBA765-7AD1-FEA7-E6D1-118981EC2CD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C8A6E7B4-508D-CACC-A1BF-5213AB4DAA8E}"/>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rut | Price Elasticity | NICOLAS | Assumes no other products are changing prices</a:t>
            </a:r>
          </a:p>
        </p:txBody>
      </p:sp>
      <p:sp>
        <p:nvSpPr>
          <p:cNvPr id="18" name="Title 17">
            <a:extLst>
              <a:ext uri="{FF2B5EF4-FFF2-40B4-BE49-F238E27FC236}">
                <a16:creationId xmlns:a16="http://schemas.microsoft.com/office/drawing/2014/main" id="{E2058E0F-888B-5D78-5630-F31B7092A510}"/>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1658DAB-0872-F985-8BD6-70D9A6C9E2A6}"/>
              </a:ext>
            </a:extLst>
          </p:cNvPr>
          <p:cNvGraphicFramePr>
            <a:graphicFrameLocks/>
          </p:cNvGraphicFramePr>
          <p:nvPr/>
        </p:nvGraphicFramePr>
        <p:xfrm>
          <a:off x="4579258" y="1141495"/>
          <a:ext cx="4057904" cy="927537"/>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9ED81F3-0294-1C12-0785-F05C5BE1AEA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AB12835-2F1D-F566-BDB1-EDD32B2015A3}"/>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17E8862B-B54D-7D28-F0A8-50BA6F293B83}"/>
              </a:ext>
            </a:extLst>
          </p:cNvPr>
          <p:cNvSpPr>
            <a:spLocks noGrp="1"/>
          </p:cNvSpPr>
          <p:nvPr>
            <p:ph type="sldNum" sz="quarter" idx="16"/>
          </p:nvPr>
        </p:nvSpPr>
        <p:spPr/>
        <p:txBody>
          <a:bodyPr/>
          <a:lstStyle/>
          <a:p>
            <a:fld id="{7B1F438D-4EAF-094E-9162-80CF3EF77236}" type="slidenum">
              <a:rPr lang="en-US" smtClean="0"/>
              <a:pPr/>
              <a:t>151</a:t>
            </a:fld>
            <a:endParaRPr lang="en-US"/>
          </a:p>
        </p:txBody>
      </p:sp>
      <p:sp>
        <p:nvSpPr>
          <p:cNvPr id="3" name="TextBox Y">
            <a:extLst>
              <a:ext uri="{FF2B5EF4-FFF2-40B4-BE49-F238E27FC236}">
                <a16:creationId xmlns:a16="http://schemas.microsoft.com/office/drawing/2014/main" id="{F8685A7C-4B72-22CB-C205-4DEC3FDE10B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496850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C9149-DF61-1E5C-C03A-807FDDB2168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8F6696F-F90F-6179-9D38-D438ECC2F63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42A3A69-AA10-6B02-5B02-F6A4390A041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1144405-120C-1901-3244-153AED04670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75ml | NICOLAS | Assuming no other products are changing prices</a:t>
            </a:r>
          </a:p>
        </p:txBody>
      </p:sp>
      <p:sp>
        <p:nvSpPr>
          <p:cNvPr id="10" name="Title 9">
            <a:extLst>
              <a:ext uri="{FF2B5EF4-FFF2-40B4-BE49-F238E27FC236}">
                <a16:creationId xmlns:a16="http://schemas.microsoft.com/office/drawing/2014/main" id="{B8555C41-5261-DF9F-66CA-25EFFB00B5D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4A2F1EA-B438-44F4-1C83-F369E1948EE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6D1754A-14CD-C7DD-7CCF-2476FE68B38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94598E7-6812-513E-ACF4-B6933D44A8A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B722B44-438E-2CBE-C620-A8E5586AB72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3DF1877-CE3A-2E04-F07E-D5AF27366192}"/>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55F79AC-43AB-1397-FDED-BA224E6CEB09}"/>
              </a:ext>
            </a:extLst>
          </p:cNvPr>
          <p:cNvSpPr>
            <a:spLocks noGrp="1"/>
          </p:cNvSpPr>
          <p:nvPr>
            <p:ph type="sldNum" sz="quarter" idx="16"/>
          </p:nvPr>
        </p:nvSpPr>
        <p:spPr/>
        <p:txBody>
          <a:bodyPr/>
          <a:lstStyle/>
          <a:p>
            <a:fld id="{7B1F438D-4EAF-094E-9162-80CF3EF77236}" type="slidenum">
              <a:rPr lang="en-US" smtClean="0"/>
              <a:pPr/>
              <a:t>152</a:t>
            </a:fld>
            <a:endParaRPr lang="en-US"/>
          </a:p>
        </p:txBody>
      </p:sp>
      <p:sp>
        <p:nvSpPr>
          <p:cNvPr id="22" name="Rectangle 21">
            <a:extLst>
              <a:ext uri="{FF2B5EF4-FFF2-40B4-BE49-F238E27FC236}">
                <a16:creationId xmlns:a16="http://schemas.microsoft.com/office/drawing/2014/main" id="{55605708-459C-E528-1AFC-84B3EA2115B0}"/>
              </a:ext>
            </a:extLst>
          </p:cNvPr>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6654F18-6276-37D6-166E-9BB7365BD986}"/>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2023989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55DBA8-A257-CDA6-698E-BCCE4BE089B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FAD0897-4A27-FA9F-E4FA-53842180646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7946AD0-AC94-ADF7-D3F7-AE2B97BCA0E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55B4A9E-73BA-61B5-449D-533CA00434E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9C4A8C4-39E4-DD69-AA6C-4213138073D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FBA49C0-1393-A1C6-1317-6460E85B38C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75ml (0.2%) | Up &amp; Down Pricing | NICOLAS | Assumes no other are changing prices</a:t>
            </a:r>
          </a:p>
        </p:txBody>
      </p:sp>
      <p:sp>
        <p:nvSpPr>
          <p:cNvPr id="4" name="Title1">
            <a:extLst>
              <a:ext uri="{FF2B5EF4-FFF2-40B4-BE49-F238E27FC236}">
                <a16:creationId xmlns:a16="http://schemas.microsoft.com/office/drawing/2014/main" id="{0C1DA446-20C1-E858-EAA7-ACA0012DE59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5E34B5C-02F5-8118-7A5B-04CFD022330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C20ACE4-F2DB-EB94-221B-B2723AAC2AD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3FD4EF7-7ED0-5C5D-3668-AC584EC5F95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CE13267-9FE4-7B52-3DF6-EA522326932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16A40E3-7F04-140B-18D4-072A56979F1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427620171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F8761-8B8E-BC3E-5C8E-F28533C4159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12B8F65-494D-FBBC-A091-80F56A8627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E9B3EBF-7879-6684-CDDE-1B3B704AD83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E446008-2284-3E06-3A0F-67C40A4BCC8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750ml | NICOLAS | Assuming no other products are changing prices</a:t>
            </a:r>
          </a:p>
        </p:txBody>
      </p:sp>
      <p:sp>
        <p:nvSpPr>
          <p:cNvPr id="10" name="Title 9">
            <a:extLst>
              <a:ext uri="{FF2B5EF4-FFF2-40B4-BE49-F238E27FC236}">
                <a16:creationId xmlns:a16="http://schemas.microsoft.com/office/drawing/2014/main" id="{615CDEA6-BAC4-1B05-91E0-5DC8289C62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0C28CA6-7AFE-AD26-95AE-50A7EA67EC6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5997285-D003-1D32-E7DD-CE7AEF39B7C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826A564-2718-2DF1-8E3E-DA35297773C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DD65ADF-94F7-00C2-4B45-C894B46C2C4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5C389EA-F7B7-D591-4D02-F80A0B73013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C175EBA-F028-29AB-B353-657848E5C654}"/>
              </a:ext>
            </a:extLst>
          </p:cNvPr>
          <p:cNvSpPr>
            <a:spLocks noGrp="1"/>
          </p:cNvSpPr>
          <p:nvPr>
            <p:ph type="sldNum" sz="quarter" idx="16"/>
          </p:nvPr>
        </p:nvSpPr>
        <p:spPr/>
        <p:txBody>
          <a:bodyPr/>
          <a:lstStyle/>
          <a:p>
            <a:fld id="{7B1F438D-4EAF-094E-9162-80CF3EF77236}" type="slidenum">
              <a:rPr lang="en-US" smtClean="0"/>
              <a:pPr/>
              <a:t>154</a:t>
            </a:fld>
            <a:endParaRPr lang="en-US"/>
          </a:p>
        </p:txBody>
      </p:sp>
      <p:sp>
        <p:nvSpPr>
          <p:cNvPr id="22" name="Rectangle 21">
            <a:extLst>
              <a:ext uri="{FF2B5EF4-FFF2-40B4-BE49-F238E27FC236}">
                <a16:creationId xmlns:a16="http://schemas.microsoft.com/office/drawing/2014/main" id="{614314C9-FAFA-54B0-D91D-557F5822E0FC}"/>
              </a:ext>
            </a:extLst>
          </p:cNvPr>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8D6BA02F-5B91-F226-AF15-2081C7C05254}"/>
              </a:ext>
            </a:extLst>
          </p:cNvPr>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1402530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617EB-C67A-613D-7AF0-BAA6E3D3C06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A8339E7-B0E0-301C-287C-F5BAC72D7AA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9B8D867-B80A-5D53-1A70-720FD044678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7712BA6-5922-3BE1-616D-41261F5E7AF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2DCBBB8-8CDB-7470-2D03-07339E667EE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A6BF31C-228A-8C7E-22E9-F77A094E86A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750ml (7.3%) | Up &amp; Down Pricing | NICOLAS | Assumes no other are changing prices</a:t>
            </a:r>
          </a:p>
        </p:txBody>
      </p:sp>
      <p:sp>
        <p:nvSpPr>
          <p:cNvPr id="4" name="Title1">
            <a:extLst>
              <a:ext uri="{FF2B5EF4-FFF2-40B4-BE49-F238E27FC236}">
                <a16:creationId xmlns:a16="http://schemas.microsoft.com/office/drawing/2014/main" id="{52048DDD-30F9-D12D-605E-2043A9B25CF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3001655-C4E0-EE12-9F87-709E5F300EC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247A9CE-E1E2-D339-804F-75228212AD1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996E4FE-9217-57F5-F2F9-0D25D02544D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BC98815-C462-D166-CEAF-6E99AD5EC6F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7BF888F-527E-380D-425D-F0F1E022533B}"/>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387880383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91783-B742-2268-A9BD-C18A7ECB75C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E9CCF5A-1DBF-D071-C71F-7B85602FDF4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4A4341F-C416-21E3-3F79-DED02D2350A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69338D1-475E-75D2-12D7-85E96F7D4E5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750ml | NICOLAS | Assuming no other products are changing prices</a:t>
            </a:r>
          </a:p>
        </p:txBody>
      </p:sp>
      <p:sp>
        <p:nvSpPr>
          <p:cNvPr id="10" name="Title 9">
            <a:extLst>
              <a:ext uri="{FF2B5EF4-FFF2-40B4-BE49-F238E27FC236}">
                <a16:creationId xmlns:a16="http://schemas.microsoft.com/office/drawing/2014/main" id="{8A300124-177C-2817-9909-153E3158BCA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A40862-300A-CF30-CB73-A56014B6249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03859F0-2D82-EE5D-E998-C3BF8AA9F1D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57F8DFD-C22D-47C1-5164-F9C651134BA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D37DF9A-9B27-691F-A6AE-DFAA01AD7A2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491B100-FD09-E345-CFFE-C55687C3D06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81EA276-6F4F-DA10-F3B3-A0683E044CD1}"/>
              </a:ext>
            </a:extLst>
          </p:cNvPr>
          <p:cNvSpPr>
            <a:spLocks noGrp="1"/>
          </p:cNvSpPr>
          <p:nvPr>
            <p:ph type="sldNum" sz="quarter" idx="16"/>
          </p:nvPr>
        </p:nvSpPr>
        <p:spPr/>
        <p:txBody>
          <a:bodyPr/>
          <a:lstStyle/>
          <a:p>
            <a:fld id="{7B1F438D-4EAF-094E-9162-80CF3EF77236}" type="slidenum">
              <a:rPr lang="en-US" smtClean="0"/>
              <a:pPr/>
              <a:t>156</a:t>
            </a:fld>
            <a:endParaRPr lang="en-US"/>
          </a:p>
        </p:txBody>
      </p:sp>
      <p:sp>
        <p:nvSpPr>
          <p:cNvPr id="22" name="Rectangle 21">
            <a:extLst>
              <a:ext uri="{FF2B5EF4-FFF2-40B4-BE49-F238E27FC236}">
                <a16:creationId xmlns:a16="http://schemas.microsoft.com/office/drawing/2014/main" id="{10320FFA-06CD-E965-0937-D6E95294570C}"/>
              </a:ext>
            </a:extLst>
          </p:cNvPr>
          <p:cNvSpPr/>
          <p:nvPr/>
        </p:nvSpPr>
        <p:spPr>
          <a:xfrm>
            <a:off x="972000" y="1458000"/>
            <a:ext cx="2939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1417F1D2-3211-A310-6989-784806924F36}"/>
              </a:ext>
            </a:extLst>
          </p:cNvPr>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04178FE3-4F91-D557-55C3-B6F7D7CE9C20}"/>
              </a:ext>
            </a:extLst>
          </p:cNvPr>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7DF3ED39-E726-52F9-F7FA-2F5AE6D699A5}"/>
              </a:ext>
            </a:extLst>
          </p:cNvPr>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7097554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C80D0-9715-2770-9CFF-D0710A492AB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5857E7C-D24C-A0E0-2A94-E32C408F357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1DFB70F-FEC4-382D-6FB1-5CF2A545C6F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6112003-71FD-D027-8288-2AAF60B8078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CBEC6D1-C0A8-16EA-556F-53477EB504A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06E670E-5311-CB67-EDE2-BB5B24414E6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750ml (1.2%) | Up &amp; Down Pricing | NICOLAS | Assumes no other are changing prices</a:t>
            </a:r>
          </a:p>
        </p:txBody>
      </p:sp>
      <p:sp>
        <p:nvSpPr>
          <p:cNvPr id="4" name="Title1">
            <a:extLst>
              <a:ext uri="{FF2B5EF4-FFF2-40B4-BE49-F238E27FC236}">
                <a16:creationId xmlns:a16="http://schemas.microsoft.com/office/drawing/2014/main" id="{CC5FFAE9-900F-1256-A46B-EE48CE35BA5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5669632-08F8-3FF1-FB43-799D08457F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1AFE98F-F941-922B-5406-E2FE8B6EB43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FFDAB21-418C-7971-E3ED-8C20FEB0BB0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455DA3A-A429-3494-3190-99C7966530B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2778B9F-C3D9-5F66-F9D5-D04B957B6E31}"/>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324558589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8DD5A-7275-E221-FF61-118F26D1254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67933BE-570F-9043-22CD-AB853765DF2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9B323AD5-BCBA-AE3F-4CA6-F0476DB5B28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5602ACAF-5F77-A209-CDA5-C01459BDC547}"/>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Magnum | Price Elasticity | NICOLAS | Assumes no other products are changing prices</a:t>
            </a:r>
          </a:p>
        </p:txBody>
      </p:sp>
      <p:sp>
        <p:nvSpPr>
          <p:cNvPr id="18" name="Title 17">
            <a:extLst>
              <a:ext uri="{FF2B5EF4-FFF2-40B4-BE49-F238E27FC236}">
                <a16:creationId xmlns:a16="http://schemas.microsoft.com/office/drawing/2014/main" id="{EE4C983E-F751-F015-D7F6-2A409D78FD9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16D55FC-206B-C20A-8BAD-0D3E4CF7A4A3}"/>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étui)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8718883-445F-61C7-2DD9-E23B879792E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C50BE9E8-3D4B-837A-E325-750C1520E2D8}"/>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C4F3DDFE-8DAC-D61A-40FD-EF487C582E9F}"/>
              </a:ext>
            </a:extLst>
          </p:cNvPr>
          <p:cNvSpPr>
            <a:spLocks noGrp="1"/>
          </p:cNvSpPr>
          <p:nvPr>
            <p:ph type="sldNum" sz="quarter" idx="16"/>
          </p:nvPr>
        </p:nvSpPr>
        <p:spPr/>
        <p:txBody>
          <a:bodyPr/>
          <a:lstStyle/>
          <a:p>
            <a:fld id="{7B1F438D-4EAF-094E-9162-80CF3EF77236}" type="slidenum">
              <a:rPr lang="en-US" smtClean="0"/>
              <a:pPr/>
              <a:t>158</a:t>
            </a:fld>
            <a:endParaRPr lang="en-US"/>
          </a:p>
        </p:txBody>
      </p:sp>
      <p:sp>
        <p:nvSpPr>
          <p:cNvPr id="3" name="TextBox Y">
            <a:extLst>
              <a:ext uri="{FF2B5EF4-FFF2-40B4-BE49-F238E27FC236}">
                <a16:creationId xmlns:a16="http://schemas.microsoft.com/office/drawing/2014/main" id="{554B3A84-E54F-2A84-BBE2-0691C0B7D6C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2774312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0AA3F-505C-0EEE-482C-A42CBAA281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0DCC13-4131-990B-2101-C4E671AAF84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1F9A082-2107-6484-F191-BC16EAF4E49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65203ED-81AE-45E3-4C8D-3B38990653E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1500ml | NICOLAS | Assuming no other products are changing prices</a:t>
            </a:r>
          </a:p>
        </p:txBody>
      </p:sp>
      <p:sp>
        <p:nvSpPr>
          <p:cNvPr id="10" name="Title 9">
            <a:extLst>
              <a:ext uri="{FF2B5EF4-FFF2-40B4-BE49-F238E27FC236}">
                <a16:creationId xmlns:a16="http://schemas.microsoft.com/office/drawing/2014/main" id="{56ABDC85-8C40-7D13-0BCE-FB4ADBE5CC2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673E942-15D2-E099-B765-B478FCF0E55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F9B2AE0-38EA-E71B-EAFE-71405CF13A1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DD6B38D-20D5-2AFF-FD03-CADE5A31BBF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BC5F0B3-A87C-F58D-631F-AAAA3F67353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A3A96EC-F0F9-B677-BC3C-F82C031C635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9AD2BA6-72EA-83EF-6066-CCFE84090B4C}"/>
              </a:ext>
            </a:extLst>
          </p:cNvPr>
          <p:cNvSpPr>
            <a:spLocks noGrp="1"/>
          </p:cNvSpPr>
          <p:nvPr>
            <p:ph type="sldNum" sz="quarter" idx="16"/>
          </p:nvPr>
        </p:nvSpPr>
        <p:spPr/>
        <p:txBody>
          <a:bodyPr/>
          <a:lstStyle/>
          <a:p>
            <a:fld id="{7B1F438D-4EAF-094E-9162-80CF3EF77236}" type="slidenum">
              <a:rPr lang="en-US" smtClean="0"/>
              <a:pPr/>
              <a:t>159</a:t>
            </a:fld>
            <a:endParaRPr lang="en-US"/>
          </a:p>
        </p:txBody>
      </p:sp>
      <p:sp>
        <p:nvSpPr>
          <p:cNvPr id="22" name="Rectangle 21">
            <a:extLst>
              <a:ext uri="{FF2B5EF4-FFF2-40B4-BE49-F238E27FC236}">
                <a16:creationId xmlns:a16="http://schemas.microsoft.com/office/drawing/2014/main" id="{CF1E9648-3354-A072-73C2-6C48D03B8C81}"/>
              </a:ext>
            </a:extLst>
          </p:cNvPr>
          <p:cNvSpPr/>
          <p:nvPr/>
        </p:nvSpPr>
        <p:spPr>
          <a:xfrm>
            <a:off x="97200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6C47E2C-3A0C-347F-6667-5B546400CB85}"/>
              </a:ext>
            </a:extLst>
          </p:cNvPr>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54513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28EA9-AD03-7B62-174E-72BE0AA0FDC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50CCA9D-4998-70EB-25C7-EAF2B0583862}"/>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F82E734-0A61-B647-98F8-EE2B1CB4925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1EADE78-2BB7-FF0C-3609-815298733F8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6360764-124E-DD02-D653-D5C39E0E883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C422272-9228-5A79-7680-3BDAF4AFAA3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Bligny (1.3%) | Up &amp; Down Pricing | NICOLAS | Assumes no other are changing prices</a:t>
            </a:r>
          </a:p>
        </p:txBody>
      </p:sp>
      <p:sp>
        <p:nvSpPr>
          <p:cNvPr id="4" name="Title1">
            <a:extLst>
              <a:ext uri="{FF2B5EF4-FFF2-40B4-BE49-F238E27FC236}">
                <a16:creationId xmlns:a16="http://schemas.microsoft.com/office/drawing/2014/main" id="{44EB48AB-1689-ABC2-0220-6EADE3A62DF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C5FC2BB-A51B-3485-6CF5-FEFD0A16F35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C106459-7CF2-5885-D902-2CAB2B47FE8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BA17D52-A267-8354-957F-8361C888C907}"/>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8525B9C-758E-DE2A-1BA5-AA3F390D0D32}"/>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5305813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F91C0-3137-656B-0AB3-6DBEDC523F1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9AB11D5-0A4B-2300-5040-D351BA59F8F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AD5469F-5F6A-6343-E272-1137F571EA0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8201829-AF7D-EB1C-4A37-2ECFDCB7399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AD4D592-375A-2F22-9459-1AFC901A3DE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50E3D8E-2900-1BAE-8851-D53E48E1F7B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1500ml (0.7%) | Up &amp; Down Pricing | NICOLAS | Assumes no other are changing prices</a:t>
            </a:r>
          </a:p>
        </p:txBody>
      </p:sp>
      <p:sp>
        <p:nvSpPr>
          <p:cNvPr id="4" name="Title1">
            <a:extLst>
              <a:ext uri="{FF2B5EF4-FFF2-40B4-BE49-F238E27FC236}">
                <a16:creationId xmlns:a16="http://schemas.microsoft.com/office/drawing/2014/main" id="{33D4FFED-F53A-3213-1282-976ED629E6E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CA589FA-B2CC-07D2-004D-F05031E2EBD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DC7EE2F-7EF1-9989-B124-916F0779E33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6A60B47-E058-CD03-8DFE-75CC6D502D3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7957DD6-64A9-E94E-3B76-FC8413FFD86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6749520-F01C-0950-B42F-FE057D3ED64C}"/>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300227785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81D77-7B0A-1024-2224-3DBE503EC67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AB33A20-2D55-BC5C-F5D4-64F7FF07639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1F4EC91-7AF1-C46A-0905-E4A914530E2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5F09BD2E-E266-EE19-D95B-258765EEAAAF}"/>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lanc de Blancs | Price Elasticity | NICOLAS | Assumes no other products are changing prices</a:t>
            </a:r>
          </a:p>
        </p:txBody>
      </p:sp>
      <p:sp>
        <p:nvSpPr>
          <p:cNvPr id="18" name="Title 17">
            <a:extLst>
              <a:ext uri="{FF2B5EF4-FFF2-40B4-BE49-F238E27FC236}">
                <a16:creationId xmlns:a16="http://schemas.microsoft.com/office/drawing/2014/main" id="{497B97EA-6861-26BB-40B1-2684AC2A2E7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25D2299-984B-32E7-477F-ECD294BD3789}"/>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lanc de Blancs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1D8F15E-8BF6-0764-D237-E9FE01B61D7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616B493-7721-D16E-A933-42ED29E41F1D}"/>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EFDCD23B-B1D2-3A6F-CAE7-6C8616F47D51}"/>
              </a:ext>
            </a:extLst>
          </p:cNvPr>
          <p:cNvSpPr>
            <a:spLocks noGrp="1"/>
          </p:cNvSpPr>
          <p:nvPr>
            <p:ph type="sldNum" sz="quarter" idx="16"/>
          </p:nvPr>
        </p:nvSpPr>
        <p:spPr/>
        <p:txBody>
          <a:bodyPr/>
          <a:lstStyle/>
          <a:p>
            <a:fld id="{7B1F438D-4EAF-094E-9162-80CF3EF77236}" type="slidenum">
              <a:rPr lang="en-US" smtClean="0"/>
              <a:pPr/>
              <a:t>161</a:t>
            </a:fld>
            <a:endParaRPr lang="en-US"/>
          </a:p>
        </p:txBody>
      </p:sp>
      <p:sp>
        <p:nvSpPr>
          <p:cNvPr id="3" name="TextBox Y">
            <a:extLst>
              <a:ext uri="{FF2B5EF4-FFF2-40B4-BE49-F238E27FC236}">
                <a16:creationId xmlns:a16="http://schemas.microsoft.com/office/drawing/2014/main" id="{47629155-A9B6-B3B2-278D-CF1257D9A90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9595141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0D671-F155-E00F-1465-A69922345D5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251B1C5-03CE-1937-871B-D130289AA45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72761B2-C5F1-EF9D-2577-09C344E1E05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6145B6C-5A5D-BE06-89E8-C80EC6A10F1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375ml | NICOLAS | Assuming no other products are changing prices</a:t>
            </a:r>
          </a:p>
        </p:txBody>
      </p:sp>
      <p:sp>
        <p:nvSpPr>
          <p:cNvPr id="10" name="Title 9">
            <a:extLst>
              <a:ext uri="{FF2B5EF4-FFF2-40B4-BE49-F238E27FC236}">
                <a16:creationId xmlns:a16="http://schemas.microsoft.com/office/drawing/2014/main" id="{8D9C9CE9-7CE4-DFC3-374A-5F376ED3517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98D30C1-1A05-4E95-FCA5-DBF5A771EA0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C741669-6E4A-7A20-FDE9-C511D229EF6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29AB397-AAD4-EAF3-C134-33EF37E644A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29E98FB-B8FD-CEF5-C087-A1571A37F96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99EEBFA-E94B-F3AD-ADD9-B367F30BAD3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96F5C6DB-3DE7-54FE-D13E-BD60EE88852A}"/>
              </a:ext>
            </a:extLst>
          </p:cNvPr>
          <p:cNvSpPr>
            <a:spLocks noGrp="1"/>
          </p:cNvSpPr>
          <p:nvPr>
            <p:ph type="sldNum" sz="quarter" idx="16"/>
          </p:nvPr>
        </p:nvSpPr>
        <p:spPr/>
        <p:txBody>
          <a:bodyPr/>
          <a:lstStyle/>
          <a:p>
            <a:fld id="{7B1F438D-4EAF-094E-9162-80CF3EF77236}" type="slidenum">
              <a:rPr lang="en-US" smtClean="0"/>
              <a:pPr/>
              <a:t>162</a:t>
            </a:fld>
            <a:endParaRPr lang="en-US"/>
          </a:p>
        </p:txBody>
      </p:sp>
      <p:sp>
        <p:nvSpPr>
          <p:cNvPr id="22" name="Rectangle 21">
            <a:extLst>
              <a:ext uri="{FF2B5EF4-FFF2-40B4-BE49-F238E27FC236}">
                <a16:creationId xmlns:a16="http://schemas.microsoft.com/office/drawing/2014/main" id="{5D0341C3-116A-018C-9C43-EA071298FAEE}"/>
              </a:ext>
            </a:extLst>
          </p:cNvPr>
          <p:cNvSpPr/>
          <p:nvPr/>
        </p:nvSpPr>
        <p:spPr>
          <a:xfrm>
            <a:off x="97200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F3F9800-5134-0333-CA94-AF8BEA85F550}"/>
              </a:ext>
            </a:extLst>
          </p:cNvPr>
          <p:cNvSpPr/>
          <p:nvPr/>
        </p:nvSpPr>
        <p:spPr>
          <a:xfrm>
            <a:off x="33458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07014874-9DE7-0EA6-8941-C3AA80447BB1}"/>
              </a:ext>
            </a:extLst>
          </p:cNvPr>
          <p:cNvSpPr/>
          <p:nvPr/>
        </p:nvSpPr>
        <p:spPr>
          <a:xfrm>
            <a:off x="36284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2DC8A5ED-392C-09F5-C44F-4EAEED35265C}"/>
              </a:ext>
            </a:extLst>
          </p:cNvPr>
          <p:cNvSpPr/>
          <p:nvPr/>
        </p:nvSpPr>
        <p:spPr>
          <a:xfrm>
            <a:off x="49284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0557941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71496-E3A2-FDDE-FF0E-4B58CEB0A65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DB71992-7A9B-8211-D91B-DB02E569359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BF71B25-A23C-CADC-6B5D-5D75DD54E9C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4F5D4C5-E43C-9F7E-40AF-DB4EF7986DD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81F6817-4D89-1E06-40A4-6EF221F4D53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59B442C-FDE3-60C3-A3C4-567AF338503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375ml (0.1%) | Up &amp; Down Pricing | NICOLAS | Assumes no other are changing prices</a:t>
            </a:r>
          </a:p>
        </p:txBody>
      </p:sp>
      <p:sp>
        <p:nvSpPr>
          <p:cNvPr id="4" name="Title1">
            <a:extLst>
              <a:ext uri="{FF2B5EF4-FFF2-40B4-BE49-F238E27FC236}">
                <a16:creationId xmlns:a16="http://schemas.microsoft.com/office/drawing/2014/main" id="{6F90C25C-8625-9DB8-A948-6A404687DA0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4D19152-B765-1ED1-29A8-8A7B1D5B550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C49E80B-FAC7-ED7B-91E5-BC60DAD64F5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79A0978-CC60-3579-C448-36EC80A0E09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DFEDC12-A1C0-34DC-7DD8-9680A04FE9D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2933883-59FE-D7AF-E591-2DF6D639B929}"/>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282288793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850C6-5D8A-4E0C-A4D6-EEAFE054CB5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2BB7BBE-1487-1228-CFF3-E29F3E6B5B0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CC50CBE-B977-56A5-1155-11EAC18D796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C588CF0-37AA-6825-9258-A90A0EBA42E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750ml | NICOLAS | Assuming no other products are changing prices</a:t>
            </a:r>
          </a:p>
        </p:txBody>
      </p:sp>
      <p:sp>
        <p:nvSpPr>
          <p:cNvPr id="10" name="Title 9">
            <a:extLst>
              <a:ext uri="{FF2B5EF4-FFF2-40B4-BE49-F238E27FC236}">
                <a16:creationId xmlns:a16="http://schemas.microsoft.com/office/drawing/2014/main" id="{203E3123-1AFF-EFF8-2ABD-B7FDAC55641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AF7C018-B823-4FD0-D05D-614476B8046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84540E3-D13E-8274-2D9A-4D10EF3423C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DFD417-7A50-6D85-77C9-89051E84CB5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9504D3D-F700-9CCD-F8AD-1E21E7C5AD7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87985DF-CADB-54C5-9BDF-998C8939503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496CABA-AADC-1BE1-833E-16BDF615AC59}"/>
              </a:ext>
            </a:extLst>
          </p:cNvPr>
          <p:cNvSpPr>
            <a:spLocks noGrp="1"/>
          </p:cNvSpPr>
          <p:nvPr>
            <p:ph type="sldNum" sz="quarter" idx="16"/>
          </p:nvPr>
        </p:nvSpPr>
        <p:spPr/>
        <p:txBody>
          <a:bodyPr/>
          <a:lstStyle/>
          <a:p>
            <a:fld id="{7B1F438D-4EAF-094E-9162-80CF3EF77236}" type="slidenum">
              <a:rPr lang="en-US" smtClean="0"/>
              <a:pPr/>
              <a:t>164</a:t>
            </a:fld>
            <a:endParaRPr lang="en-US"/>
          </a:p>
        </p:txBody>
      </p:sp>
      <p:sp>
        <p:nvSpPr>
          <p:cNvPr id="22" name="Rectangle 21">
            <a:extLst>
              <a:ext uri="{FF2B5EF4-FFF2-40B4-BE49-F238E27FC236}">
                <a16:creationId xmlns:a16="http://schemas.microsoft.com/office/drawing/2014/main" id="{115CE5DC-30DA-2A2E-8FBE-5EF79A661811}"/>
              </a:ext>
            </a:extLst>
          </p:cNvPr>
          <p:cNvSpPr/>
          <p:nvPr/>
        </p:nvSpPr>
        <p:spPr>
          <a:xfrm>
            <a:off x="972000" y="1458000"/>
            <a:ext cx="3165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98372F59-0081-F1B6-1F5E-06BE947BC10A}"/>
              </a:ext>
            </a:extLst>
          </p:cNvPr>
          <p:cNvSpPr/>
          <p:nvPr/>
        </p:nvSpPr>
        <p:spPr>
          <a:xfrm>
            <a:off x="413712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A6E8B4A2-4F41-F460-0018-A896F98EF66C}"/>
              </a:ext>
            </a:extLst>
          </p:cNvPr>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7233933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D7D291-F872-3C9C-C367-1DBA29CADA6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AF19024-E54B-B435-69D7-F921020710F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BBCA0AA-060E-06A5-AB3C-752B7F855B3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A5698F5-4D59-74E3-CD62-47DBC3D0D5D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8B33B0D-7A37-125A-1CFC-716DF740159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1F08C98-6F93-6C43-C690-C3688CA8130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750ml (2.0%) | Up &amp; Down Pricing | NICOLAS | Assumes no other are changing prices</a:t>
            </a:r>
          </a:p>
        </p:txBody>
      </p:sp>
      <p:sp>
        <p:nvSpPr>
          <p:cNvPr id="4" name="Title1">
            <a:extLst>
              <a:ext uri="{FF2B5EF4-FFF2-40B4-BE49-F238E27FC236}">
                <a16:creationId xmlns:a16="http://schemas.microsoft.com/office/drawing/2014/main" id="{61BF82E1-5633-F527-D214-655424F578D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A531C68-6E91-4CB4-1E6E-2ADAE8303B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51F906C-8E79-F792-3FBD-7056F16998B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E611BA0-1D6E-73A2-6340-B330A919522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C421F21-3ECE-F0E9-5DB4-B7A21BE5E5F4}"/>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10F06D7F-9F81-072B-9C3D-80286136C1F9}"/>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64121499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CBCC9-7CB0-82EB-9589-73AC5BC6456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BCDE1E8-3537-CB8B-61DE-C87901B5723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1C1EE67-4BE9-4ADD-3D31-F465D0DA6DA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487FFA4-FF4B-7B17-73B0-4329EF29BFA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étui) 750ml | NICOLAS | Assuming no other products are changing prices</a:t>
            </a:r>
          </a:p>
        </p:txBody>
      </p:sp>
      <p:sp>
        <p:nvSpPr>
          <p:cNvPr id="10" name="Title 9">
            <a:extLst>
              <a:ext uri="{FF2B5EF4-FFF2-40B4-BE49-F238E27FC236}">
                <a16:creationId xmlns:a16="http://schemas.microsoft.com/office/drawing/2014/main" id="{017DC6B8-3FD2-3036-4949-B48091CD053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DA73C1D-5CE3-FD91-1CBB-039EA05C02F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DA9118F-EEBD-EBC4-FF65-569D21B2159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5A955F8-DC07-AD91-99B4-A6BF78A059B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02E2B81-3A9B-D035-ED12-B8DB7D73C60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586143E-8F11-D484-CFBF-205A88C5C4D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FA515C7-A61E-A10F-7BAB-694F6829B8EC}"/>
              </a:ext>
            </a:extLst>
          </p:cNvPr>
          <p:cNvSpPr>
            <a:spLocks noGrp="1"/>
          </p:cNvSpPr>
          <p:nvPr>
            <p:ph type="sldNum" sz="quarter" idx="16"/>
          </p:nvPr>
        </p:nvSpPr>
        <p:spPr/>
        <p:txBody>
          <a:bodyPr/>
          <a:lstStyle/>
          <a:p>
            <a:fld id="{7B1F438D-4EAF-094E-9162-80CF3EF77236}" type="slidenum">
              <a:rPr lang="en-US" smtClean="0"/>
              <a:pPr/>
              <a:t>166</a:t>
            </a:fld>
            <a:endParaRPr lang="en-US"/>
          </a:p>
        </p:txBody>
      </p:sp>
      <p:sp>
        <p:nvSpPr>
          <p:cNvPr id="22" name="Rectangle 21">
            <a:extLst>
              <a:ext uri="{FF2B5EF4-FFF2-40B4-BE49-F238E27FC236}">
                <a16:creationId xmlns:a16="http://schemas.microsoft.com/office/drawing/2014/main" id="{04CF81EB-C475-7CCE-CD4D-0E5F021DB4C4}"/>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1047212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D1278-070E-D915-D89D-018B6693AD1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6B0DC50-E22A-2951-0027-F081DD72D5C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D1D5878-75DE-E86A-8E81-08647BC7549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F03A303-3738-A436-974A-F3407A91DB9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B71D493-A8DD-4051-04CD-236AE941C87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A63613A6-0C49-F845-FB74-886A0956AA6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étui) 750ml (0.8%) | Up &amp; Down Pricing | NICOLAS | Assumes no other are changing prices</a:t>
            </a:r>
          </a:p>
        </p:txBody>
      </p:sp>
      <p:sp>
        <p:nvSpPr>
          <p:cNvPr id="4" name="Title1">
            <a:extLst>
              <a:ext uri="{FF2B5EF4-FFF2-40B4-BE49-F238E27FC236}">
                <a16:creationId xmlns:a16="http://schemas.microsoft.com/office/drawing/2014/main" id="{6E70B973-827D-6F6B-0673-FA6A60000A0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1408CFA-F9E1-4A94-E5B9-5DBA3591D78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181B391-2342-A82C-8599-32BBE871890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9E89171-3633-68DD-0EE0-75C9703CD43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2596804-B8EC-2073-6C95-EA0AD041EE0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5D68FA7D-0DFD-060B-53F2-49313AAA94DF}"/>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80357326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CE1B8-FDC2-CD80-02B3-0623638CD80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717B16F-77A3-9E3C-B365-B83F8C99F94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6F263BB-F52C-25BE-FAC3-432B278430E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2E0C1D6-B571-B856-660C-B5AD180F3FC7}"/>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Rosé | Price Elasticity | NICOLAS | Assumes no other products are changing prices</a:t>
            </a:r>
          </a:p>
        </p:txBody>
      </p:sp>
      <p:sp>
        <p:nvSpPr>
          <p:cNvPr id="18" name="Title 17">
            <a:extLst>
              <a:ext uri="{FF2B5EF4-FFF2-40B4-BE49-F238E27FC236}">
                <a16:creationId xmlns:a16="http://schemas.microsoft.com/office/drawing/2014/main" id="{58B00CCC-EAFD-5605-CC75-86DDAF59456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B4405FF-DFFC-A781-24D8-E8492E25E0ED}"/>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78546E7-ABC9-F6C5-A098-B7AAE5F2AD2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A32ECC0-E770-D00F-9841-87FA715B58C2}"/>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F4DE21A-7B06-A54A-B254-8138EA41313F}"/>
              </a:ext>
            </a:extLst>
          </p:cNvPr>
          <p:cNvSpPr>
            <a:spLocks noGrp="1"/>
          </p:cNvSpPr>
          <p:nvPr>
            <p:ph type="sldNum" sz="quarter" idx="16"/>
          </p:nvPr>
        </p:nvSpPr>
        <p:spPr/>
        <p:txBody>
          <a:bodyPr/>
          <a:lstStyle/>
          <a:p>
            <a:fld id="{7B1F438D-4EAF-094E-9162-80CF3EF77236}" type="slidenum">
              <a:rPr lang="en-US" smtClean="0"/>
              <a:pPr/>
              <a:t>168</a:t>
            </a:fld>
            <a:endParaRPr lang="en-US"/>
          </a:p>
        </p:txBody>
      </p:sp>
      <p:sp>
        <p:nvSpPr>
          <p:cNvPr id="3" name="TextBox Y">
            <a:extLst>
              <a:ext uri="{FF2B5EF4-FFF2-40B4-BE49-F238E27FC236}">
                <a16:creationId xmlns:a16="http://schemas.microsoft.com/office/drawing/2014/main" id="{2ABF2B02-DAAE-D228-9FF1-1504DFCEAD2D}"/>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4422257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57F0F-EF5B-4926-3421-A4032FB2686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0C12E45-CE29-07D4-F88C-98C065D9FD1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6EE9FF0-C0CB-35FC-B917-45D6D2E0076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FF059ED-0DC5-76DC-8EC5-689743AC251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Rosé 750ml | NICOLAS | Assuming no other products are changing prices</a:t>
            </a:r>
          </a:p>
        </p:txBody>
      </p:sp>
      <p:sp>
        <p:nvSpPr>
          <p:cNvPr id="10" name="Title 9">
            <a:extLst>
              <a:ext uri="{FF2B5EF4-FFF2-40B4-BE49-F238E27FC236}">
                <a16:creationId xmlns:a16="http://schemas.microsoft.com/office/drawing/2014/main" id="{D3FF4597-C43B-6716-14AA-E66774B1C39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B33DB9B-ED95-C75E-5228-D59CF8DB63A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DFAA7FF-F7FC-AFA1-A25F-01EE4C8A296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4D3AF07-0C64-92CB-9425-E86BB6A1BE8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5D17772-8BCE-7B7E-43E3-4143FDD586F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2374FEB-8EE6-C3C7-2E3C-D58426C5EF4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CDED2FC-F4E0-56F0-8404-E38CBB9F11F9}"/>
              </a:ext>
            </a:extLst>
          </p:cNvPr>
          <p:cNvSpPr>
            <a:spLocks noGrp="1"/>
          </p:cNvSpPr>
          <p:nvPr>
            <p:ph type="sldNum" sz="quarter" idx="16"/>
          </p:nvPr>
        </p:nvSpPr>
        <p:spPr/>
        <p:txBody>
          <a:bodyPr/>
          <a:lstStyle/>
          <a:p>
            <a:fld id="{7B1F438D-4EAF-094E-9162-80CF3EF77236}" type="slidenum">
              <a:rPr lang="en-US" smtClean="0"/>
              <a:pPr/>
              <a:t>169</a:t>
            </a:fld>
            <a:endParaRPr lang="en-US"/>
          </a:p>
        </p:txBody>
      </p:sp>
      <p:sp>
        <p:nvSpPr>
          <p:cNvPr id="22" name="Rectangle 21">
            <a:extLst>
              <a:ext uri="{FF2B5EF4-FFF2-40B4-BE49-F238E27FC236}">
                <a16:creationId xmlns:a16="http://schemas.microsoft.com/office/drawing/2014/main" id="{D52C90FA-FA24-797B-0CC5-FC4998524A69}"/>
              </a:ext>
            </a:extLst>
          </p:cNvPr>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3113963E-7F18-6061-DA47-3EEF4CEA388D}"/>
              </a:ext>
            </a:extLst>
          </p:cNvPr>
          <p:cNvSpPr/>
          <p:nvPr/>
        </p:nvSpPr>
        <p:spPr>
          <a:xfrm>
            <a:off x="3798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72AE3708-3E16-629A-85ED-1661E6E10722}"/>
              </a:ext>
            </a:extLst>
          </p:cNvPr>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739293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3A7AF-F68E-6FAD-0D03-65A1CCA3296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B63DCD3-1C8A-F653-32ED-437521CA4BF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FF2ACEA-AC60-2C5B-51BB-B09336EA5C5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1C2B2AE-58D3-1536-FE44-C540961DF12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BE17B16-1F81-93A9-DDE7-FB855FE4331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04995EA-9FE8-45A1-851A-39EB5F258047}"/>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Chanceny (0.7%) | Up &amp; Down Pricing | NICOLAS | Assumes no other are changing prices</a:t>
            </a:r>
          </a:p>
        </p:txBody>
      </p:sp>
      <p:sp>
        <p:nvSpPr>
          <p:cNvPr id="4" name="Title1">
            <a:extLst>
              <a:ext uri="{FF2B5EF4-FFF2-40B4-BE49-F238E27FC236}">
                <a16:creationId xmlns:a16="http://schemas.microsoft.com/office/drawing/2014/main" id="{796AEECF-C594-FD09-D15F-4F9673A90FD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8E49D99-5137-D1EB-6444-3927F7ADDC5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37C05D9-2EEA-A6A3-4C9B-53B08BE592A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3CA1878-62F0-7CE6-1A4C-7FF5DF594676}"/>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4016A409-D789-984B-6742-8F0C6C229199}"/>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7039831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C8C5F-2C13-5EB3-4C05-0ACD8B75872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8DC68BD-4E72-142A-3E24-F9F17498BD3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3C88D00-F0F1-8FFC-53EF-6EBEA34A433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220D703-4EB1-57A4-E517-CB47D90D73F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1589DFB-5A95-863C-E328-186F4F5B95E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5B9AF8C-F076-CE15-27BF-7154DECF10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Rosé 750ml (0.5%) | Up &amp; Down Pricing | NICOLAS | Assumes no other are changing prices</a:t>
            </a:r>
          </a:p>
        </p:txBody>
      </p:sp>
      <p:sp>
        <p:nvSpPr>
          <p:cNvPr id="4" name="Title1">
            <a:extLst>
              <a:ext uri="{FF2B5EF4-FFF2-40B4-BE49-F238E27FC236}">
                <a16:creationId xmlns:a16="http://schemas.microsoft.com/office/drawing/2014/main" id="{D3C38D26-F3F7-E165-A160-C7F5B2DE443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2F0A4A0-7341-F9F3-D07A-FB36CFD5C8C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8087AED-1224-2A92-264F-7A71F4302DA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3EBAB2D-AFD2-EF38-B16B-B1FE62BF4CD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78B4F40-4A63-5298-1124-8775000CE51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63C8767-746B-DE3D-779A-8FDC20009C87}"/>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206268752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93ECD9-248F-836A-0664-954CACB58D6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DE406A1-49D4-B165-5A00-D586CF2897C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5E8A6EB-F820-D054-D6D2-87CF5079B58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33221036-B5CD-AB4A-5934-4762D5290273}"/>
              </a:ext>
            </a:extLst>
          </p:cNvPr>
          <p:cNvSpPr>
            <a:spLocks noGrp="1"/>
          </p:cNvSpPr>
          <p:nvPr>
            <p:ph type="body" sz="quarter" idx="18"/>
          </p:nvPr>
        </p:nvSpPr>
        <p:spPr>
          <a:xfrm>
            <a:off x="503238" y="774000"/>
            <a:ext cx="8136762" cy="360000"/>
          </a:xfrm>
        </p:spPr>
        <p:txBody>
          <a:bodyPr/>
          <a:lstStyle/>
          <a:p>
            <a:pPr>
              <a:defRPr sz="1200">
                <a:latin typeface="Nexa Bold (Headings)"/>
              </a:defRPr>
            </a:pPr>
            <a:r>
              <a:t>Moët &amp; Chandon | Price Elasticity | NICOLAS | Assumes no other products are changing prices</a:t>
            </a:r>
          </a:p>
        </p:txBody>
      </p:sp>
      <p:sp>
        <p:nvSpPr>
          <p:cNvPr id="18" name="Title 17">
            <a:extLst>
              <a:ext uri="{FF2B5EF4-FFF2-40B4-BE49-F238E27FC236}">
                <a16:creationId xmlns:a16="http://schemas.microsoft.com/office/drawing/2014/main" id="{982D6AE7-CDC4-B11A-9EC3-03A6E98B9A4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6424E81-7E73-11C8-CC80-41F202BD60A8}"/>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oët &amp; Chandon Réserve Impérial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FDBEAC7-0BA5-1E7A-88D0-636FBDF44CC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DEE1BA2-9F47-5602-FA22-DFEB643B79B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5FF40903-76F6-66F6-6DF2-74F877ED5B27}"/>
              </a:ext>
            </a:extLst>
          </p:cNvPr>
          <p:cNvSpPr>
            <a:spLocks noGrp="1"/>
          </p:cNvSpPr>
          <p:nvPr>
            <p:ph type="sldNum" sz="quarter" idx="16"/>
          </p:nvPr>
        </p:nvSpPr>
        <p:spPr/>
        <p:txBody>
          <a:bodyPr/>
          <a:lstStyle/>
          <a:p>
            <a:fld id="{7B1F438D-4EAF-094E-9162-80CF3EF77236}" type="slidenum">
              <a:rPr lang="en-US" smtClean="0"/>
              <a:pPr/>
              <a:t>171</a:t>
            </a:fld>
            <a:endParaRPr lang="en-US"/>
          </a:p>
        </p:txBody>
      </p:sp>
      <p:sp>
        <p:nvSpPr>
          <p:cNvPr id="3" name="TextBox Y">
            <a:extLst>
              <a:ext uri="{FF2B5EF4-FFF2-40B4-BE49-F238E27FC236}">
                <a16:creationId xmlns:a16="http://schemas.microsoft.com/office/drawing/2014/main" id="{FDA205ED-F937-87E4-38F4-B6F794AAE4D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9570983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D0C32-7422-6721-F411-197A8D35C65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D3D1B2A-1B2E-7F8C-09F0-534E5C71922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ED2F610-2DEF-B0CA-718D-C22BDDC12EA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686FEE6-5EFD-5981-5B70-0D452E45173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oët &amp; Chandon Réserve Impériale 750ml | NICOLAS | Assuming no other products are changing prices</a:t>
            </a:r>
          </a:p>
        </p:txBody>
      </p:sp>
      <p:sp>
        <p:nvSpPr>
          <p:cNvPr id="10" name="Title 9">
            <a:extLst>
              <a:ext uri="{FF2B5EF4-FFF2-40B4-BE49-F238E27FC236}">
                <a16:creationId xmlns:a16="http://schemas.microsoft.com/office/drawing/2014/main" id="{2E86F025-96C0-8DF9-2F57-F505A4515B2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DBC516B-4C4D-3F71-197C-141E3718A82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1B70088-F4F0-FD17-9354-746C8AD3DAB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E72B89C-2CE5-6561-7077-10EF8B5AA2D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C6773FA-533D-DFF0-0148-24AA6ED52A3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F24E7D0-BC57-B176-6631-0FCFE7C2DEFD}"/>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ECA1D35-7C0A-4A36-5B60-DFE43F739114}"/>
              </a:ext>
            </a:extLst>
          </p:cNvPr>
          <p:cNvSpPr>
            <a:spLocks noGrp="1"/>
          </p:cNvSpPr>
          <p:nvPr>
            <p:ph type="sldNum" sz="quarter" idx="16"/>
          </p:nvPr>
        </p:nvSpPr>
        <p:spPr/>
        <p:txBody>
          <a:bodyPr/>
          <a:lstStyle/>
          <a:p>
            <a:fld id="{7B1F438D-4EAF-094E-9162-80CF3EF77236}" type="slidenum">
              <a:rPr lang="en-US" smtClean="0"/>
              <a:pPr/>
              <a:t>172</a:t>
            </a:fld>
            <a:endParaRPr lang="en-US"/>
          </a:p>
        </p:txBody>
      </p:sp>
      <p:sp>
        <p:nvSpPr>
          <p:cNvPr id="22" name="Rectangle 21">
            <a:extLst>
              <a:ext uri="{FF2B5EF4-FFF2-40B4-BE49-F238E27FC236}">
                <a16:creationId xmlns:a16="http://schemas.microsoft.com/office/drawing/2014/main" id="{9FFB7FD5-F5EF-9CF2-361B-C8141F341750}"/>
              </a:ext>
            </a:extLst>
          </p:cNvPr>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7EAC093-5FAC-F3FE-DBB1-27FA4C386BD3}"/>
              </a:ext>
            </a:extLst>
          </p:cNvPr>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16981423-FE7F-1D21-7D77-A9DD91C2EFD3}"/>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6E0ED0CA-A37C-D100-8EF6-C5A0C5F4EE37}"/>
              </a:ext>
            </a:extLst>
          </p:cNvPr>
          <p:cNvSpPr/>
          <p:nvPr/>
        </p:nvSpPr>
        <p:spPr>
          <a:xfrm>
            <a:off x="39110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024C45B-E84F-C074-025B-B85AE9A3BB81}"/>
              </a:ext>
            </a:extLst>
          </p:cNvPr>
          <p:cNvSpPr/>
          <p:nvPr/>
        </p:nvSpPr>
        <p:spPr>
          <a:xfrm>
            <a:off x="48718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0BA67BDD-B687-7984-C429-43F508681A3B}"/>
              </a:ext>
            </a:extLst>
          </p:cNvPr>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745826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8FA3E-503A-AD5A-045A-878DD87BACA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8EB1727-8405-551A-C7EF-A01B14C74AE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08B1C9E-9913-0694-9EBA-0E44005E66F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1A60FEE-0E2E-68AC-8D87-57072626FC0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42CF5DC-42C4-6990-C82B-1C1709B8597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3061656-D746-F131-E230-EE703B5A73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oët &amp; Chandon Réserve Impériale 750ml (1.1%) | Up &amp; Down Pricing | NICOLAS | Assumes no other are changing prices</a:t>
            </a:r>
          </a:p>
        </p:txBody>
      </p:sp>
      <p:sp>
        <p:nvSpPr>
          <p:cNvPr id="4" name="Title1">
            <a:extLst>
              <a:ext uri="{FF2B5EF4-FFF2-40B4-BE49-F238E27FC236}">
                <a16:creationId xmlns:a16="http://schemas.microsoft.com/office/drawing/2014/main" id="{72808CAC-D055-F500-E5CC-D92200B018B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CD26301-C44B-359B-F733-AECC269C8DA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0AECAED-7015-13FB-5601-7E8C7D0EEEB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DE25F2E-CA3F-3986-B177-D17DE67D163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FE2F4E0-E05C-247E-9476-FC65D76FD7A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537D5978-B5F5-0000-F8B4-376DF5E41FE0}"/>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33190736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2DAC6-9552-A054-C645-98A56D223A0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0E2C476-04C0-9D8C-83EF-50769F423D6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8B0D015B-6930-E0E5-9F32-7241205E8B4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20FE3FAA-CA21-02CC-DF33-B4B378E8AC13}"/>
              </a:ext>
            </a:extLst>
          </p:cNvPr>
          <p:cNvSpPr>
            <a:spLocks noGrp="1"/>
          </p:cNvSpPr>
          <p:nvPr>
            <p:ph type="body" sz="quarter" idx="18"/>
          </p:nvPr>
        </p:nvSpPr>
        <p:spPr>
          <a:xfrm>
            <a:off x="503238" y="774000"/>
            <a:ext cx="8136762" cy="360000"/>
          </a:xfrm>
        </p:spPr>
        <p:txBody>
          <a:bodyPr/>
          <a:lstStyle/>
          <a:p>
            <a:pPr>
              <a:defRPr sz="1200">
                <a:latin typeface="Nexa Bold (Headings)"/>
              </a:defRPr>
            </a:pPr>
            <a:r>
              <a:t>Veuve Clicquot | Price Elasticity | NICOLAS | Assumes no other products are changing prices</a:t>
            </a:r>
          </a:p>
        </p:txBody>
      </p:sp>
      <p:sp>
        <p:nvSpPr>
          <p:cNvPr id="18" name="Title 17">
            <a:extLst>
              <a:ext uri="{FF2B5EF4-FFF2-40B4-BE49-F238E27FC236}">
                <a16:creationId xmlns:a16="http://schemas.microsoft.com/office/drawing/2014/main" id="{F5BF9E31-87D3-06A4-0942-A1B7738DB97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116EE17-E339-CC6B-1170-EE50D620814D}"/>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euve Clicquot Réserv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BC97A10-61F7-D38C-C932-9E6A1D23561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A3B7451B-ED84-21DF-041F-F902FFE37CE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B6AAEA32-49D9-9B63-0BE0-715109DE7E2E}"/>
              </a:ext>
            </a:extLst>
          </p:cNvPr>
          <p:cNvSpPr>
            <a:spLocks noGrp="1"/>
          </p:cNvSpPr>
          <p:nvPr>
            <p:ph type="sldNum" sz="quarter" idx="16"/>
          </p:nvPr>
        </p:nvSpPr>
        <p:spPr/>
        <p:txBody>
          <a:bodyPr/>
          <a:lstStyle/>
          <a:p>
            <a:fld id="{7B1F438D-4EAF-094E-9162-80CF3EF77236}" type="slidenum">
              <a:rPr lang="en-US" smtClean="0"/>
              <a:pPr/>
              <a:t>174</a:t>
            </a:fld>
            <a:endParaRPr lang="en-US"/>
          </a:p>
        </p:txBody>
      </p:sp>
      <p:sp>
        <p:nvSpPr>
          <p:cNvPr id="3" name="TextBox Y">
            <a:extLst>
              <a:ext uri="{FF2B5EF4-FFF2-40B4-BE49-F238E27FC236}">
                <a16:creationId xmlns:a16="http://schemas.microsoft.com/office/drawing/2014/main" id="{201EACAE-AD79-CAE1-3191-FE9AB3966DE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1706555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4DFAB-01B4-79B3-0CE1-9A8A8F8BFDF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0E2E731-29B9-911A-5E9F-1FB7231F30E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221E7A6-0796-44F6-13FA-299605EF75C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4E5D67A-BE2A-1BCD-9C9C-5B01C73A9E5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euve Clicquot Réserve Cuvée 750ml | NICOLAS | Assuming no other products are changing prices</a:t>
            </a:r>
          </a:p>
        </p:txBody>
      </p:sp>
      <p:sp>
        <p:nvSpPr>
          <p:cNvPr id="10" name="Title 9">
            <a:extLst>
              <a:ext uri="{FF2B5EF4-FFF2-40B4-BE49-F238E27FC236}">
                <a16:creationId xmlns:a16="http://schemas.microsoft.com/office/drawing/2014/main" id="{1E08B50A-2B69-6FA4-13C9-B9EAD1432FB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C563132-559F-2504-6CAB-6BFB6107473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5595E98-788D-EC80-709F-BD8579C92D0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2CF3D11-BA12-72EF-CCFC-A81F52C5076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C6EFC3F-2550-E824-7A8D-EB894CD96EB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E993B62-C5D9-1F84-5396-E225D4E6529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1F41740D-5BB6-26BE-9ABA-A7B12527DBCA}"/>
              </a:ext>
            </a:extLst>
          </p:cNvPr>
          <p:cNvSpPr>
            <a:spLocks noGrp="1"/>
          </p:cNvSpPr>
          <p:nvPr>
            <p:ph type="sldNum" sz="quarter" idx="16"/>
          </p:nvPr>
        </p:nvSpPr>
        <p:spPr/>
        <p:txBody>
          <a:bodyPr/>
          <a:lstStyle/>
          <a:p>
            <a:fld id="{7B1F438D-4EAF-094E-9162-80CF3EF77236}" type="slidenum">
              <a:rPr lang="en-US" smtClean="0"/>
              <a:pPr/>
              <a:t>175</a:t>
            </a:fld>
            <a:endParaRPr lang="en-US"/>
          </a:p>
        </p:txBody>
      </p:sp>
      <p:sp>
        <p:nvSpPr>
          <p:cNvPr id="22" name="Rectangle 21">
            <a:extLst>
              <a:ext uri="{FF2B5EF4-FFF2-40B4-BE49-F238E27FC236}">
                <a16:creationId xmlns:a16="http://schemas.microsoft.com/office/drawing/2014/main" id="{04C64D1B-77FF-DF87-CEA3-C2111B0C9C73}"/>
              </a:ext>
            </a:extLst>
          </p:cNvPr>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D070549-FB1F-BF98-8F11-A9779A44D2CE}"/>
              </a:ext>
            </a:extLst>
          </p:cNvPr>
          <p:cNvSpPr/>
          <p:nvPr/>
        </p:nvSpPr>
        <p:spPr>
          <a:xfrm>
            <a:off x="159372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31627934-3B41-0DF7-9E4B-C502C1175FFE}"/>
              </a:ext>
            </a:extLst>
          </p:cNvPr>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0F9A14F5-75FD-5BC0-B10A-95EADB19CE0F}"/>
              </a:ext>
            </a:extLst>
          </p:cNvPr>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FBE6A0E5-26E4-7696-D217-A224EE586E4E}"/>
              </a:ext>
            </a:extLst>
          </p:cNvPr>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2150030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3C663-3B38-513F-9BC7-B335990E5B2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6D84132-3DC9-9FB9-40C9-1EF8778839C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AA2F260-1473-CC09-6DC7-3098B5053E7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mmery Brut Silver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BDDBECD-7FE5-7703-9843-9D823495DE7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DE956C-52E9-A0D6-1B4D-313BF2CE413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A8C8EFF-44B7-4D65-00E7-CEB681AA79C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euve Clicquot Réserve Cuvée 750ml (1.7%) | Up &amp; Down Pricing | NICOLAS | Assumes no other are changing prices</a:t>
            </a:r>
          </a:p>
        </p:txBody>
      </p:sp>
      <p:sp>
        <p:nvSpPr>
          <p:cNvPr id="4" name="Title1">
            <a:extLst>
              <a:ext uri="{FF2B5EF4-FFF2-40B4-BE49-F238E27FC236}">
                <a16:creationId xmlns:a16="http://schemas.microsoft.com/office/drawing/2014/main" id="{F06E45CC-70B4-91AD-9DF5-D35EB3FE95B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982576D-E1D6-91DC-0FFB-C9C168944E4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94FE790-2A01-96C3-B724-DABF2788DF6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9FE6A48-B334-335B-B0A7-FA7FF4EAB84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CAB8C5-618B-BD55-28D3-BEF037CED9F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6F0A7B77-F826-1907-B91C-296F594F45BD}"/>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296739469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9960F-F67E-608C-4CFF-A901103E662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7A7CACE-5A11-98FC-3766-BC499C30715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B7BB7EB-938D-3B62-B9C0-709F1435736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DD7D6388-A2E0-A920-8642-DAD72B3E40CC}"/>
              </a:ext>
            </a:extLst>
          </p:cNvPr>
          <p:cNvSpPr>
            <a:spLocks noGrp="1"/>
          </p:cNvSpPr>
          <p:nvPr>
            <p:ph type="body" sz="quarter" idx="18"/>
          </p:nvPr>
        </p:nvSpPr>
        <p:spPr>
          <a:xfrm>
            <a:off x="503238" y="774000"/>
            <a:ext cx="8136762" cy="360000"/>
          </a:xfrm>
        </p:spPr>
        <p:txBody>
          <a:bodyPr/>
          <a:lstStyle/>
          <a:p>
            <a:pPr>
              <a:defRPr sz="1200">
                <a:latin typeface="Nexa Bold (Headings)"/>
              </a:defRPr>
            </a:pPr>
            <a:r>
              <a:t>Perrier-Jouët | Price Elasticity | NICOLAS | Assumes no other products are changing prices</a:t>
            </a:r>
          </a:p>
        </p:txBody>
      </p:sp>
      <p:sp>
        <p:nvSpPr>
          <p:cNvPr id="18" name="Title 17">
            <a:extLst>
              <a:ext uri="{FF2B5EF4-FFF2-40B4-BE49-F238E27FC236}">
                <a16:creationId xmlns:a16="http://schemas.microsoft.com/office/drawing/2014/main" id="{8AF24FDC-9A4C-6968-542F-B261A55AD80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88F1DA7-ABF7-D1B0-2E1F-8E9EB5D3072E}"/>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errier-Jouët Blanc Grand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FE0C0E7-8EC4-0292-12AC-1E644807F65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BD7A09CA-54C8-09ED-6360-0E751F53E718}"/>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B3E6801A-F279-8784-F5D5-71D559FF22B6}"/>
              </a:ext>
            </a:extLst>
          </p:cNvPr>
          <p:cNvSpPr>
            <a:spLocks noGrp="1"/>
          </p:cNvSpPr>
          <p:nvPr>
            <p:ph type="sldNum" sz="quarter" idx="16"/>
          </p:nvPr>
        </p:nvSpPr>
        <p:spPr/>
        <p:txBody>
          <a:bodyPr/>
          <a:lstStyle/>
          <a:p>
            <a:fld id="{7B1F438D-4EAF-094E-9162-80CF3EF77236}" type="slidenum">
              <a:rPr lang="en-US" smtClean="0"/>
              <a:pPr/>
              <a:t>177</a:t>
            </a:fld>
            <a:endParaRPr lang="en-US"/>
          </a:p>
        </p:txBody>
      </p:sp>
      <p:sp>
        <p:nvSpPr>
          <p:cNvPr id="3" name="TextBox Y">
            <a:extLst>
              <a:ext uri="{FF2B5EF4-FFF2-40B4-BE49-F238E27FC236}">
                <a16:creationId xmlns:a16="http://schemas.microsoft.com/office/drawing/2014/main" id="{EFC7285C-B768-987E-4421-6057EF5F5CED}"/>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1839330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670E9-AD2B-6436-A7EB-3F60ECF1E67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BA53B59-944C-17B1-2816-9F2F197D43D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FC8A48E-1C35-1F50-77A1-CCFD16E7CD0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B1E191AD-2603-1358-7901-E517FA8E622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errier-Jouët Blanc Grand Brut 750ml | NICOLAS | Assuming no other products are changing prices</a:t>
            </a:r>
          </a:p>
        </p:txBody>
      </p:sp>
      <p:sp>
        <p:nvSpPr>
          <p:cNvPr id="10" name="Title 9">
            <a:extLst>
              <a:ext uri="{FF2B5EF4-FFF2-40B4-BE49-F238E27FC236}">
                <a16:creationId xmlns:a16="http://schemas.microsoft.com/office/drawing/2014/main" id="{B0D053E3-720A-E84A-2AA1-729E05E7687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66B84D8-EC40-BB84-FF74-FB36FC0E6F9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8569DD1-F14C-86E7-139C-A95F258FD9B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01288CF-A5B7-C83A-FA4B-A70BBEB3923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6F3F0EE-4F1F-D010-5A1C-462BEB57619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2A930C8-6774-EAAA-E3F8-68C24EA1C5B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D775A51-8D2C-5725-46E9-6556014A2679}"/>
              </a:ext>
            </a:extLst>
          </p:cNvPr>
          <p:cNvSpPr>
            <a:spLocks noGrp="1"/>
          </p:cNvSpPr>
          <p:nvPr>
            <p:ph type="sldNum" sz="quarter" idx="16"/>
          </p:nvPr>
        </p:nvSpPr>
        <p:spPr/>
        <p:txBody>
          <a:bodyPr/>
          <a:lstStyle/>
          <a:p>
            <a:fld id="{7B1F438D-4EAF-094E-9162-80CF3EF77236}" type="slidenum">
              <a:rPr lang="en-US" smtClean="0"/>
              <a:pPr/>
              <a:t>178</a:t>
            </a:fld>
            <a:endParaRPr lang="en-US"/>
          </a:p>
        </p:txBody>
      </p:sp>
      <p:sp>
        <p:nvSpPr>
          <p:cNvPr id="22" name="Rectangle 21">
            <a:extLst>
              <a:ext uri="{FF2B5EF4-FFF2-40B4-BE49-F238E27FC236}">
                <a16:creationId xmlns:a16="http://schemas.microsoft.com/office/drawing/2014/main" id="{82DD1E7C-8D97-4F40-9A4B-762A6B9FD472}"/>
              </a:ext>
            </a:extLst>
          </p:cNvPr>
          <p:cNvSpPr/>
          <p:nvPr/>
        </p:nvSpPr>
        <p:spPr>
          <a:xfrm>
            <a:off x="97200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105AF43-C9B1-3FA7-887C-4614E00FF6FA}"/>
              </a:ext>
            </a:extLst>
          </p:cNvPr>
          <p:cNvSpPr/>
          <p:nvPr/>
        </p:nvSpPr>
        <p:spPr>
          <a:xfrm>
            <a:off x="402408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21747F01-2C5C-1E1B-6A3F-E01BF80D01A7}"/>
              </a:ext>
            </a:extLst>
          </p:cNvPr>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285011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9C895-45E7-3999-1AC2-E64821CBBF2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32B1AD6-5F29-3722-E237-26945CB35E8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141DCBA-1B3B-0A6F-DD08-9B37C5D79F2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01B867E-5788-9F21-372D-57DDF19B305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E7C4614-927A-45E8-05E5-A35A460F68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D62E5DB-D184-3E74-C2B0-AD234518B61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errier-Jouët Blanc Grand Brut 750ml (0.9%) | Up &amp; Down Pricing | NICOLAS | Assumes no other are changing prices</a:t>
            </a:r>
          </a:p>
        </p:txBody>
      </p:sp>
      <p:sp>
        <p:nvSpPr>
          <p:cNvPr id="4" name="Title1">
            <a:extLst>
              <a:ext uri="{FF2B5EF4-FFF2-40B4-BE49-F238E27FC236}">
                <a16:creationId xmlns:a16="http://schemas.microsoft.com/office/drawing/2014/main" id="{A901EF2B-DB91-4256-DCAB-6E7ADEA6AEF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E43E7F7-7C53-5F65-A991-FCE0398EB93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20DE022-9C6F-FA68-2D7B-846A5536D57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1372C80-38D0-047B-7AD2-6CF309CFBC3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DE0A6F1-691C-812E-0FD7-FF0019B439B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E289537-3574-68EC-7568-41151BF8C742}"/>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077023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01ADD-D6AB-9D0C-585A-951510C9F15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0630CDF-E06C-441D-F348-7F09AC7F7CEE}"/>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687B93E-1BD6-FD1B-1922-BE5475332CC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139C559-A78B-6968-BEEE-F2F15FB3062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38256B2-53D5-98C5-C6F3-542FA92F347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73D97D1-9664-6832-CD0D-70DE7DFB0B9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Saint-Gall (0.8%) | Up &amp; Down Pricing | NICOLAS | Assumes no other are changing prices</a:t>
            </a:r>
          </a:p>
        </p:txBody>
      </p:sp>
      <p:sp>
        <p:nvSpPr>
          <p:cNvPr id="4" name="Title1">
            <a:extLst>
              <a:ext uri="{FF2B5EF4-FFF2-40B4-BE49-F238E27FC236}">
                <a16:creationId xmlns:a16="http://schemas.microsoft.com/office/drawing/2014/main" id="{900E9D55-FCFF-4CE5-B87A-7EC11B347B2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D3A91D3-D879-B996-401E-7DAB78A9CEF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C7C13C9-A6E5-3EE4-BA31-B6866359263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9C3597B-925A-5428-22EB-0B753BE981A0}"/>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A7AA3067-5064-A9D9-F2B1-2C99F5291F6A}"/>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80102835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467D8-3C9D-696F-3432-CF201417355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2284B86-CD81-3617-79D8-B6B360B8C0E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618CB55-F58B-1187-BB8A-E1E620DFE88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398DACF6-962E-5ABC-110E-77D147E6D73B}"/>
              </a:ext>
            </a:extLst>
          </p:cNvPr>
          <p:cNvSpPr>
            <a:spLocks noGrp="1"/>
          </p:cNvSpPr>
          <p:nvPr>
            <p:ph type="body" sz="quarter" idx="18"/>
          </p:nvPr>
        </p:nvSpPr>
        <p:spPr>
          <a:xfrm>
            <a:off x="503238" y="774000"/>
            <a:ext cx="8136762" cy="360000"/>
          </a:xfrm>
        </p:spPr>
        <p:txBody>
          <a:bodyPr/>
          <a:lstStyle/>
          <a:p>
            <a:pPr>
              <a:defRPr sz="1200">
                <a:latin typeface="Nexa Bold (Headings)"/>
              </a:defRPr>
            </a:pPr>
            <a:r>
              <a:t>Piper-Heidsieck | Price Elasticity | NICOLAS | Assumes no other products are changing prices</a:t>
            </a:r>
          </a:p>
        </p:txBody>
      </p:sp>
      <p:sp>
        <p:nvSpPr>
          <p:cNvPr id="18" name="Title 17">
            <a:extLst>
              <a:ext uri="{FF2B5EF4-FFF2-40B4-BE49-F238E27FC236}">
                <a16:creationId xmlns:a16="http://schemas.microsoft.com/office/drawing/2014/main" id="{9F4A8804-E024-1E70-CB1F-32FE39EC2336}"/>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31BE6E1-ECD1-D363-74BD-38EE55487D64}"/>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iper-Heidsieck Essential by Nicola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304C620-6ACE-9F5A-C83C-A0AA955F702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182779C-8849-E305-DF40-F51F6A0E7DF5}"/>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0AC3872D-E73F-D1C9-AD02-9ED9763F5564}"/>
              </a:ext>
            </a:extLst>
          </p:cNvPr>
          <p:cNvSpPr>
            <a:spLocks noGrp="1"/>
          </p:cNvSpPr>
          <p:nvPr>
            <p:ph type="sldNum" sz="quarter" idx="16"/>
          </p:nvPr>
        </p:nvSpPr>
        <p:spPr/>
        <p:txBody>
          <a:bodyPr/>
          <a:lstStyle/>
          <a:p>
            <a:fld id="{7B1F438D-4EAF-094E-9162-80CF3EF77236}" type="slidenum">
              <a:rPr lang="en-US" smtClean="0"/>
              <a:pPr/>
              <a:t>180</a:t>
            </a:fld>
            <a:endParaRPr lang="en-US"/>
          </a:p>
        </p:txBody>
      </p:sp>
      <p:sp>
        <p:nvSpPr>
          <p:cNvPr id="3" name="TextBox Y">
            <a:extLst>
              <a:ext uri="{FF2B5EF4-FFF2-40B4-BE49-F238E27FC236}">
                <a16:creationId xmlns:a16="http://schemas.microsoft.com/office/drawing/2014/main" id="{838BC042-05C9-A46C-9579-6646DFEDBAA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7107621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F0F9A-2EDA-F6BB-8B6D-D4EB7070F0C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C7C5CD-B47E-55F1-0E53-AA3F343116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445C00D-2230-7164-8E9B-8F2BB525698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90FB182-BF92-0E30-1FA0-61F87B1EB29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iper-Heidsieck Essential by Nicolas 750ml | NICOLAS | Assuming no other products are changing prices</a:t>
            </a:r>
          </a:p>
        </p:txBody>
      </p:sp>
      <p:sp>
        <p:nvSpPr>
          <p:cNvPr id="10" name="Title 9">
            <a:extLst>
              <a:ext uri="{FF2B5EF4-FFF2-40B4-BE49-F238E27FC236}">
                <a16:creationId xmlns:a16="http://schemas.microsoft.com/office/drawing/2014/main" id="{C10FF62F-5F86-8537-BBB4-EFF4A2A57B0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7AF251F-7E79-9889-EB3D-A385F72F460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E4195BC-770F-EF72-A756-3E3EE1AB214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AE0E7D1-8667-9FD3-D5AF-1037B6C8655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494274D-1A89-1D46-CFD6-B3138606ECC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8167ECF-2B6B-CBD9-C1D5-8D16E199150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8F8C860-5AD9-6B29-30D1-621B1813BB59}"/>
              </a:ext>
            </a:extLst>
          </p:cNvPr>
          <p:cNvSpPr>
            <a:spLocks noGrp="1"/>
          </p:cNvSpPr>
          <p:nvPr>
            <p:ph type="sldNum" sz="quarter" idx="16"/>
          </p:nvPr>
        </p:nvSpPr>
        <p:spPr/>
        <p:txBody>
          <a:bodyPr/>
          <a:lstStyle/>
          <a:p>
            <a:fld id="{7B1F438D-4EAF-094E-9162-80CF3EF77236}" type="slidenum">
              <a:rPr lang="en-US" smtClean="0"/>
              <a:pPr/>
              <a:t>181</a:t>
            </a:fld>
            <a:endParaRPr lang="en-US"/>
          </a:p>
        </p:txBody>
      </p:sp>
      <p:sp>
        <p:nvSpPr>
          <p:cNvPr id="22" name="Rectangle 21">
            <a:extLst>
              <a:ext uri="{FF2B5EF4-FFF2-40B4-BE49-F238E27FC236}">
                <a16:creationId xmlns:a16="http://schemas.microsoft.com/office/drawing/2014/main" id="{C967A1F8-A07E-70F3-B622-8AED1575961E}"/>
              </a:ext>
            </a:extLst>
          </p:cNvPr>
          <p:cNvSpPr/>
          <p:nvPr/>
        </p:nvSpPr>
        <p:spPr>
          <a:xfrm>
            <a:off x="97200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8C35074-A4A5-6688-BFF9-AB9FA50D6EF2}"/>
              </a:ext>
            </a:extLst>
          </p:cNvPr>
          <p:cNvSpPr/>
          <p:nvPr/>
        </p:nvSpPr>
        <p:spPr>
          <a:xfrm>
            <a:off x="204588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5813F246-78BB-67E8-E50A-27CC5971747F}"/>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E70F0F6E-1E67-F420-CF32-C78DE3BB6961}"/>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3695903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C456E-2C10-EBAF-8DC7-7401A059B97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E1A3F3E-1575-03EA-951B-D09A27B7658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458F068-B713-C00B-B30A-CB00F85F562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123FE94-7B63-4343-3133-B7AF4991CF6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28D54E7-E2EA-2874-B747-5BDF64DF5F3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EDBBAC4-0BF1-6559-201C-94F9EA753DC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iper-Heidsieck Essential by Nicolas 750ml (0.4%) | Up &amp; Down Pricing | NICOLAS | Assumes no other are changing prices</a:t>
            </a:r>
          </a:p>
        </p:txBody>
      </p:sp>
      <p:sp>
        <p:nvSpPr>
          <p:cNvPr id="4" name="Title1">
            <a:extLst>
              <a:ext uri="{FF2B5EF4-FFF2-40B4-BE49-F238E27FC236}">
                <a16:creationId xmlns:a16="http://schemas.microsoft.com/office/drawing/2014/main" id="{C09A3F1F-8614-C728-D2B6-D728D378ABC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F620F64-79DE-1DF6-F549-725A9483C00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85AE933-E2BB-328F-9EC1-CB2D01EC5AD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2339D3D-E066-E915-164A-2AAEE628C2C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E51140E-197D-FCCF-40A3-E048E5A7865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6D740615-A12C-EC56-1E4D-AB18A4CBD4DB}"/>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161446409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40001-3A16-6957-3A42-0DE952086D7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A3F4E2E-664D-4A34-77A8-1117B4BEA9C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C7F9C44-6756-4E3B-5D02-CB2776B563F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25D1F233-D9DC-BC75-481C-473FDFF5031D}"/>
              </a:ext>
            </a:extLst>
          </p:cNvPr>
          <p:cNvSpPr>
            <a:spLocks noGrp="1"/>
          </p:cNvSpPr>
          <p:nvPr>
            <p:ph type="body" sz="quarter" idx="18"/>
          </p:nvPr>
        </p:nvSpPr>
        <p:spPr>
          <a:xfrm>
            <a:off x="503238" y="774000"/>
            <a:ext cx="8136762" cy="360000"/>
          </a:xfrm>
        </p:spPr>
        <p:txBody>
          <a:bodyPr/>
          <a:lstStyle/>
          <a:p>
            <a:pPr>
              <a:defRPr sz="1200">
                <a:latin typeface="Nexa Bold (Headings)"/>
              </a:defRPr>
            </a:pPr>
            <a:r>
              <a:t>Pol Roger | Price Elasticity | NICOLAS | Assumes no other products are changing prices</a:t>
            </a:r>
          </a:p>
        </p:txBody>
      </p:sp>
      <p:sp>
        <p:nvSpPr>
          <p:cNvPr id="18" name="Title 17">
            <a:extLst>
              <a:ext uri="{FF2B5EF4-FFF2-40B4-BE49-F238E27FC236}">
                <a16:creationId xmlns:a16="http://schemas.microsoft.com/office/drawing/2014/main" id="{73C030FF-161E-9D7A-2829-96BF5AEF481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E28B830F-6F3A-88C2-A0E2-E4F3C38E2CD1}"/>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l Roge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11E0303-1520-4040-2156-C8F8D543332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AA8EE16-6780-4825-6043-9A04B4CF42D3}"/>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937E4B99-B815-A2C5-DD82-71B96B017A19}"/>
              </a:ext>
            </a:extLst>
          </p:cNvPr>
          <p:cNvSpPr>
            <a:spLocks noGrp="1"/>
          </p:cNvSpPr>
          <p:nvPr>
            <p:ph type="sldNum" sz="quarter" idx="16"/>
          </p:nvPr>
        </p:nvSpPr>
        <p:spPr/>
        <p:txBody>
          <a:bodyPr/>
          <a:lstStyle/>
          <a:p>
            <a:fld id="{7B1F438D-4EAF-094E-9162-80CF3EF77236}" type="slidenum">
              <a:rPr lang="en-US" smtClean="0"/>
              <a:pPr/>
              <a:t>183</a:t>
            </a:fld>
            <a:endParaRPr lang="en-US"/>
          </a:p>
        </p:txBody>
      </p:sp>
      <p:sp>
        <p:nvSpPr>
          <p:cNvPr id="3" name="TextBox Y">
            <a:extLst>
              <a:ext uri="{FF2B5EF4-FFF2-40B4-BE49-F238E27FC236}">
                <a16:creationId xmlns:a16="http://schemas.microsoft.com/office/drawing/2014/main" id="{4298F2F6-E9FC-4948-61F2-C51EBC1E5CF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6913093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3A5EA-ACDD-C71D-08FF-40C8BEC9C74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2BBB116-975B-0A87-9721-C13EEC80558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D0F77F3-8A02-1BA7-7E15-B3F93732C5E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EA3CC51-B338-FC06-F08D-0A64CF97550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l Roger Brut 750ml | NICOLAS | Assuming no other products are changing prices</a:t>
            </a:r>
          </a:p>
        </p:txBody>
      </p:sp>
      <p:sp>
        <p:nvSpPr>
          <p:cNvPr id="10" name="Title 9">
            <a:extLst>
              <a:ext uri="{FF2B5EF4-FFF2-40B4-BE49-F238E27FC236}">
                <a16:creationId xmlns:a16="http://schemas.microsoft.com/office/drawing/2014/main" id="{6A748F54-07D8-89C3-BF7B-F5F0B2E4655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867D9FC-9517-FDB6-5744-2AD2C04FDBE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D98E08E-903D-DEEE-1690-4FDDE6A2BA8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01B2225-045A-AE64-0309-5F5FD4B6C69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69FDE04-DA71-0445-247F-5E47E415014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0E8BEF3-EDFA-2FDE-FB09-D61AB344D10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401EBF3-FF04-DB0A-41AA-28115A8548C8}"/>
              </a:ext>
            </a:extLst>
          </p:cNvPr>
          <p:cNvSpPr>
            <a:spLocks noGrp="1"/>
          </p:cNvSpPr>
          <p:nvPr>
            <p:ph type="sldNum" sz="quarter" idx="16"/>
          </p:nvPr>
        </p:nvSpPr>
        <p:spPr/>
        <p:txBody>
          <a:bodyPr/>
          <a:lstStyle/>
          <a:p>
            <a:fld id="{7B1F438D-4EAF-094E-9162-80CF3EF77236}" type="slidenum">
              <a:rPr lang="en-US" smtClean="0"/>
              <a:pPr/>
              <a:t>184</a:t>
            </a:fld>
            <a:endParaRPr lang="en-US"/>
          </a:p>
        </p:txBody>
      </p:sp>
      <p:sp>
        <p:nvSpPr>
          <p:cNvPr id="22" name="Rectangle 21">
            <a:extLst>
              <a:ext uri="{FF2B5EF4-FFF2-40B4-BE49-F238E27FC236}">
                <a16:creationId xmlns:a16="http://schemas.microsoft.com/office/drawing/2014/main" id="{8E1F34B2-FD96-F0FA-0D32-94D2AC253AAA}"/>
              </a:ext>
            </a:extLst>
          </p:cNvPr>
          <p:cNvSpPr/>
          <p:nvPr/>
        </p:nvSpPr>
        <p:spPr>
          <a:xfrm>
            <a:off x="972000" y="1458000"/>
            <a:ext cx="2769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8C86947-65F8-BA63-5BEA-F53E0EBB0E60}"/>
              </a:ext>
            </a:extLst>
          </p:cNvPr>
          <p:cNvSpPr/>
          <p:nvPr/>
        </p:nvSpPr>
        <p:spPr>
          <a:xfrm>
            <a:off x="374148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9FDB01E9-DE8E-B511-B273-5EBDB9E023B7}"/>
              </a:ext>
            </a:extLst>
          </p:cNvPr>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1CEF3C75-EB42-0B02-72A5-3649E6A60042}"/>
              </a:ext>
            </a:extLst>
          </p:cNvPr>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8498870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BF7063-B792-2F49-2C23-DA11529A081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E8E0AA7-7CC5-0824-DAA8-CC6DFD1F9A1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18E8268-B0C8-DBE0-DA56-6746343DD13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1185929-0156-A450-FBA4-9AB6750E916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1AE0CE0-2C90-CC57-4170-59BA8C76239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18D1694-3294-70C7-A164-90250C90E5B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l Roger Brut 750ml (0.8%) | Up &amp; Down Pricing | NICOLAS | Assumes no other are changing prices</a:t>
            </a:r>
          </a:p>
        </p:txBody>
      </p:sp>
      <p:sp>
        <p:nvSpPr>
          <p:cNvPr id="4" name="Title1">
            <a:extLst>
              <a:ext uri="{FF2B5EF4-FFF2-40B4-BE49-F238E27FC236}">
                <a16:creationId xmlns:a16="http://schemas.microsoft.com/office/drawing/2014/main" id="{AB56CFEC-2C49-2722-DA74-29B7575AA26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B507FB3-868D-9D81-0195-D8974D8C662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D126C43-5A5A-A40E-0E64-DF0D176F456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73FBB30-4D12-42F8-7855-0759FF616A6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40DDE44-B0F1-468A-7654-B123862EBAA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A202349-432C-BD32-ABAB-788946BB5C12}"/>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15158812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7876B-F3FD-B6E2-F211-717B6890058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AEFB026-18F1-6C43-448C-56930E13CE1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BF8864F-73FF-F2F2-73C0-3DB9CCEC9BD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DF9BACB4-962F-86FC-4C93-18F62E6A13D1}"/>
              </a:ext>
            </a:extLst>
          </p:cNvPr>
          <p:cNvSpPr>
            <a:spLocks noGrp="1"/>
          </p:cNvSpPr>
          <p:nvPr>
            <p:ph type="body" sz="quarter" idx="18"/>
          </p:nvPr>
        </p:nvSpPr>
        <p:spPr>
          <a:xfrm>
            <a:off x="503238" y="774000"/>
            <a:ext cx="8136762" cy="360000"/>
          </a:xfrm>
        </p:spPr>
        <p:txBody>
          <a:bodyPr/>
          <a:lstStyle/>
          <a:p>
            <a:pPr>
              <a:defRPr sz="1200">
                <a:latin typeface="Nexa Bold (Headings)"/>
              </a:defRPr>
            </a:pPr>
            <a:r>
              <a:t>Roederer | Price Elasticity | NICOLAS | Assumes no other products are changing prices</a:t>
            </a:r>
          </a:p>
        </p:txBody>
      </p:sp>
      <p:sp>
        <p:nvSpPr>
          <p:cNvPr id="18" name="Title 17">
            <a:extLst>
              <a:ext uri="{FF2B5EF4-FFF2-40B4-BE49-F238E27FC236}">
                <a16:creationId xmlns:a16="http://schemas.microsoft.com/office/drawing/2014/main" id="{B9CC6647-732B-F691-6917-968A48345A3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51E0A17-2987-432A-E595-287FD94B0927}"/>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Roederer Brut Collection 24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C0E7E7A-EF64-36AC-23BF-59E87EBCF29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EA050ED-85CD-E13C-0286-D888EB1F74E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03074145-EA98-8AE6-80CF-61AAAFC076DB}"/>
              </a:ext>
            </a:extLst>
          </p:cNvPr>
          <p:cNvSpPr>
            <a:spLocks noGrp="1"/>
          </p:cNvSpPr>
          <p:nvPr>
            <p:ph type="sldNum" sz="quarter" idx="16"/>
          </p:nvPr>
        </p:nvSpPr>
        <p:spPr/>
        <p:txBody>
          <a:bodyPr/>
          <a:lstStyle/>
          <a:p>
            <a:fld id="{7B1F438D-4EAF-094E-9162-80CF3EF77236}" type="slidenum">
              <a:rPr lang="en-US" smtClean="0"/>
              <a:pPr/>
              <a:t>186</a:t>
            </a:fld>
            <a:endParaRPr lang="en-US"/>
          </a:p>
        </p:txBody>
      </p:sp>
      <p:sp>
        <p:nvSpPr>
          <p:cNvPr id="3" name="TextBox Y">
            <a:extLst>
              <a:ext uri="{FF2B5EF4-FFF2-40B4-BE49-F238E27FC236}">
                <a16:creationId xmlns:a16="http://schemas.microsoft.com/office/drawing/2014/main" id="{2EE8A79C-DEED-65C8-9863-2D406BD298B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3359539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7494B-2CBA-723D-48DC-49F4929BA71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824ACA3-6B8D-77A7-0AB8-40EB0DCF2A9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8A6110B-CCA3-D58D-2004-F3766C35473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A409C6D-B5E9-A5CB-C69E-758E651B103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Roederer Brut Collection 245 750ml | NICOLAS | Assuming no other products are changing prices</a:t>
            </a:r>
          </a:p>
        </p:txBody>
      </p:sp>
      <p:sp>
        <p:nvSpPr>
          <p:cNvPr id="10" name="Title 9">
            <a:extLst>
              <a:ext uri="{FF2B5EF4-FFF2-40B4-BE49-F238E27FC236}">
                <a16:creationId xmlns:a16="http://schemas.microsoft.com/office/drawing/2014/main" id="{B1B1D434-B415-7D6E-D508-1F70C6F430A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F590B2B-F6FD-6053-7D95-BA3FFE0BE66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F0D929C-91FA-2922-09FF-703D68BFBBD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2B14B52-C8C8-A5BB-E566-9D234418E5A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42A9DE4-7F59-0B4F-8989-C9EA415C71A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DDC3CF7-B6FD-1522-6E1D-90B35667F4E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BFC0F49A-BBF2-CEE4-59CB-D0A8D6B07F39}"/>
              </a:ext>
            </a:extLst>
          </p:cNvPr>
          <p:cNvSpPr>
            <a:spLocks noGrp="1"/>
          </p:cNvSpPr>
          <p:nvPr>
            <p:ph type="sldNum" sz="quarter" idx="16"/>
          </p:nvPr>
        </p:nvSpPr>
        <p:spPr/>
        <p:txBody>
          <a:bodyPr/>
          <a:lstStyle/>
          <a:p>
            <a:fld id="{7B1F438D-4EAF-094E-9162-80CF3EF77236}" type="slidenum">
              <a:rPr lang="en-US" smtClean="0"/>
              <a:pPr/>
              <a:t>187</a:t>
            </a:fld>
            <a:endParaRPr lang="en-US"/>
          </a:p>
        </p:txBody>
      </p:sp>
      <p:sp>
        <p:nvSpPr>
          <p:cNvPr id="22" name="Rectangle 21">
            <a:extLst>
              <a:ext uri="{FF2B5EF4-FFF2-40B4-BE49-F238E27FC236}">
                <a16:creationId xmlns:a16="http://schemas.microsoft.com/office/drawing/2014/main" id="{D89285AF-0F74-A66C-B808-126E98C30E64}"/>
              </a:ext>
            </a:extLst>
          </p:cNvPr>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B1A363A-FBB8-1D23-1243-082B4C06A6D4}"/>
              </a:ext>
            </a:extLst>
          </p:cNvPr>
          <p:cNvSpPr/>
          <p:nvPr/>
        </p:nvSpPr>
        <p:spPr>
          <a:xfrm>
            <a:off x="13676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3E93B2A-0E84-D3AB-DC88-94A2CDD52537}"/>
              </a:ext>
            </a:extLst>
          </p:cNvPr>
          <p:cNvSpPr/>
          <p:nvPr/>
        </p:nvSpPr>
        <p:spPr>
          <a:xfrm>
            <a:off x="24980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E030A724-B0CE-B0BB-69E1-B195171B58E6}"/>
              </a:ext>
            </a:extLst>
          </p:cNvPr>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6349581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02070-31C8-B2C7-5602-73D14572A30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99F7807-9E2E-6182-83F2-FE063A0936B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DEEC7FC-FF5A-4693-1F94-5579DC6E6E2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ABD4B37-8A4B-57ED-C5C4-7856DDF9C4D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5F3B625-676F-CF01-4B2D-572FAF4277B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D7E400A-937D-1246-592A-EC47C35CFA6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Roederer Brut Collection 245 750ml (0.6%) | Up &amp; Down Pricing | NICOLAS | Assumes no other are changing prices</a:t>
            </a:r>
          </a:p>
        </p:txBody>
      </p:sp>
      <p:sp>
        <p:nvSpPr>
          <p:cNvPr id="4" name="Title1">
            <a:extLst>
              <a:ext uri="{FF2B5EF4-FFF2-40B4-BE49-F238E27FC236}">
                <a16:creationId xmlns:a16="http://schemas.microsoft.com/office/drawing/2014/main" id="{F0A1B0F8-BECD-866C-6367-4A9F2700678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69CF1AE-82D6-3C62-6ECA-7DE03E7510E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528EDD5-B4AD-FB76-BE65-DCDDCF7EEB9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695B81A-F6AB-BDE7-E462-F5151C37C08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095F58-8256-3C8C-D926-BC163778612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FAAE9C8B-9333-FCA5-3ADC-4D88D9103668}"/>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19662216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EA7EE-55E8-3C34-37A8-224B330212C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1F0875-B40F-4DBD-0351-0D7CB1DA48C1}"/>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1B805E44-0174-44C5-0DDD-1185CBD5128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3356700B-1C8F-345D-13AD-9864119BD87F}"/>
              </a:ext>
            </a:extLst>
          </p:cNvPr>
          <p:cNvSpPr>
            <a:spLocks noGrp="1"/>
          </p:cNvSpPr>
          <p:nvPr>
            <p:ph type="body" sz="quarter" idx="18"/>
          </p:nvPr>
        </p:nvSpPr>
        <p:spPr>
          <a:xfrm>
            <a:off x="503238" y="774000"/>
            <a:ext cx="8136762" cy="360000"/>
          </a:xfrm>
        </p:spPr>
        <p:txBody>
          <a:bodyPr/>
          <a:lstStyle/>
          <a:p>
            <a:pPr>
              <a:defRPr sz="1200">
                <a:latin typeface="Nexa Bold (Headings)"/>
              </a:defRPr>
            </a:pPr>
            <a:r>
              <a:t>Taittinger | Price Elasticity | NICOLAS | Assumes no other products are changing prices</a:t>
            </a:r>
          </a:p>
        </p:txBody>
      </p:sp>
      <p:sp>
        <p:nvSpPr>
          <p:cNvPr id="18" name="Title 17">
            <a:extLst>
              <a:ext uri="{FF2B5EF4-FFF2-40B4-BE49-F238E27FC236}">
                <a16:creationId xmlns:a16="http://schemas.microsoft.com/office/drawing/2014/main" id="{73EB4307-AE1D-26DB-26DF-F160B7518D3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EC4E2AC-1B6B-37F5-9B06-1382A322A4C1}"/>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Taittinger Prestig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Taittinger Prestig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8AD3C21-34A9-7F4B-118C-D10769AA420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AE4F7DB5-7491-3262-3316-11E6DB286241}"/>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C9726C71-49CA-E858-DF81-5B321F0F4F09}"/>
              </a:ext>
            </a:extLst>
          </p:cNvPr>
          <p:cNvSpPr>
            <a:spLocks noGrp="1"/>
          </p:cNvSpPr>
          <p:nvPr>
            <p:ph type="sldNum" sz="quarter" idx="16"/>
          </p:nvPr>
        </p:nvSpPr>
        <p:spPr/>
        <p:txBody>
          <a:bodyPr/>
          <a:lstStyle/>
          <a:p>
            <a:fld id="{7B1F438D-4EAF-094E-9162-80CF3EF77236}" type="slidenum">
              <a:rPr lang="en-US" smtClean="0"/>
              <a:pPr/>
              <a:t>189</a:t>
            </a:fld>
            <a:endParaRPr lang="en-US"/>
          </a:p>
        </p:txBody>
      </p:sp>
      <p:sp>
        <p:nvSpPr>
          <p:cNvPr id="3" name="TextBox Y">
            <a:extLst>
              <a:ext uri="{FF2B5EF4-FFF2-40B4-BE49-F238E27FC236}">
                <a16:creationId xmlns:a16="http://schemas.microsoft.com/office/drawing/2014/main" id="{65C24338-2537-7EA1-CFF7-97D661DF237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84647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FACB3-FEE6-1D4B-2485-944A1EC6347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6EB28CF-7E6B-EAB6-1183-88ABD3163A1E}"/>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456368D-C71C-86F2-9B3B-2390EC0962A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7BB459D-8535-3758-E888-CDF262EA775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E71C664-20F8-1BA4-609D-1D1CCA97A4F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19803BE-76BA-CA31-C98F-186AD16ED54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Venoge (0.4%) | Up &amp; Down Pricing | NICOLAS | Assumes no other are changing prices</a:t>
            </a:r>
          </a:p>
        </p:txBody>
      </p:sp>
      <p:sp>
        <p:nvSpPr>
          <p:cNvPr id="4" name="Title1">
            <a:extLst>
              <a:ext uri="{FF2B5EF4-FFF2-40B4-BE49-F238E27FC236}">
                <a16:creationId xmlns:a16="http://schemas.microsoft.com/office/drawing/2014/main" id="{D0782E20-2AB0-1421-DC1E-F4B5D8F5430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89E7AE9-7363-BA13-D84D-20F31D7616C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413324D-B6DA-D79C-A180-84E2AFC62A1F}"/>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EE337F0C-5C24-C37B-2B86-091524EB4A61}"/>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1CA05138-7292-A333-21A2-E99982E13A14}"/>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42507786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90985-0909-5F44-E0BE-34B4434DCFD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29F55DC-96A4-DB32-EC4D-7676217E71C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1BDEA1B-09B5-6DCE-FD19-21AB169C373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35E74506-A056-E197-1A12-04B81288504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750ml | NICOLAS | Assuming no other products are changing prices</a:t>
            </a:r>
          </a:p>
        </p:txBody>
      </p:sp>
      <p:sp>
        <p:nvSpPr>
          <p:cNvPr id="10" name="Title 9">
            <a:extLst>
              <a:ext uri="{FF2B5EF4-FFF2-40B4-BE49-F238E27FC236}">
                <a16:creationId xmlns:a16="http://schemas.microsoft.com/office/drawing/2014/main" id="{DBC40584-11AF-770A-95FB-A639AD4564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F3E32D7-5D07-3324-8D28-914DCBAA086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79D4297-766A-6089-9D4D-50CD358B845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98C44D3-B3E5-F1EE-49CA-EE444C434FD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8A91079-684B-D0E6-6240-0CABCA37798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DFF5C3A-19F0-C8FA-1204-5BFAE1EDA96B}"/>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4F756A3-0897-A893-ABB0-FE0FEA076BD3}"/>
              </a:ext>
            </a:extLst>
          </p:cNvPr>
          <p:cNvSpPr>
            <a:spLocks noGrp="1"/>
          </p:cNvSpPr>
          <p:nvPr>
            <p:ph type="sldNum" sz="quarter" idx="16"/>
          </p:nvPr>
        </p:nvSpPr>
        <p:spPr/>
        <p:txBody>
          <a:bodyPr/>
          <a:lstStyle/>
          <a:p>
            <a:fld id="{7B1F438D-4EAF-094E-9162-80CF3EF77236}" type="slidenum">
              <a:rPr lang="en-US" smtClean="0"/>
              <a:pPr/>
              <a:t>190</a:t>
            </a:fld>
            <a:endParaRPr lang="en-US"/>
          </a:p>
        </p:txBody>
      </p:sp>
      <p:sp>
        <p:nvSpPr>
          <p:cNvPr id="22" name="Rectangle 21">
            <a:extLst>
              <a:ext uri="{FF2B5EF4-FFF2-40B4-BE49-F238E27FC236}">
                <a16:creationId xmlns:a16="http://schemas.microsoft.com/office/drawing/2014/main" id="{69C64909-6AF4-ADF3-5993-48ACA7894EFA}"/>
              </a:ext>
            </a:extLst>
          </p:cNvPr>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9B3C0389-C0C6-CAC9-08F0-1BD79958FC8C}"/>
              </a:ext>
            </a:extLst>
          </p:cNvPr>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9F8D14C6-7B8C-3D5A-2953-121327540C64}"/>
              </a:ext>
            </a:extLst>
          </p:cNvPr>
          <p:cNvSpPr/>
          <p:nvPr/>
        </p:nvSpPr>
        <p:spPr>
          <a:xfrm>
            <a:off x="27806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9D047910-DBF5-4E85-CDA5-054D9639E7CD}"/>
              </a:ext>
            </a:extLst>
          </p:cNvPr>
          <p:cNvSpPr/>
          <p:nvPr/>
        </p:nvSpPr>
        <p:spPr>
          <a:xfrm>
            <a:off x="41371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EDF96C54-B3ED-DF58-9CFE-74FAA7B84C4D}"/>
              </a:ext>
            </a:extLst>
          </p:cNvPr>
          <p:cNvSpPr/>
          <p:nvPr/>
        </p:nvSpPr>
        <p:spPr>
          <a:xfrm>
            <a:off x="56631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493D98E5-ACBE-E4C9-CA46-C1261CA951EE}"/>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2777982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B1D9B-3842-A532-0D07-533489C0180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A626E8C-CB0A-F513-0302-AE1214CBFEB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7606F94-27F0-5820-98BB-E0CF81202E1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59F1396-D5A8-EE36-4027-260E6214A8C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C92FD54-794D-8F07-9716-8975F7F1BE7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5EECD65-F291-5996-37A6-EC6B302F315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750ml (1.6%) | Up &amp; Down Pricing | NICOLAS | Assumes no other are changing prices</a:t>
            </a:r>
          </a:p>
        </p:txBody>
      </p:sp>
      <p:sp>
        <p:nvSpPr>
          <p:cNvPr id="4" name="Title1">
            <a:extLst>
              <a:ext uri="{FF2B5EF4-FFF2-40B4-BE49-F238E27FC236}">
                <a16:creationId xmlns:a16="http://schemas.microsoft.com/office/drawing/2014/main" id="{04CECC46-D1B6-0847-9990-23F01B8EABA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9829F65-34F1-F447-D0B2-12001B54253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642E1F-0CB7-4004-13EE-B097AB199B5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45C564E-2B5E-8188-BB32-B2138FA3F27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C832AC2-245E-F136-1CA5-28C8B2B35294}"/>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C2215EF-334E-9B89-822D-98B57C9D6D56}"/>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07498752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67EB6-1135-B5F5-5319-88A040393B3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4DFF55B-E51C-F27E-E506-A9E8A1345D7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2C74CE9-0D15-A8E7-EA76-3DFAB2158A1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AB1DC09-F8F6-DA05-F9D7-72D9E8EE23D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1500ml | NICOLAS | Assuming no other products are changing prices</a:t>
            </a:r>
          </a:p>
        </p:txBody>
      </p:sp>
      <p:sp>
        <p:nvSpPr>
          <p:cNvPr id="10" name="Title 9">
            <a:extLst>
              <a:ext uri="{FF2B5EF4-FFF2-40B4-BE49-F238E27FC236}">
                <a16:creationId xmlns:a16="http://schemas.microsoft.com/office/drawing/2014/main" id="{A8E8E77F-1BE7-D74B-75F1-6481DE05E49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C145123-3230-4E2C-63E2-288EEF1E71B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C5EAADF-4E73-213D-A713-D8A5830C762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59B357A-B151-B099-9960-75A2AEF3F79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C292C3F-5560-4CB2-8437-6644517E39F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9811538-2C71-0CC3-D8AD-D7BAF5E2283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B69B47E-5291-A110-218F-A4E00DCA5A2F}"/>
              </a:ext>
            </a:extLst>
          </p:cNvPr>
          <p:cNvSpPr>
            <a:spLocks noGrp="1"/>
          </p:cNvSpPr>
          <p:nvPr>
            <p:ph type="sldNum" sz="quarter" idx="16"/>
          </p:nvPr>
        </p:nvSpPr>
        <p:spPr/>
        <p:txBody>
          <a:bodyPr/>
          <a:lstStyle/>
          <a:p>
            <a:fld id="{7B1F438D-4EAF-094E-9162-80CF3EF77236}" type="slidenum">
              <a:rPr lang="en-US" smtClean="0"/>
              <a:pPr/>
              <a:t>192</a:t>
            </a:fld>
            <a:endParaRPr lang="en-US"/>
          </a:p>
        </p:txBody>
      </p:sp>
      <p:sp>
        <p:nvSpPr>
          <p:cNvPr id="22" name="Rectangle 21">
            <a:extLst>
              <a:ext uri="{FF2B5EF4-FFF2-40B4-BE49-F238E27FC236}">
                <a16:creationId xmlns:a16="http://schemas.microsoft.com/office/drawing/2014/main" id="{94E392A9-4523-1C6B-08CD-7E2F62280AF3}"/>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37027975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20326-7688-09CF-3294-11685637EB0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468B00D-7FEE-4005-5093-91ED3FD9D44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4193898-1933-9450-D98E-6788BEF23B4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86A0D8E-A38F-126B-C957-8B6EFB1F861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FD57703-2EB2-5079-87EA-E9AF9661C8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BA4D514-979E-9F50-DA4E-73D8F878FE9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1500ml (0.5%) | Up &amp; Down Pricing | NICOLAS | Assumes no other are changing prices</a:t>
            </a:r>
          </a:p>
        </p:txBody>
      </p:sp>
      <p:sp>
        <p:nvSpPr>
          <p:cNvPr id="4" name="Title1">
            <a:extLst>
              <a:ext uri="{FF2B5EF4-FFF2-40B4-BE49-F238E27FC236}">
                <a16:creationId xmlns:a16="http://schemas.microsoft.com/office/drawing/2014/main" id="{FD5B94A7-CB97-330F-F103-AC39780B362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C0FF659-4AD5-0DD5-30B4-85189A7113B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48BCB27-018C-38D0-ED95-CAE5A4083CD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BFCB999-E73A-477D-ADE8-D1375C15519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6F1AECC-4C6E-52D1-03F5-48058F342DF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F2F2A226-2CED-FD88-E437-C41AB2E4A633}"/>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34107708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F89A7-BC4D-4341-C0BF-E76A95F0AB6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D9484FB-2D72-1836-EEB3-CF54ECE01C4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1C3B979-B22F-6178-EFB2-9557F6F65E9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8C3F776-C080-91B4-91AE-DA034DCA1B51}"/>
              </a:ext>
            </a:extLst>
          </p:cNvPr>
          <p:cNvSpPr>
            <a:spLocks noGrp="1"/>
          </p:cNvSpPr>
          <p:nvPr>
            <p:ph type="body" sz="quarter" idx="18"/>
          </p:nvPr>
        </p:nvSpPr>
        <p:spPr>
          <a:xfrm>
            <a:off x="503238" y="774000"/>
            <a:ext cx="8136762" cy="360000"/>
          </a:xfrm>
        </p:spPr>
        <p:txBody>
          <a:bodyPr/>
          <a:lstStyle/>
          <a:p>
            <a:pPr>
              <a:defRPr sz="1200">
                <a:latin typeface="Nexa Bold (Headings)"/>
              </a:defRPr>
            </a:pPr>
            <a:r>
              <a:t>Feuilatte | Price Elasticity | NICOLAS | Assumes no other products are changing prices</a:t>
            </a:r>
          </a:p>
        </p:txBody>
      </p:sp>
      <p:sp>
        <p:nvSpPr>
          <p:cNvPr id="18" name="Title 17">
            <a:extLst>
              <a:ext uri="{FF2B5EF4-FFF2-40B4-BE49-F238E27FC236}">
                <a16:creationId xmlns:a16="http://schemas.microsoft.com/office/drawing/2014/main" id="{0AB4A01D-0ABF-F769-9D8E-D322AFFD43A4}"/>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BD76C47-9574-9188-E702-B2A0DFD51DE8}"/>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Feuillatte Extra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Feuillatte Réserve Exclusiv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Feuillatte Réserve Exclusiv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Feuillatte Réserve Exclusive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0AAF994-8255-08DC-3CFB-85AA9B75A4E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313D62E-010A-8145-FB43-ED232BD3B880}"/>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E853AE48-97A5-1E8B-6227-332E4F393FAF}"/>
              </a:ext>
            </a:extLst>
          </p:cNvPr>
          <p:cNvSpPr>
            <a:spLocks noGrp="1"/>
          </p:cNvSpPr>
          <p:nvPr>
            <p:ph type="sldNum" sz="quarter" idx="16"/>
          </p:nvPr>
        </p:nvSpPr>
        <p:spPr/>
        <p:txBody>
          <a:bodyPr/>
          <a:lstStyle/>
          <a:p>
            <a:fld id="{7B1F438D-4EAF-094E-9162-80CF3EF77236}" type="slidenum">
              <a:rPr lang="en-US" smtClean="0"/>
              <a:pPr/>
              <a:t>194</a:t>
            </a:fld>
            <a:endParaRPr lang="en-US"/>
          </a:p>
        </p:txBody>
      </p:sp>
      <p:sp>
        <p:nvSpPr>
          <p:cNvPr id="3" name="TextBox Y">
            <a:extLst>
              <a:ext uri="{FF2B5EF4-FFF2-40B4-BE49-F238E27FC236}">
                <a16:creationId xmlns:a16="http://schemas.microsoft.com/office/drawing/2014/main" id="{653CAD24-1CA4-06CE-0FC4-B21C9BA4818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349395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1BE72-B465-536B-A529-F5C395A42C5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4BAF756-6801-E828-F390-4E67CBF30BF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5E1C7F9-BB0C-8CC5-4538-237E83E05D5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B8EE056-0236-8E6C-1130-99C5C35BAAD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Extra Brut 750ml | NICOLAS | Assuming no other products are changing prices</a:t>
            </a:r>
          </a:p>
        </p:txBody>
      </p:sp>
      <p:sp>
        <p:nvSpPr>
          <p:cNvPr id="10" name="Title 9">
            <a:extLst>
              <a:ext uri="{FF2B5EF4-FFF2-40B4-BE49-F238E27FC236}">
                <a16:creationId xmlns:a16="http://schemas.microsoft.com/office/drawing/2014/main" id="{43A213C7-005E-FBD6-4BF5-BC27F2D1C32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495BCB5-0BF1-D0F2-0E4F-6DE29F42FBB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FCCF409-3131-59EC-013D-A46E92B1FA2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A08D37C-7B45-76A0-B7C3-BD752285495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4994B2C-C138-AE0D-A99E-DFD1A59A888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054E026-E4BF-087C-479D-4349356D718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168F107D-00C2-5EFA-FF34-70806B81B1D6}"/>
              </a:ext>
            </a:extLst>
          </p:cNvPr>
          <p:cNvSpPr>
            <a:spLocks noGrp="1"/>
          </p:cNvSpPr>
          <p:nvPr>
            <p:ph type="sldNum" sz="quarter" idx="16"/>
          </p:nvPr>
        </p:nvSpPr>
        <p:spPr/>
        <p:txBody>
          <a:bodyPr/>
          <a:lstStyle/>
          <a:p>
            <a:fld id="{7B1F438D-4EAF-094E-9162-80CF3EF77236}" type="slidenum">
              <a:rPr lang="en-US" smtClean="0"/>
              <a:pPr/>
              <a:t>195</a:t>
            </a:fld>
            <a:endParaRPr lang="en-US"/>
          </a:p>
        </p:txBody>
      </p:sp>
      <p:sp>
        <p:nvSpPr>
          <p:cNvPr id="22" name="Rectangle 21">
            <a:extLst>
              <a:ext uri="{FF2B5EF4-FFF2-40B4-BE49-F238E27FC236}">
                <a16:creationId xmlns:a16="http://schemas.microsoft.com/office/drawing/2014/main" id="{3587B887-AD77-2EB2-C19F-FF0CD29B7C9C}"/>
              </a:ext>
            </a:extLst>
          </p:cNvPr>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70F6A40-CBA5-DACA-C599-E1EE14D9CB8C}"/>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4CCE2891-B53E-B171-8116-A4C79C549E6B}"/>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8850393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67466-CF27-3D4C-0B11-CC9A8F85C60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433B574-D027-A0D6-5F3D-BF526C70CC7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EAA263D-FA31-94F3-94B5-466704CE955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0CA9018-D1BC-A37B-00A2-E9DD2B6EB0C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1F33F19-92E2-96EF-28D8-6575F364C6C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2FC93DA-4292-6D1F-84C6-1F4B1A99D08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Extra Brut 750ml (0.4%) | Up &amp; Down Pricing | NICOLAS | Assumes no other are changing prices</a:t>
            </a:r>
          </a:p>
        </p:txBody>
      </p:sp>
      <p:sp>
        <p:nvSpPr>
          <p:cNvPr id="4" name="Title1">
            <a:extLst>
              <a:ext uri="{FF2B5EF4-FFF2-40B4-BE49-F238E27FC236}">
                <a16:creationId xmlns:a16="http://schemas.microsoft.com/office/drawing/2014/main" id="{7BBCFD5E-0BDB-B629-29B0-7A0F205A264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D0A2A54-9111-A901-0AB7-CBB0D387337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EAA8306-734C-FFE1-D281-C60BD2E85CA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7ECF710-A5F5-C287-09D8-27F6528D3D1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F4053BE-FFA4-0E37-9012-72EBFBB24B65}"/>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8EA4FC1-E1E2-EB5B-F3A8-35C0174CD069}"/>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301782910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936A2-471C-0863-5548-CAC8B16A352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DE39A1-603C-C019-B8F5-377D8ABD586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839D6CF-9878-B68A-EADB-1D3FE3C33B7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E4C7E48-AD50-7F18-7023-811CAECDB53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750ml | NICOLAS | Assuming no other products are changing prices</a:t>
            </a:r>
          </a:p>
        </p:txBody>
      </p:sp>
      <p:sp>
        <p:nvSpPr>
          <p:cNvPr id="10" name="Title 9">
            <a:extLst>
              <a:ext uri="{FF2B5EF4-FFF2-40B4-BE49-F238E27FC236}">
                <a16:creationId xmlns:a16="http://schemas.microsoft.com/office/drawing/2014/main" id="{420592FF-C66E-B92D-F71F-56D7863E43B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C277506-E8AD-1B4B-BE8D-D0374752766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CF18E3F-7874-625F-D03E-E982AA5A54C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46E7EBE-B748-406D-EEB5-B3484A07F3B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74B1939-052B-D785-5354-71415A0F241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6AF9AB8-3B9F-EE8A-5055-5BC39D4A0DA9}"/>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904F9AB-9819-171B-3431-B4693F72A846}"/>
              </a:ext>
            </a:extLst>
          </p:cNvPr>
          <p:cNvSpPr>
            <a:spLocks noGrp="1"/>
          </p:cNvSpPr>
          <p:nvPr>
            <p:ph type="sldNum" sz="quarter" idx="16"/>
          </p:nvPr>
        </p:nvSpPr>
        <p:spPr/>
        <p:txBody>
          <a:bodyPr/>
          <a:lstStyle/>
          <a:p>
            <a:fld id="{7B1F438D-4EAF-094E-9162-80CF3EF77236}" type="slidenum">
              <a:rPr lang="en-US" smtClean="0"/>
              <a:pPr/>
              <a:t>197</a:t>
            </a:fld>
            <a:endParaRPr lang="en-US"/>
          </a:p>
        </p:txBody>
      </p:sp>
      <p:sp>
        <p:nvSpPr>
          <p:cNvPr id="22" name="Rectangle 21">
            <a:extLst>
              <a:ext uri="{FF2B5EF4-FFF2-40B4-BE49-F238E27FC236}">
                <a16:creationId xmlns:a16="http://schemas.microsoft.com/office/drawing/2014/main" id="{7AD53FF1-3993-73A1-13B6-D0533A4E317A}"/>
              </a:ext>
            </a:extLst>
          </p:cNvPr>
          <p:cNvSpPr/>
          <p:nvPr/>
        </p:nvSpPr>
        <p:spPr>
          <a:xfrm>
            <a:off x="97200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F621D972-4B9E-82D4-D586-A45E57B58F09}"/>
              </a:ext>
            </a:extLst>
          </p:cNvPr>
          <p:cNvSpPr/>
          <p:nvPr/>
        </p:nvSpPr>
        <p:spPr>
          <a:xfrm>
            <a:off x="232848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EC2C3E9B-BBC6-2A5C-ED1D-36FB95D65528}"/>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490F2C00-0130-986B-FA2C-F2C854FE32AC}"/>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1806324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DE155-9B5A-77EA-4FFE-271E56AE448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2C71D41-00DA-3EB0-8A14-9D4B351447D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DA6CF3-3338-0D08-6977-C165135F911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608B4D6-BC76-29F6-A7C2-1C1A709982C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0559A2F-A4EF-3775-3E0B-EA96657FE4E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3C7795E-3699-FEB1-7088-4D0A35BEBA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750ml (3.0%) | Up &amp; Down Pricing | NICOLAS | Assumes no other are changing prices</a:t>
            </a:r>
          </a:p>
        </p:txBody>
      </p:sp>
      <p:sp>
        <p:nvSpPr>
          <p:cNvPr id="4" name="Title1">
            <a:extLst>
              <a:ext uri="{FF2B5EF4-FFF2-40B4-BE49-F238E27FC236}">
                <a16:creationId xmlns:a16="http://schemas.microsoft.com/office/drawing/2014/main" id="{11FA3E31-39DB-549D-A26A-66576A0300D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44769F8-F28D-6C53-4558-BE5121408E2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EAEE830-B79A-E464-27CA-8C6A5EDFCD3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30B62B2-4C65-726C-CB20-D59F31E5248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C32C5A6-6077-1280-E656-AAC424D8F04F}"/>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E508EE4-737A-7CCB-AD03-CD61832C9A69}"/>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52816773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DD657-ED79-B7BC-AE31-116C87421E8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E25C1F4-1378-5795-E67D-104BEEB64B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617426F-C6C8-4C82-2BD9-C17D01BCA75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17ECDA8A-3EAF-E9EF-973F-5AB52807422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1500ml | NICOLAS | Assuming no other products are changing prices</a:t>
            </a:r>
          </a:p>
        </p:txBody>
      </p:sp>
      <p:sp>
        <p:nvSpPr>
          <p:cNvPr id="10" name="Title 9">
            <a:extLst>
              <a:ext uri="{FF2B5EF4-FFF2-40B4-BE49-F238E27FC236}">
                <a16:creationId xmlns:a16="http://schemas.microsoft.com/office/drawing/2014/main" id="{0B58C14C-49FE-3DB2-DAE3-C23DE10560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2375DF5-F92F-F6AF-715C-AA111E08C18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EEDAFF3-58B5-892D-2B41-57946113454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40A24D5-3C99-E303-D829-38D3633A7A3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5D6979B-150D-24DC-13A8-5A6DD28C1CB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8A6D60D-2828-A084-0B59-D81D31E0108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DBF1E5E-B7BC-8BDF-42B3-BDA8EEBF0853}"/>
              </a:ext>
            </a:extLst>
          </p:cNvPr>
          <p:cNvSpPr>
            <a:spLocks noGrp="1"/>
          </p:cNvSpPr>
          <p:nvPr>
            <p:ph type="sldNum" sz="quarter" idx="16"/>
          </p:nvPr>
        </p:nvSpPr>
        <p:spPr/>
        <p:txBody>
          <a:bodyPr/>
          <a:lstStyle/>
          <a:p>
            <a:fld id="{7B1F438D-4EAF-094E-9162-80CF3EF77236}" type="slidenum">
              <a:rPr lang="en-US" smtClean="0"/>
              <a:pPr/>
              <a:t>199</a:t>
            </a:fld>
            <a:endParaRPr lang="en-US"/>
          </a:p>
        </p:txBody>
      </p:sp>
      <p:sp>
        <p:nvSpPr>
          <p:cNvPr id="22" name="Rectangle 21">
            <a:extLst>
              <a:ext uri="{FF2B5EF4-FFF2-40B4-BE49-F238E27FC236}">
                <a16:creationId xmlns:a16="http://schemas.microsoft.com/office/drawing/2014/main" id="{6AFCA3AA-BF00-3353-0AE3-94FCC8BBD54C}"/>
              </a:ext>
            </a:extLst>
          </p:cNvPr>
          <p:cNvSpPr/>
          <p:nvPr/>
        </p:nvSpPr>
        <p:spPr>
          <a:xfrm>
            <a:off x="972000" y="1458000"/>
            <a:ext cx="2486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A41F36B-FA04-CE3B-E648-D555E13477C4}"/>
              </a:ext>
            </a:extLst>
          </p:cNvPr>
          <p:cNvSpPr/>
          <p:nvPr/>
        </p:nvSpPr>
        <p:spPr>
          <a:xfrm>
            <a:off x="345888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9BDBEFB-3C73-9E82-2457-E1BC7908D930}"/>
              </a:ext>
            </a:extLst>
          </p:cNvPr>
          <p:cNvSpPr/>
          <p:nvPr/>
        </p:nvSpPr>
        <p:spPr>
          <a:xfrm>
            <a:off x="362844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82E8C90C-EDF9-84D4-B398-C239576F32AF}"/>
              </a:ext>
            </a:extLst>
          </p:cNvPr>
          <p:cNvSpPr/>
          <p:nvPr/>
        </p:nvSpPr>
        <p:spPr>
          <a:xfrm>
            <a:off x="37414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A8EA13D-A87D-91B9-2959-30158541766E}"/>
              </a:ext>
            </a:extLst>
          </p:cNvPr>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28757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878F9-C586-43A7-3D7B-60948C2E2DF0}"/>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13FDE1D7-AC7B-C0C7-58BD-291EDEE47CC9}"/>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E7F3A423-8EC9-1351-CB3D-3CA6DE911561}"/>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38BEA98A-7AA4-BC34-D0A6-5E9822EE6E10}"/>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2747740C-125E-31C6-F72D-5FD91DF45573}"/>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5E23150A-CBCD-305D-0AC5-00D5289D1E6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D387B494-7441-DB6E-E273-1EB7390CECC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92C9CC6B-17CB-9507-15A1-E92B0EF22922}"/>
              </a:ext>
            </a:extLst>
          </p:cNvPr>
          <p:cNvSpPr>
            <a:spLocks noGrp="1"/>
          </p:cNvSpPr>
          <p:nvPr>
            <p:ph type="body" sz="quarter" idx="18"/>
          </p:nvPr>
        </p:nvSpPr>
        <p:spPr>
          <a:xfrm>
            <a:off x="503238" y="774000"/>
            <a:ext cx="8136762" cy="360000"/>
          </a:xfrm>
        </p:spPr>
        <p:txBody>
          <a:bodyPr/>
          <a:lstStyle/>
          <a:p>
            <a:pPr>
              <a:defRPr sz="1200"/>
            </a:pPr>
            <a:r>
              <a:t>Based on price change | by Brand | Champagnes | NICOLAS</a:t>
            </a:r>
          </a:p>
        </p:txBody>
      </p:sp>
      <p:sp>
        <p:nvSpPr>
          <p:cNvPr id="3" name="Title 2">
            <a:extLst>
              <a:ext uri="{FF2B5EF4-FFF2-40B4-BE49-F238E27FC236}">
                <a16:creationId xmlns:a16="http://schemas.microsoft.com/office/drawing/2014/main" id="{4F624C13-FA5C-CD68-1592-56DDA3F2DFBE}"/>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B3C68C01-BCE8-7A41-CCDA-B2CC1FF70A01}"/>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338B35C0-B919-18A3-162A-FAA31BFA1B3E}"/>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8DF5B41D-16CE-412A-BA43-06112A62D375}"/>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DF8D35EA-627F-3F07-3087-4142B6B49B33}"/>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F79B7997-8C1A-0568-3A52-3DDFA0165AD9}"/>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25DEB1FC-AE74-0DAE-2487-D193BFD92EB9}"/>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700B5A13-34FE-120F-16CC-8481FDE28FC6}"/>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63FACB0-8966-F149-E2D4-43451081AE25}"/>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B5471CCB-F0EE-C1EB-0F5C-F76867545265}"/>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F2B7DA61-C3BA-39DA-BB6B-05445F630090}"/>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8618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1EF34-657F-669D-F9DF-823BE01D469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91D7C2F-A52A-C1FB-09AB-2C3AC520887B}"/>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736F02B-CD71-8D4C-EC5A-7FFF5F8AA4B6}"/>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C01CD2B-33B9-29BE-543F-1B4D3CA7543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9F68620-ED5A-0750-BB81-B7C9F4CA48E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56C1605-A8F8-9281-C7CF-97784676CC9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a Augusta (0.5%) | Up &amp; Down Pricing | NICOLAS | Assumes no other are changing prices</a:t>
            </a:r>
          </a:p>
        </p:txBody>
      </p:sp>
      <p:sp>
        <p:nvSpPr>
          <p:cNvPr id="4" name="Title1">
            <a:extLst>
              <a:ext uri="{FF2B5EF4-FFF2-40B4-BE49-F238E27FC236}">
                <a16:creationId xmlns:a16="http://schemas.microsoft.com/office/drawing/2014/main" id="{72D84ABF-AE8B-E430-3F9E-87A1E83E52F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403B09C-48CF-5F94-B7CF-F2BA72A717A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5113AC0-75B0-F1F9-5BC6-BAC854F170D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9F2A247-42C9-4814-6099-0FB72E0BEAA4}"/>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AD71665F-7ED7-5102-6978-208EBE03DD54}"/>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41031534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13B61-2609-6555-59BC-3D40BCDA7FC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34A52B8-2D85-7653-B414-CAEE7116CE7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BE6CD6D-E86F-6F08-6246-EEFBBDAB17B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C1D47AE-5458-DC62-BC4F-A05A47A65B6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47B1743-3090-297E-3AFD-84CE2F4C701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68C5B18-4518-2F34-C9E2-920E7392438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1500ml (0.4%) | Up &amp; Down Pricing | NICOLAS | Assumes no other are changing prices</a:t>
            </a:r>
          </a:p>
        </p:txBody>
      </p:sp>
      <p:sp>
        <p:nvSpPr>
          <p:cNvPr id="4" name="Title1">
            <a:extLst>
              <a:ext uri="{FF2B5EF4-FFF2-40B4-BE49-F238E27FC236}">
                <a16:creationId xmlns:a16="http://schemas.microsoft.com/office/drawing/2014/main" id="{D48AB02A-4B24-6A77-4C0F-1919364149A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57DF700-3BA1-5731-D88B-87671132885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C6B38B1-F0ED-7CF5-A120-4C19F176F08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49B52BD-5FD8-8132-2F40-7791CC97E62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D8319FC-897E-37AE-C6E4-7A2CD7BF515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13F72195-929E-9647-FA47-7EA41F0598D5}"/>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409262861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96980-767B-791B-0F70-A851C126E6F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963A7C8-49D0-9776-84B7-29AFB03A48A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956D106-6763-E76C-1C36-6BD1DC6ED4A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BB234D26-BEFD-C827-D158-BB2B19FEDF3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Rosé 750ml | NICOLAS | Assuming no other products are changing prices</a:t>
            </a:r>
          </a:p>
        </p:txBody>
      </p:sp>
      <p:sp>
        <p:nvSpPr>
          <p:cNvPr id="10" name="Title 9">
            <a:extLst>
              <a:ext uri="{FF2B5EF4-FFF2-40B4-BE49-F238E27FC236}">
                <a16:creationId xmlns:a16="http://schemas.microsoft.com/office/drawing/2014/main" id="{D14AB269-0FE6-44F9-7294-CDFF682E5C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B99B586-0907-A095-0A04-943AAC400B4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060842F-E97E-2D7E-2962-4E547619FE5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E306170-CEEA-1C8B-8DA9-8E7542DFD1C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5BBA985-9618-8E16-6C0E-6CD2B4357D6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0FE519E-E1ED-0F8A-C13D-3B2FB4B1B354}"/>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3AF259A-7C3A-5989-ED61-B9BA546C2EE1}"/>
              </a:ext>
            </a:extLst>
          </p:cNvPr>
          <p:cNvSpPr>
            <a:spLocks noGrp="1"/>
          </p:cNvSpPr>
          <p:nvPr>
            <p:ph type="sldNum" sz="quarter" idx="16"/>
          </p:nvPr>
        </p:nvSpPr>
        <p:spPr/>
        <p:txBody>
          <a:bodyPr/>
          <a:lstStyle/>
          <a:p>
            <a:fld id="{7B1F438D-4EAF-094E-9162-80CF3EF77236}" type="slidenum">
              <a:rPr lang="en-US" smtClean="0"/>
              <a:pPr/>
              <a:t>201</a:t>
            </a:fld>
            <a:endParaRPr lang="en-US"/>
          </a:p>
        </p:txBody>
      </p:sp>
      <p:sp>
        <p:nvSpPr>
          <p:cNvPr id="22" name="Rectangle 21">
            <a:extLst>
              <a:ext uri="{FF2B5EF4-FFF2-40B4-BE49-F238E27FC236}">
                <a16:creationId xmlns:a16="http://schemas.microsoft.com/office/drawing/2014/main" id="{DEB6C4D0-20E4-65CE-8DBC-CAFA495A5A20}"/>
              </a:ext>
            </a:extLst>
          </p:cNvPr>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B320EE12-45CD-C19C-3CF6-96142F23B557}"/>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362776E7-F327-88C1-ACCE-7D8ED47D979E}"/>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7710458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6DA09-FE93-B2DB-F623-1A95ACC1BC7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F10C5C8-301C-09C4-5333-D3B75774164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BB2A440-E5C9-49F8-C958-FE7B51DB1C9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7710151-ABF1-080F-4421-40F0C96A068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0EB1A35-9AD4-302C-D499-D56A6C07F47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599219C-F8B1-3862-AF24-A4CA300D906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Rosé 750ml (0.7%) | Up &amp; Down Pricing | NICOLAS | Assumes no other are changing prices</a:t>
            </a:r>
          </a:p>
        </p:txBody>
      </p:sp>
      <p:sp>
        <p:nvSpPr>
          <p:cNvPr id="4" name="Title1">
            <a:extLst>
              <a:ext uri="{FF2B5EF4-FFF2-40B4-BE49-F238E27FC236}">
                <a16:creationId xmlns:a16="http://schemas.microsoft.com/office/drawing/2014/main" id="{65FA4663-B1F2-8BA9-C028-5388CAE5468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6544332-071D-2A1D-998C-9E99F7CEF9A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EFD6D48-45C7-DDF5-4173-67CF78E569F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5A22380-A7DB-9E60-0A15-1E85345620E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4A04467-2393-6DEC-2E8F-77EEAE3FDBF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9E4DA18-0E38-9E59-33F8-85AD1807AE4B}"/>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16690521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DF9CF-A067-0088-078F-F0AACC53567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B22ADA1-1326-E396-00CE-6B2288F80E9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CFE798B-AE70-F383-4EE6-46C54ED80CC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0EBBD224-A8F6-BEDD-AC87-55DAE222FE7E}"/>
              </a:ext>
            </a:extLst>
          </p:cNvPr>
          <p:cNvSpPr>
            <a:spLocks noGrp="1"/>
          </p:cNvSpPr>
          <p:nvPr>
            <p:ph type="body" sz="quarter" idx="18"/>
          </p:nvPr>
        </p:nvSpPr>
        <p:spPr>
          <a:xfrm>
            <a:off x="503238" y="774000"/>
            <a:ext cx="8136762" cy="360000"/>
          </a:xfrm>
        </p:spPr>
        <p:txBody>
          <a:bodyPr/>
          <a:lstStyle/>
          <a:p>
            <a:pPr>
              <a:defRPr sz="1200">
                <a:latin typeface="Nexa Bold (Headings)"/>
              </a:defRPr>
            </a:pPr>
            <a:r>
              <a:t>De Saint-Gall | Price Elasticity | NICOLAS | Assumes no other products are changing prices</a:t>
            </a:r>
          </a:p>
        </p:txBody>
      </p:sp>
      <p:sp>
        <p:nvSpPr>
          <p:cNvPr id="18" name="Title 17">
            <a:extLst>
              <a:ext uri="{FF2B5EF4-FFF2-40B4-BE49-F238E27FC236}">
                <a16:creationId xmlns:a16="http://schemas.microsoft.com/office/drawing/2014/main" id="{ECB781CC-FA63-0724-2457-E0477D71325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7CDB4F3-EE70-A5CE-2B0A-3F771267DAFD}"/>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Saint-Gall Tradition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BF46F56-198E-FF11-50F0-FDF05D96155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0264F8D-E2F8-212B-664F-1D20FB3418EA}"/>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A361EE88-8938-7A25-E40C-B5CE5F438E23}"/>
              </a:ext>
            </a:extLst>
          </p:cNvPr>
          <p:cNvSpPr>
            <a:spLocks noGrp="1"/>
          </p:cNvSpPr>
          <p:nvPr>
            <p:ph type="sldNum" sz="quarter" idx="16"/>
          </p:nvPr>
        </p:nvSpPr>
        <p:spPr/>
        <p:txBody>
          <a:bodyPr/>
          <a:lstStyle/>
          <a:p>
            <a:fld id="{7B1F438D-4EAF-094E-9162-80CF3EF77236}" type="slidenum">
              <a:rPr lang="en-US" smtClean="0"/>
              <a:pPr/>
              <a:t>203</a:t>
            </a:fld>
            <a:endParaRPr lang="en-US"/>
          </a:p>
        </p:txBody>
      </p:sp>
      <p:sp>
        <p:nvSpPr>
          <p:cNvPr id="3" name="TextBox Y">
            <a:extLst>
              <a:ext uri="{FF2B5EF4-FFF2-40B4-BE49-F238E27FC236}">
                <a16:creationId xmlns:a16="http://schemas.microsoft.com/office/drawing/2014/main" id="{FD2138FE-1D11-8097-DB9F-72E93C97807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1593261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F32876-9BFB-D4C3-5448-01A839D9DD7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4A66738-2ACA-EEA1-1254-95F35F3EF41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99C1EDC-9FDB-60D0-220E-BA51F3704E3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523DDEE-DD17-50DA-0E6C-8C63B7890E7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Saint-Gall Tradition 1er Cru 750ml | NICOLAS | Assuming no other products are changing prices</a:t>
            </a:r>
          </a:p>
        </p:txBody>
      </p:sp>
      <p:sp>
        <p:nvSpPr>
          <p:cNvPr id="10" name="Title 9">
            <a:extLst>
              <a:ext uri="{FF2B5EF4-FFF2-40B4-BE49-F238E27FC236}">
                <a16:creationId xmlns:a16="http://schemas.microsoft.com/office/drawing/2014/main" id="{2211D992-98BE-BE37-4B9E-23D6B6F54DF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3149620-940E-5CAD-084D-94261270452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9D6245D-D18D-E802-79D3-77AA5C4AC8D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6FA71D8-B65A-C919-28BF-C9A07B84A48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D0D2A97-D6A5-FD95-E011-D60D758E30A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577633E-E057-B998-25BE-FE429AC7591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0DFAD8F-45AB-4D22-4E74-545680EFFCE6}"/>
              </a:ext>
            </a:extLst>
          </p:cNvPr>
          <p:cNvSpPr>
            <a:spLocks noGrp="1"/>
          </p:cNvSpPr>
          <p:nvPr>
            <p:ph type="sldNum" sz="quarter" idx="16"/>
          </p:nvPr>
        </p:nvSpPr>
        <p:spPr/>
        <p:txBody>
          <a:bodyPr/>
          <a:lstStyle/>
          <a:p>
            <a:fld id="{7B1F438D-4EAF-094E-9162-80CF3EF77236}" type="slidenum">
              <a:rPr lang="en-US" smtClean="0"/>
              <a:pPr/>
              <a:t>204</a:t>
            </a:fld>
            <a:endParaRPr lang="en-US"/>
          </a:p>
        </p:txBody>
      </p:sp>
      <p:sp>
        <p:nvSpPr>
          <p:cNvPr id="22" name="Rectangle 21">
            <a:extLst>
              <a:ext uri="{FF2B5EF4-FFF2-40B4-BE49-F238E27FC236}">
                <a16:creationId xmlns:a16="http://schemas.microsoft.com/office/drawing/2014/main" id="{07D39012-FC01-172A-9A63-CDD621AA3279}"/>
              </a:ext>
            </a:extLst>
          </p:cNvPr>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8E8A2975-F428-FF06-D4DB-7C78DDA9F0C8}"/>
              </a:ext>
            </a:extLst>
          </p:cNvPr>
          <p:cNvSpPr/>
          <p:nvPr/>
        </p:nvSpPr>
        <p:spPr>
          <a:xfrm>
            <a:off x="21024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0241385A-BF92-0488-CF5A-ED32D2295D09}"/>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BFDC07B6-5126-01F2-B0B4-5850ECC59265}"/>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6556020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EEC52-4619-5D7D-4F24-7EDEE25BE39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884D055-DEA2-F202-9F7A-655E7837BAC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391437A-256B-CCF4-72EA-014EAE72946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681613F-BB5D-140C-87EC-E215913D800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1312FB0-1A1A-42B9-6475-3DA7B290D8B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4C8DA29-7F4D-BBF3-E587-6ABFA8EF2B3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Saint-Gall Tradition 1er Cru 750ml (0.8%) | Up &amp; Down Pricing | NICOLAS | Assumes no other are changing prices</a:t>
            </a:r>
          </a:p>
        </p:txBody>
      </p:sp>
      <p:sp>
        <p:nvSpPr>
          <p:cNvPr id="4" name="Title1">
            <a:extLst>
              <a:ext uri="{FF2B5EF4-FFF2-40B4-BE49-F238E27FC236}">
                <a16:creationId xmlns:a16="http://schemas.microsoft.com/office/drawing/2014/main" id="{EB24C227-5877-57B5-611A-ED98F58D02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97045F0-EBE0-4221-D064-C8E95CB106F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99135E2-D83A-BF18-FAF9-38520630FAB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1670E7B-F627-63E3-6855-C4EF81E263E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59DB262-5A1F-748D-FAD6-204A09761D6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61BE4383-EE8A-BF56-BFEF-C158044A2AC8}"/>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308569196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32465-9F2B-0BAB-421A-61B666F67F0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A398425-5EEA-24DA-D28C-E725748DECE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EA4D255-1BE0-4A22-E76A-FBEBF2EAE56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01F14F3D-FB08-4ACD-387D-AB70892800BB}"/>
              </a:ext>
            </a:extLst>
          </p:cNvPr>
          <p:cNvSpPr>
            <a:spLocks noGrp="1"/>
          </p:cNvSpPr>
          <p:nvPr>
            <p:ph type="body" sz="quarter" idx="18"/>
          </p:nvPr>
        </p:nvSpPr>
        <p:spPr>
          <a:xfrm>
            <a:off x="503238" y="774000"/>
            <a:ext cx="8136762" cy="360000"/>
          </a:xfrm>
        </p:spPr>
        <p:txBody>
          <a:bodyPr/>
          <a:lstStyle/>
          <a:p>
            <a:pPr>
              <a:defRPr sz="1200">
                <a:latin typeface="Nexa Bold (Headings)"/>
              </a:defRPr>
            </a:pPr>
            <a:r>
              <a:t>De Venoge | Price Elasticity | NICOLAS | Assumes no other products are changing prices</a:t>
            </a:r>
          </a:p>
        </p:txBody>
      </p:sp>
      <p:sp>
        <p:nvSpPr>
          <p:cNvPr id="18" name="Title 17">
            <a:extLst>
              <a:ext uri="{FF2B5EF4-FFF2-40B4-BE49-F238E27FC236}">
                <a16:creationId xmlns:a16="http://schemas.microsoft.com/office/drawing/2014/main" id="{822EC84F-A9B9-67DF-E019-E30E3421BEB0}"/>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1481741-1FEE-3688-C933-B4F994AA604D}"/>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Venoge Cordon Bleu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D49998A-8829-3BF7-2DCA-34179CABE3E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89FED73-271A-D624-5AB1-928213CE45E1}"/>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8ACC59B3-AA08-3D5E-68E4-74FF740F618C}"/>
              </a:ext>
            </a:extLst>
          </p:cNvPr>
          <p:cNvSpPr>
            <a:spLocks noGrp="1"/>
          </p:cNvSpPr>
          <p:nvPr>
            <p:ph type="sldNum" sz="quarter" idx="16"/>
          </p:nvPr>
        </p:nvSpPr>
        <p:spPr/>
        <p:txBody>
          <a:bodyPr/>
          <a:lstStyle/>
          <a:p>
            <a:fld id="{7B1F438D-4EAF-094E-9162-80CF3EF77236}" type="slidenum">
              <a:rPr lang="en-US" smtClean="0"/>
              <a:pPr/>
              <a:t>206</a:t>
            </a:fld>
            <a:endParaRPr lang="en-US"/>
          </a:p>
        </p:txBody>
      </p:sp>
      <p:sp>
        <p:nvSpPr>
          <p:cNvPr id="3" name="TextBox Y">
            <a:extLst>
              <a:ext uri="{FF2B5EF4-FFF2-40B4-BE49-F238E27FC236}">
                <a16:creationId xmlns:a16="http://schemas.microsoft.com/office/drawing/2014/main" id="{D6C54D84-DDB7-9997-09E9-E1F35BB0DEE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970711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1318E-EBC7-C2DC-4286-C62EA6BE548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97964E-C3E7-F076-75AE-091DE62E8C7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6F2EB7A-3864-ED88-E857-31B143E744D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F46091F-248A-C41E-87CF-47B406EF8FE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375ml | NICOLAS | Assuming no other products are changing prices</a:t>
            </a:r>
          </a:p>
        </p:txBody>
      </p:sp>
      <p:sp>
        <p:nvSpPr>
          <p:cNvPr id="10" name="Title 9">
            <a:extLst>
              <a:ext uri="{FF2B5EF4-FFF2-40B4-BE49-F238E27FC236}">
                <a16:creationId xmlns:a16="http://schemas.microsoft.com/office/drawing/2014/main" id="{F7A09DF9-5520-0577-4115-18941F07DFE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2E33AFF-5E6C-A728-67C8-0DAE8164493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94CF4D2-AD31-8E03-1978-64B83C8DACE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2BE35D3-30E7-D193-B849-7AD5D1EE03E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9DF2A62-B124-8569-CBF8-7D9F24126D9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E2BEB3D-FA4F-0513-E34B-ACEE6F8D6B2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972713B-6044-A98F-A86E-1AA233A73EF1}"/>
              </a:ext>
            </a:extLst>
          </p:cNvPr>
          <p:cNvSpPr>
            <a:spLocks noGrp="1"/>
          </p:cNvSpPr>
          <p:nvPr>
            <p:ph type="sldNum" sz="quarter" idx="16"/>
          </p:nvPr>
        </p:nvSpPr>
        <p:spPr/>
        <p:txBody>
          <a:bodyPr/>
          <a:lstStyle/>
          <a:p>
            <a:fld id="{7B1F438D-4EAF-094E-9162-80CF3EF77236}" type="slidenum">
              <a:rPr lang="en-US" smtClean="0"/>
              <a:pPr/>
              <a:t>207</a:t>
            </a:fld>
            <a:endParaRPr lang="en-US"/>
          </a:p>
        </p:txBody>
      </p:sp>
      <p:sp>
        <p:nvSpPr>
          <p:cNvPr id="22" name="Rectangle 21">
            <a:extLst>
              <a:ext uri="{FF2B5EF4-FFF2-40B4-BE49-F238E27FC236}">
                <a16:creationId xmlns:a16="http://schemas.microsoft.com/office/drawing/2014/main" id="{2FC74C03-6FF9-43E4-152E-DF2B92F9DAA6}"/>
              </a:ext>
            </a:extLst>
          </p:cNvPr>
          <p:cNvSpPr/>
          <p:nvPr/>
        </p:nvSpPr>
        <p:spPr>
          <a:xfrm>
            <a:off x="97200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45A804F-FA78-4A49-0F8E-705644C4EC23}"/>
              </a:ext>
            </a:extLst>
          </p:cNvPr>
          <p:cNvSpPr/>
          <p:nvPr/>
        </p:nvSpPr>
        <p:spPr>
          <a:xfrm>
            <a:off x="4193639"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1193253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6AD4A-A9ED-E032-C287-A88AD27BF3E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2F4BCE8-C1D5-3D67-30F7-6CB44E8BDAC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831BE53-96FC-4B5D-4A27-AC06C9ACFD8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EBE8248-C66A-899C-7D37-C02CD0E255B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CDC6F5A-9E74-E098-2C8A-7520665F628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F921C5C-EAAA-90EE-C702-74ED734A7BC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375ml (0.1%) | Up &amp; Down Pricing | NICOLAS | Assumes no other are changing prices</a:t>
            </a:r>
          </a:p>
        </p:txBody>
      </p:sp>
      <p:sp>
        <p:nvSpPr>
          <p:cNvPr id="4" name="Title1">
            <a:extLst>
              <a:ext uri="{FF2B5EF4-FFF2-40B4-BE49-F238E27FC236}">
                <a16:creationId xmlns:a16="http://schemas.microsoft.com/office/drawing/2014/main" id="{C4425F24-2211-98B4-ADD1-F448F11D557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14551AD-4B97-DA5C-DF1C-7B105073AF9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C60F18-20E3-B55C-0EDC-5718F7E894B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14EB338-5571-30C7-B5E1-72DC80F1EA1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C02E3BB-8FE2-AD14-E3D0-92B6A190B76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70E303A-ABF1-F7F2-9BF2-3E81AA5C86F8}"/>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233940166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CBC9C-0EAC-801A-BDBB-51FE9A72F54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35C92-1CB1-7FE7-A329-7798B36119E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419345D-8CD6-57C4-323D-9E44CC91EDA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A74002E-42BD-867D-8C39-C6AF06659F8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750ml | NICOLAS | Assuming no other products are changing prices</a:t>
            </a:r>
          </a:p>
        </p:txBody>
      </p:sp>
      <p:sp>
        <p:nvSpPr>
          <p:cNvPr id="10" name="Title 9">
            <a:extLst>
              <a:ext uri="{FF2B5EF4-FFF2-40B4-BE49-F238E27FC236}">
                <a16:creationId xmlns:a16="http://schemas.microsoft.com/office/drawing/2014/main" id="{4E003097-8E3D-9FD4-3BF2-FA8E8F2091A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FC5E6FF-0F50-299D-D36D-4E1455D5891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619ADC9-D035-010F-BED5-7D6719EBB0E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BB67517-70B0-EDFE-995B-50E2A1ECBBE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9ED328A-3D5B-5000-3255-270CA8CD245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7205A4D-1ABF-8B4D-F205-335B1F897BE2}"/>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B05868E2-8DD5-8BC9-343D-C41D5CEA4AB1}"/>
              </a:ext>
            </a:extLst>
          </p:cNvPr>
          <p:cNvSpPr>
            <a:spLocks noGrp="1"/>
          </p:cNvSpPr>
          <p:nvPr>
            <p:ph type="sldNum" sz="quarter" idx="16"/>
          </p:nvPr>
        </p:nvSpPr>
        <p:spPr/>
        <p:txBody>
          <a:bodyPr/>
          <a:lstStyle/>
          <a:p>
            <a:fld id="{7B1F438D-4EAF-094E-9162-80CF3EF77236}" type="slidenum">
              <a:rPr lang="en-US" smtClean="0"/>
              <a:pPr/>
              <a:t>209</a:t>
            </a:fld>
            <a:endParaRPr lang="en-US"/>
          </a:p>
        </p:txBody>
      </p:sp>
      <p:sp>
        <p:nvSpPr>
          <p:cNvPr id="22" name="Rectangle 21">
            <a:extLst>
              <a:ext uri="{FF2B5EF4-FFF2-40B4-BE49-F238E27FC236}">
                <a16:creationId xmlns:a16="http://schemas.microsoft.com/office/drawing/2014/main" id="{0CFC70EE-4C05-84D2-86C2-6A26007D5A35}"/>
              </a:ext>
            </a:extLst>
          </p:cNvPr>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BAAEA33-5CE8-944B-5447-BAF38689B581}"/>
              </a:ext>
            </a:extLst>
          </p:cNvPr>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7F9FD73A-CBAF-287E-92A5-A99097F3FE40}"/>
              </a:ext>
            </a:extLst>
          </p:cNvPr>
          <p:cNvSpPr/>
          <p:nvPr/>
        </p:nvSpPr>
        <p:spPr>
          <a:xfrm>
            <a:off x="36849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733CF724-A6DA-55F8-C2FC-8930CCA6AD59}"/>
              </a:ext>
            </a:extLst>
          </p:cNvPr>
          <p:cNvSpPr/>
          <p:nvPr/>
        </p:nvSpPr>
        <p:spPr>
          <a:xfrm>
            <a:off x="487188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7355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BD06A-49C7-584E-9D05-8D3AA2F9D1B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BBE5078-217D-A321-4887-F8401E9B47BC}"/>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81EC7C3-4C2D-8BBC-ABE6-F85A9DB4161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B60C67F-CF1C-3F75-B211-42B7E78C403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FBB1188-153E-267A-9B67-7C07B92C047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C3882DC-F361-2841-7A3A-5B9C0E03247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moiselle (3.5%) | Up &amp; Down Pricing | NICOLAS | Assumes no other are changing prices</a:t>
            </a:r>
          </a:p>
        </p:txBody>
      </p:sp>
      <p:sp>
        <p:nvSpPr>
          <p:cNvPr id="4" name="Title1">
            <a:extLst>
              <a:ext uri="{FF2B5EF4-FFF2-40B4-BE49-F238E27FC236}">
                <a16:creationId xmlns:a16="http://schemas.microsoft.com/office/drawing/2014/main" id="{95BC4E44-E597-3D00-E0B0-8F011B85D46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33145CD-59C2-8FF9-AD69-E0C11F146B9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E295D7E-C176-4454-D1AF-0CC0B55BEAC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43AEB1F-B658-1D7F-110A-68180CF53776}"/>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B6D5F7FD-7E41-9CBF-D1E0-742C94B080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90292100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336C2-180F-0EF2-B218-1273BD15904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FC05F52-0A2F-A33C-537B-B6829E9AC81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123AFA2-129C-9BB9-C601-4CDD68CE7E6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F7DA46E-DB78-B89A-7E5B-B8EAE595950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2E9CFFF-6624-B209-BF60-C5C1C054752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567A07E-57F7-C671-94FA-7967F7BA2DA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750ml (0.2%) | Up &amp; Down Pricing | NICOLAS | Assumes no other are changing prices</a:t>
            </a:r>
          </a:p>
        </p:txBody>
      </p:sp>
      <p:sp>
        <p:nvSpPr>
          <p:cNvPr id="4" name="Title1">
            <a:extLst>
              <a:ext uri="{FF2B5EF4-FFF2-40B4-BE49-F238E27FC236}">
                <a16:creationId xmlns:a16="http://schemas.microsoft.com/office/drawing/2014/main" id="{A4882AD2-9CE1-0B29-7E4B-47C0DF8116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70E8E1A-06C5-2099-62FD-A6780577F43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EC4DA8D-C533-7587-813A-868A8612B9C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7EAE453-2FF9-5AE5-644A-5CBFC908D00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6E3675F-1B34-39CE-2C60-AB2446DD0D1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ADE47D83-23C9-B6E3-F3CD-82BE239E812D}"/>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101054359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82A1A-3353-1002-0CD1-3B6E36DF74C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04E3987-B37C-A6B1-8840-9EFF0E64B38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676120D-D7C0-D532-98C6-CD7BBA911E2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D998172-E756-2507-AABB-E3B4B11E8B0A}"/>
              </a:ext>
            </a:extLst>
          </p:cNvPr>
          <p:cNvSpPr>
            <a:spLocks noGrp="1"/>
          </p:cNvSpPr>
          <p:nvPr>
            <p:ph type="body" sz="quarter" idx="18"/>
          </p:nvPr>
        </p:nvSpPr>
        <p:spPr>
          <a:xfrm>
            <a:off x="503238" y="774000"/>
            <a:ext cx="8136762" cy="360000"/>
          </a:xfrm>
        </p:spPr>
        <p:txBody>
          <a:bodyPr/>
          <a:lstStyle/>
          <a:p>
            <a:pPr>
              <a:defRPr sz="1200">
                <a:latin typeface="Nexa Bold (Headings)"/>
              </a:defRPr>
            </a:pPr>
            <a:r>
              <a:t>Vesselle | Price Elasticity | NICOLAS | Assumes no other products are changing prices</a:t>
            </a:r>
          </a:p>
        </p:txBody>
      </p:sp>
      <p:sp>
        <p:nvSpPr>
          <p:cNvPr id="18" name="Title 17">
            <a:extLst>
              <a:ext uri="{FF2B5EF4-FFF2-40B4-BE49-F238E27FC236}">
                <a16:creationId xmlns:a16="http://schemas.microsoft.com/office/drawing/2014/main" id="{FE16305F-19FE-1BD8-1D09-354A9A13984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B3EA734-74FA-193E-F092-4AAA447F8692}"/>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eorges Vesselle Grand Cr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48EF5A4-2F1A-83E6-54AD-8425A39DA98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610E6D5-075D-5AB0-99B0-F809DA17194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0441E1DB-6F5F-5A19-95AB-5E281ABC21D2}"/>
              </a:ext>
            </a:extLst>
          </p:cNvPr>
          <p:cNvSpPr>
            <a:spLocks noGrp="1"/>
          </p:cNvSpPr>
          <p:nvPr>
            <p:ph type="sldNum" sz="quarter" idx="16"/>
          </p:nvPr>
        </p:nvSpPr>
        <p:spPr/>
        <p:txBody>
          <a:bodyPr/>
          <a:lstStyle/>
          <a:p>
            <a:fld id="{7B1F438D-4EAF-094E-9162-80CF3EF77236}" type="slidenum">
              <a:rPr lang="en-US" smtClean="0"/>
              <a:pPr/>
              <a:t>211</a:t>
            </a:fld>
            <a:endParaRPr lang="en-US"/>
          </a:p>
        </p:txBody>
      </p:sp>
      <p:sp>
        <p:nvSpPr>
          <p:cNvPr id="3" name="TextBox Y">
            <a:extLst>
              <a:ext uri="{FF2B5EF4-FFF2-40B4-BE49-F238E27FC236}">
                <a16:creationId xmlns:a16="http://schemas.microsoft.com/office/drawing/2014/main" id="{F0DDC157-74A6-104A-2D34-AE754191DBD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023465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5631F-CBAE-4376-A2FB-61554A35237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7A1D271-7714-749B-466D-22865F424C2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29A7FBC-DC6F-A898-8721-615FD8E612C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D7B417E-5576-4BCB-106B-8B8675D20A1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eorges Vesselle Grand Cru Brut 750ml | NICOLAS | Assuming no other products are changing prices</a:t>
            </a:r>
          </a:p>
        </p:txBody>
      </p:sp>
      <p:sp>
        <p:nvSpPr>
          <p:cNvPr id="10" name="Title 9">
            <a:extLst>
              <a:ext uri="{FF2B5EF4-FFF2-40B4-BE49-F238E27FC236}">
                <a16:creationId xmlns:a16="http://schemas.microsoft.com/office/drawing/2014/main" id="{99D68EDE-3A33-5DBC-9B33-F111D0D7A5C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5523EE2-F762-EF55-14D3-D7E8FCC764C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7DA63F6-55CE-E638-BD09-46880BD5F6B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833E4F8-9551-1E3A-FD0A-C19F9972DC4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1D219EC-C55D-78ED-B6B3-154049D7005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EE62BF-54D5-E58F-156E-97EAA465CC5D}"/>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77B82DC-0767-159A-320C-4243295D34AE}"/>
              </a:ext>
            </a:extLst>
          </p:cNvPr>
          <p:cNvSpPr>
            <a:spLocks noGrp="1"/>
          </p:cNvSpPr>
          <p:nvPr>
            <p:ph type="sldNum" sz="quarter" idx="16"/>
          </p:nvPr>
        </p:nvSpPr>
        <p:spPr/>
        <p:txBody>
          <a:bodyPr/>
          <a:lstStyle/>
          <a:p>
            <a:fld id="{7B1F438D-4EAF-094E-9162-80CF3EF77236}" type="slidenum">
              <a:rPr lang="en-US" smtClean="0"/>
              <a:pPr/>
              <a:t>212</a:t>
            </a:fld>
            <a:endParaRPr lang="en-US"/>
          </a:p>
        </p:txBody>
      </p:sp>
      <p:sp>
        <p:nvSpPr>
          <p:cNvPr id="22" name="Rectangle 21">
            <a:extLst>
              <a:ext uri="{FF2B5EF4-FFF2-40B4-BE49-F238E27FC236}">
                <a16:creationId xmlns:a16="http://schemas.microsoft.com/office/drawing/2014/main" id="{B6D4C6A9-5AD3-02EC-0C27-C3AEF851FD15}"/>
              </a:ext>
            </a:extLst>
          </p:cNvPr>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F42F0A70-3CA5-B9BA-D20C-83952475A77C}"/>
              </a:ext>
            </a:extLst>
          </p:cNvPr>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34EF9705-C878-414C-8055-01CC358FF16C}"/>
              </a:ext>
            </a:extLst>
          </p:cNvPr>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088918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97851-4D68-AE77-F679-1F40BC755E0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ADCFCE6-E624-E57F-289D-933F737A9D3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3D7FFF5-17F7-7B49-7859-7C9AEF58992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D164E7E-DC51-E5CD-EB80-51E4E30A003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376FA4C-D17F-AC1F-99E6-BD10ADE6BE0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EA224F9-51B6-26A7-3921-93EC49EF039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eorges Vesselle Grand Cru Brut 750ml (1.0%) | Up &amp; Down Pricing | NICOLAS | Assumes no other are changing prices</a:t>
            </a:r>
          </a:p>
        </p:txBody>
      </p:sp>
      <p:sp>
        <p:nvSpPr>
          <p:cNvPr id="4" name="Title1">
            <a:extLst>
              <a:ext uri="{FF2B5EF4-FFF2-40B4-BE49-F238E27FC236}">
                <a16:creationId xmlns:a16="http://schemas.microsoft.com/office/drawing/2014/main" id="{FF8D3C32-78C8-BB41-90C5-8575123AF9A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7C12B84-DBD0-1822-A40A-8E7B98D6502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F25EFBB-8149-4E76-AA57-7A4A0C03E8E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DD39B56-5975-DAC3-1522-5861F01C089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62C482D-B7AF-18B9-3BD9-1557F4DE50B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D4D334B-875A-F8B7-1DD7-73DAF30F1BE9}"/>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72263574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422F1-9C1D-41F3-4EAC-DF88D2A68D7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7ABA369-465C-1E72-B2B2-570DAABC84F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63218C2-E9EC-DEC6-1BB1-937057F0456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730C0701-B1F7-E25D-7E99-50B54562587C}"/>
              </a:ext>
            </a:extLst>
          </p:cNvPr>
          <p:cNvSpPr>
            <a:spLocks noGrp="1"/>
          </p:cNvSpPr>
          <p:nvPr>
            <p:ph type="body" sz="quarter" idx="18"/>
          </p:nvPr>
        </p:nvSpPr>
        <p:spPr>
          <a:xfrm>
            <a:off x="503238" y="774000"/>
            <a:ext cx="8136762" cy="360000"/>
          </a:xfrm>
        </p:spPr>
        <p:txBody>
          <a:bodyPr/>
          <a:lstStyle/>
          <a:p>
            <a:pPr>
              <a:defRPr sz="1200">
                <a:latin typeface="Nexa Bold (Headings)"/>
              </a:defRPr>
            </a:pPr>
            <a:r>
              <a:t>Demoiselle | Price Elasticity | NICOLAS | Assumes no other products are changing prices</a:t>
            </a:r>
          </a:p>
        </p:txBody>
      </p:sp>
      <p:sp>
        <p:nvSpPr>
          <p:cNvPr id="18" name="Title 17">
            <a:extLst>
              <a:ext uri="{FF2B5EF4-FFF2-40B4-BE49-F238E27FC236}">
                <a16:creationId xmlns:a16="http://schemas.microsoft.com/office/drawing/2014/main" id="{1D029775-25E7-648B-5FA3-44C28B3884C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9CEB67D-C769-9CB0-311F-E81C7405BA2E}"/>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ranken Demoiselle Rosé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Vranken Demoiselle Tête d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768F56C-78CF-0AFC-0E4E-B5D82562E98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2300F23-92F9-E3AC-8E29-0043B60273C5}"/>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CE0FD1E0-91D3-3705-9A96-25EF16B7771F}"/>
              </a:ext>
            </a:extLst>
          </p:cNvPr>
          <p:cNvSpPr>
            <a:spLocks noGrp="1"/>
          </p:cNvSpPr>
          <p:nvPr>
            <p:ph type="sldNum" sz="quarter" idx="16"/>
          </p:nvPr>
        </p:nvSpPr>
        <p:spPr/>
        <p:txBody>
          <a:bodyPr/>
          <a:lstStyle/>
          <a:p>
            <a:fld id="{7B1F438D-4EAF-094E-9162-80CF3EF77236}" type="slidenum">
              <a:rPr lang="en-US" smtClean="0"/>
              <a:pPr/>
              <a:t>214</a:t>
            </a:fld>
            <a:endParaRPr lang="en-US"/>
          </a:p>
        </p:txBody>
      </p:sp>
      <p:sp>
        <p:nvSpPr>
          <p:cNvPr id="3" name="TextBox Y">
            <a:extLst>
              <a:ext uri="{FF2B5EF4-FFF2-40B4-BE49-F238E27FC236}">
                <a16:creationId xmlns:a16="http://schemas.microsoft.com/office/drawing/2014/main" id="{20652079-5A3A-6035-151D-E9B8AFF6DDB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8181233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6600F-F4C0-EEFC-7766-280EB819D4E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7C7DB52-494D-5FDD-5781-91CD1827689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E19B4A3-E4F5-07F8-C0F2-F86B962C0F5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9997E00-5088-1A0A-0BBC-27822F81D22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Rosé Prestige 750ml | NICOLAS | Assuming no other products are changing prices</a:t>
            </a:r>
          </a:p>
        </p:txBody>
      </p:sp>
      <p:sp>
        <p:nvSpPr>
          <p:cNvPr id="10" name="Title 9">
            <a:extLst>
              <a:ext uri="{FF2B5EF4-FFF2-40B4-BE49-F238E27FC236}">
                <a16:creationId xmlns:a16="http://schemas.microsoft.com/office/drawing/2014/main" id="{DF885820-443F-6E4F-74DC-24A7BFDF03A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0BE2CD4-9C43-5914-5CA7-268330F0D7B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0F68A01-2297-8C66-ABFF-24A604D96C9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359AFAC-4A47-AE49-384F-2F5652F953D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B7D369F-146C-C9DA-2B2D-351D27FEE58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0ADD1AB-2DAF-3CC8-9A37-08B80F1F87CE}"/>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5EAC0BE-BC8B-E953-2F6D-484DB83EA254}"/>
              </a:ext>
            </a:extLst>
          </p:cNvPr>
          <p:cNvSpPr>
            <a:spLocks noGrp="1"/>
          </p:cNvSpPr>
          <p:nvPr>
            <p:ph type="sldNum" sz="quarter" idx="16"/>
          </p:nvPr>
        </p:nvSpPr>
        <p:spPr/>
        <p:txBody>
          <a:bodyPr/>
          <a:lstStyle/>
          <a:p>
            <a:fld id="{7B1F438D-4EAF-094E-9162-80CF3EF77236}" type="slidenum">
              <a:rPr lang="en-US" smtClean="0"/>
              <a:pPr/>
              <a:t>215</a:t>
            </a:fld>
            <a:endParaRPr lang="en-US"/>
          </a:p>
        </p:txBody>
      </p:sp>
      <p:sp>
        <p:nvSpPr>
          <p:cNvPr id="22" name="Rectangle 21">
            <a:extLst>
              <a:ext uri="{FF2B5EF4-FFF2-40B4-BE49-F238E27FC236}">
                <a16:creationId xmlns:a16="http://schemas.microsoft.com/office/drawing/2014/main" id="{F5C5455A-2233-2AF9-5566-9D55C2F7C0F4}"/>
              </a:ext>
            </a:extLst>
          </p:cNvPr>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EB89E503-E659-3E3B-BA66-699E0BEB3EE4}"/>
              </a:ext>
            </a:extLst>
          </p:cNvPr>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33920237-569D-ABA8-2988-6003BDE235E0}"/>
              </a:ext>
            </a:extLst>
          </p:cNvPr>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1864592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A36F2-D51B-56F3-20C7-FE0592D3DE0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682E4B-50BA-083A-E567-72028C35A97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6D26372-96A0-77B4-A8AE-AA31723EC45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451B8D7-E82F-5956-3CC0-36601C4D90A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DF9946D-5F37-72C6-3D16-CE349F21A84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440EDBC-844D-BB99-48C7-FA0CD99191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Rosé Prestige 750ml (2.0%) | Up &amp; Down Pricing | NICOLAS | Assumes no other are changing prices</a:t>
            </a:r>
          </a:p>
        </p:txBody>
      </p:sp>
      <p:sp>
        <p:nvSpPr>
          <p:cNvPr id="4" name="Title1">
            <a:extLst>
              <a:ext uri="{FF2B5EF4-FFF2-40B4-BE49-F238E27FC236}">
                <a16:creationId xmlns:a16="http://schemas.microsoft.com/office/drawing/2014/main" id="{406CDFCC-E665-F51B-B813-1DABDD57D87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35DE1CB-1BCC-57E2-C166-595D395648A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342AE26-D2E3-2802-EE41-41491719FF1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571B664-4995-0D53-A2CF-05E36B0C554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EDC529B-1AE2-CAFA-CA8E-7782EE2423A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0A49C71-EB97-A40E-90C9-F1D729E60614}"/>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336233814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F8187-E3A5-DF25-DE9B-3130FCD74B5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943C895-FDA2-063A-29AD-CAEBD55FDB6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8C6550E-77B8-F085-F7B5-7FF1F2B137D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03049D6-5C03-C088-504E-A7C9ED311DF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Tête de Cuvée 750ml | NICOLAS | Assuming no other products are changing prices</a:t>
            </a:r>
          </a:p>
        </p:txBody>
      </p:sp>
      <p:sp>
        <p:nvSpPr>
          <p:cNvPr id="10" name="Title 9">
            <a:extLst>
              <a:ext uri="{FF2B5EF4-FFF2-40B4-BE49-F238E27FC236}">
                <a16:creationId xmlns:a16="http://schemas.microsoft.com/office/drawing/2014/main" id="{BA5C760C-DB73-F751-B429-3AB9B86E7D7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78FFE08-3AB7-489E-0764-EBF5E8533E0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9D6F1D6-0AD9-B5E8-E6D6-7D3985DB87F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D5D3B71-6694-6FC5-DA8C-5BEB5FC9DB0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C4C66A6-31E6-F14C-5632-8570C7D9A16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4173C80-0226-D823-83A6-4E98C913DC2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76EBA5E-1380-8D00-E64B-BD453B32108D}"/>
              </a:ext>
            </a:extLst>
          </p:cNvPr>
          <p:cNvSpPr>
            <a:spLocks noGrp="1"/>
          </p:cNvSpPr>
          <p:nvPr>
            <p:ph type="sldNum" sz="quarter" idx="16"/>
          </p:nvPr>
        </p:nvSpPr>
        <p:spPr/>
        <p:txBody>
          <a:bodyPr/>
          <a:lstStyle/>
          <a:p>
            <a:fld id="{7B1F438D-4EAF-094E-9162-80CF3EF77236}" type="slidenum">
              <a:rPr lang="en-US" smtClean="0"/>
              <a:pPr/>
              <a:t>217</a:t>
            </a:fld>
            <a:endParaRPr lang="en-US"/>
          </a:p>
        </p:txBody>
      </p:sp>
      <p:sp>
        <p:nvSpPr>
          <p:cNvPr id="22" name="Rectangle 21">
            <a:extLst>
              <a:ext uri="{FF2B5EF4-FFF2-40B4-BE49-F238E27FC236}">
                <a16:creationId xmlns:a16="http://schemas.microsoft.com/office/drawing/2014/main" id="{E511F989-A445-44A1-A684-73F1D7B95AD5}"/>
              </a:ext>
            </a:extLst>
          </p:cNvPr>
          <p:cNvSpPr/>
          <p:nvPr/>
        </p:nvSpPr>
        <p:spPr>
          <a:xfrm>
            <a:off x="9720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C124EA6-6B9A-D7EF-0F1D-E0A1C91B089B}"/>
              </a:ext>
            </a:extLst>
          </p:cNvPr>
          <p:cNvSpPr/>
          <p:nvPr/>
        </p:nvSpPr>
        <p:spPr>
          <a:xfrm>
            <a:off x="18763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EF6C7580-C92A-F914-2E38-FCD4B869F80D}"/>
              </a:ext>
            </a:extLst>
          </p:cNvPr>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2F91D324-AEEB-6238-20AF-3756C4D12E44}"/>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746229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21A2B-A7F4-A3AE-672F-07A1B795985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A89569A-EAF3-0921-55AA-79D5A9AF1FA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C545E5B-E05C-4102-C038-A440A6E332A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B5D982B-8993-AF67-D7D0-565BBD7D8F7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8F4C3A3-6BE0-0D7C-1020-FB1E40B1EAA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D3393E4-9563-3B08-4B66-7702E76EF60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Tête de Cuvée 750ml (1.4%) | Up &amp; Down Pricing | NICOLAS | Assumes no other are changing prices</a:t>
            </a:r>
          </a:p>
        </p:txBody>
      </p:sp>
      <p:sp>
        <p:nvSpPr>
          <p:cNvPr id="4" name="Title1">
            <a:extLst>
              <a:ext uri="{FF2B5EF4-FFF2-40B4-BE49-F238E27FC236}">
                <a16:creationId xmlns:a16="http://schemas.microsoft.com/office/drawing/2014/main" id="{700906A8-1911-3690-0EAC-121CD92617C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383782F-0B20-9997-3A0D-502E5C0AE81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181390E-557D-8158-B729-DF844A6FBBA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706E78B-010F-F56B-4466-CC69CC22CA1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3974611-8EE6-16FE-9D04-21B826AEE7E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C2418CA-1CD7-E3F3-9FD0-97FBCF708227}"/>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00160954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48361-2E08-51E9-C737-0E8CC96FA0E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8EA8893-A6D5-BB92-9F5C-6DEFB0BEECA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F486B18-D06C-3848-2703-7A8B1E23611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2007FA12-8797-8C80-5123-4ADEED5E2C5C}"/>
              </a:ext>
            </a:extLst>
          </p:cNvPr>
          <p:cNvSpPr>
            <a:spLocks noGrp="1"/>
          </p:cNvSpPr>
          <p:nvPr>
            <p:ph type="body" sz="quarter" idx="18"/>
          </p:nvPr>
        </p:nvSpPr>
        <p:spPr>
          <a:xfrm>
            <a:off x="503238" y="774000"/>
            <a:ext cx="8136762" cy="360000"/>
          </a:xfrm>
        </p:spPr>
        <p:txBody>
          <a:bodyPr/>
          <a:lstStyle/>
          <a:p>
            <a:pPr>
              <a:defRPr sz="1200">
                <a:latin typeface="Nexa Bold (Headings)"/>
              </a:defRPr>
            </a:pPr>
            <a:r>
              <a:t>Monople | Price Elasticity | NICOLAS | Assumes no other products are changing prices</a:t>
            </a:r>
          </a:p>
        </p:txBody>
      </p:sp>
      <p:sp>
        <p:nvSpPr>
          <p:cNvPr id="18" name="Title 17">
            <a:extLst>
              <a:ext uri="{FF2B5EF4-FFF2-40B4-BE49-F238E27FC236}">
                <a16:creationId xmlns:a16="http://schemas.microsoft.com/office/drawing/2014/main" id="{2A51F22A-3599-FA50-7A15-DE037D5DA334}"/>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6B8A1CB0-24BE-28DC-0B90-A147864F9587}"/>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idsieck Monopole Silver T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D7ACB72-4689-27F3-938C-B967C1C03F5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D2F4914-1CEE-F495-329D-E7C08570CD2D}"/>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66B63B73-D57A-273B-E5CD-54427967BC72}"/>
              </a:ext>
            </a:extLst>
          </p:cNvPr>
          <p:cNvSpPr>
            <a:spLocks noGrp="1"/>
          </p:cNvSpPr>
          <p:nvPr>
            <p:ph type="sldNum" sz="quarter" idx="16"/>
          </p:nvPr>
        </p:nvSpPr>
        <p:spPr/>
        <p:txBody>
          <a:bodyPr/>
          <a:lstStyle/>
          <a:p>
            <a:fld id="{7B1F438D-4EAF-094E-9162-80CF3EF77236}" type="slidenum">
              <a:rPr lang="en-US" smtClean="0"/>
              <a:pPr/>
              <a:t>219</a:t>
            </a:fld>
            <a:endParaRPr lang="en-US"/>
          </a:p>
        </p:txBody>
      </p:sp>
      <p:sp>
        <p:nvSpPr>
          <p:cNvPr id="3" name="TextBox Y">
            <a:extLst>
              <a:ext uri="{FF2B5EF4-FFF2-40B4-BE49-F238E27FC236}">
                <a16:creationId xmlns:a16="http://schemas.microsoft.com/office/drawing/2014/main" id="{4C7FB54A-21BC-974E-4051-B3F0428E11A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75544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C3877-C0F2-E962-5A4B-96B9F59C4EE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FD3FFB4-4588-B5FB-867D-F8AF140F944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4AA0D7B-6EFF-4928-F597-EE581139842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34A30A6-29D9-FF3C-8049-1AA63985061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77B770B-D84F-66D0-8E4B-952A60D9C7A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C7834D6-E783-96DD-B6A0-075FDA3F4B2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utz (4.8%) | Up &amp; Down Pricing | NICOLAS | Assumes no other are changing prices</a:t>
            </a:r>
          </a:p>
        </p:txBody>
      </p:sp>
      <p:sp>
        <p:nvSpPr>
          <p:cNvPr id="4" name="Title1">
            <a:extLst>
              <a:ext uri="{FF2B5EF4-FFF2-40B4-BE49-F238E27FC236}">
                <a16:creationId xmlns:a16="http://schemas.microsoft.com/office/drawing/2014/main" id="{00DCE562-9E3B-6FD7-529D-3086A17C1AB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02E679B-8F77-439E-39DE-255E67557EC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3F1CCE0-DA53-6085-7A0D-974FD1EADCB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067D3082-2C3D-87B6-3B93-72FBD6C13956}"/>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18699EDA-F6B8-76A4-74FA-0093D4D9144F}"/>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95601493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746F0-39E0-8C9F-BE58-FD517AC73B7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2A8FD72-44C4-E67C-2289-3DC99E2B473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3B7F359-2299-0120-B45A-1F12351145E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0C28BA5-DACE-00D3-0076-3EB9845DDEF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idsieck Monopole Silver Top 750ml | NICOLAS | Assuming no other products are changing prices</a:t>
            </a:r>
          </a:p>
        </p:txBody>
      </p:sp>
      <p:sp>
        <p:nvSpPr>
          <p:cNvPr id="10" name="Title 9">
            <a:extLst>
              <a:ext uri="{FF2B5EF4-FFF2-40B4-BE49-F238E27FC236}">
                <a16:creationId xmlns:a16="http://schemas.microsoft.com/office/drawing/2014/main" id="{38C1B5EE-734B-F50E-954E-A498B49EBDF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64BC759-D651-D89D-A5A6-9889F07945E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40A2349-115F-4F25-AF42-AA88C6574A4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85642D4-872F-FBFA-9EF4-45616F1BEBA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489A1E6-FE41-7A8E-8D30-A34C53BA8C9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DAB09E1-C1C2-7755-3222-683413D2934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A1AAF89-0E0B-27B0-186D-A5E7FEEA125A}"/>
              </a:ext>
            </a:extLst>
          </p:cNvPr>
          <p:cNvSpPr>
            <a:spLocks noGrp="1"/>
          </p:cNvSpPr>
          <p:nvPr>
            <p:ph type="sldNum" sz="quarter" idx="16"/>
          </p:nvPr>
        </p:nvSpPr>
        <p:spPr/>
        <p:txBody>
          <a:bodyPr/>
          <a:lstStyle/>
          <a:p>
            <a:fld id="{7B1F438D-4EAF-094E-9162-80CF3EF77236}" type="slidenum">
              <a:rPr lang="en-US" smtClean="0"/>
              <a:pPr/>
              <a:t>220</a:t>
            </a:fld>
            <a:endParaRPr lang="en-US"/>
          </a:p>
        </p:txBody>
      </p:sp>
      <p:sp>
        <p:nvSpPr>
          <p:cNvPr id="22" name="Rectangle 21">
            <a:extLst>
              <a:ext uri="{FF2B5EF4-FFF2-40B4-BE49-F238E27FC236}">
                <a16:creationId xmlns:a16="http://schemas.microsoft.com/office/drawing/2014/main" id="{A1D55DF2-4464-FF2E-6D8E-A56B66F0553C}"/>
              </a:ext>
            </a:extLst>
          </p:cNvPr>
          <p:cNvSpPr/>
          <p:nvPr/>
        </p:nvSpPr>
        <p:spPr>
          <a:xfrm>
            <a:off x="9720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8A6D079E-CDE7-0909-7588-22AE876C58FC}"/>
              </a:ext>
            </a:extLst>
          </p:cNvPr>
          <p:cNvSpPr/>
          <p:nvPr/>
        </p:nvSpPr>
        <p:spPr>
          <a:xfrm>
            <a:off x="3515400" y="1458000"/>
            <a:ext cx="3108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3692104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87398-23C6-8B05-FE7B-94E88C64A01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E558F33-7AE0-275F-3A87-9246E9A3D65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8A9D1A7-E4F0-2AB2-9473-250AB92ACC1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Piper-Heidsieck Essential by Nicolas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BF6E421-5544-2CFC-62FB-A8C1E0548B9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B1FD731-4657-A18E-6E19-B00BB86CA91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5DC036F-F6F8-988D-CD9C-0EA6D4D9682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idsieck Monopole Silver Top 750ml (4.2%) | Up &amp; Down Pricing | NICOLAS | Assumes no other are changing prices</a:t>
            </a:r>
          </a:p>
        </p:txBody>
      </p:sp>
      <p:sp>
        <p:nvSpPr>
          <p:cNvPr id="4" name="Title1">
            <a:extLst>
              <a:ext uri="{FF2B5EF4-FFF2-40B4-BE49-F238E27FC236}">
                <a16:creationId xmlns:a16="http://schemas.microsoft.com/office/drawing/2014/main" id="{28EF8B07-310A-A2BD-3785-874D76CBF5E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15134C6-5A91-FB1B-F06F-E0D600F24C3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C7835E-560B-C06D-1FD8-81D62D418BE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F013C61-B118-89DA-AEB6-6277A674565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2964A23-E826-E627-FF97-6F710B240E5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A9FF7165-97FD-7DB6-40EF-8B2F41F75430}"/>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347228342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CA361-47CD-D8CF-82A9-7B7123121C3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6F99C72-AD18-538F-6E8F-803BFE6EDFC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68FA177-791F-EBE2-564E-3B688628B6D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6E5D80D4-14B4-3746-EA88-A364E3756E51}"/>
              </a:ext>
            </a:extLst>
          </p:cNvPr>
          <p:cNvSpPr>
            <a:spLocks noGrp="1"/>
          </p:cNvSpPr>
          <p:nvPr>
            <p:ph type="body" sz="quarter" idx="18"/>
          </p:nvPr>
        </p:nvSpPr>
        <p:spPr>
          <a:xfrm>
            <a:off x="503238" y="774000"/>
            <a:ext cx="8136762" cy="360000"/>
          </a:xfrm>
        </p:spPr>
        <p:txBody>
          <a:bodyPr/>
          <a:lstStyle/>
          <a:p>
            <a:pPr>
              <a:defRPr sz="1200">
                <a:latin typeface="Nexa Bold (Headings)"/>
              </a:defRPr>
            </a:pPr>
            <a:r>
              <a:t>Pommery | Price Elasticity | NICOLAS | Assumes no other products are changing prices</a:t>
            </a:r>
          </a:p>
        </p:txBody>
      </p:sp>
      <p:sp>
        <p:nvSpPr>
          <p:cNvPr id="18" name="Title 17">
            <a:extLst>
              <a:ext uri="{FF2B5EF4-FFF2-40B4-BE49-F238E27FC236}">
                <a16:creationId xmlns:a16="http://schemas.microsoft.com/office/drawing/2014/main" id="{2C44A234-6498-AE93-4D36-49CAE7E71EA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67D938D-8E3B-3285-60A4-1ADB1E299A14}"/>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mmery Brut Silve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B9F4F2B-E63A-1B38-55C0-6D1103C3B55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A1DDD8B-FD7A-119F-6187-4D79084BAF31}"/>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E702A9DA-F6F3-6C9C-7E83-682F95A78516}"/>
              </a:ext>
            </a:extLst>
          </p:cNvPr>
          <p:cNvSpPr>
            <a:spLocks noGrp="1"/>
          </p:cNvSpPr>
          <p:nvPr>
            <p:ph type="sldNum" sz="quarter" idx="16"/>
          </p:nvPr>
        </p:nvSpPr>
        <p:spPr/>
        <p:txBody>
          <a:bodyPr/>
          <a:lstStyle/>
          <a:p>
            <a:fld id="{7B1F438D-4EAF-094E-9162-80CF3EF77236}" type="slidenum">
              <a:rPr lang="en-US" smtClean="0"/>
              <a:pPr/>
              <a:t>222</a:t>
            </a:fld>
            <a:endParaRPr lang="en-US"/>
          </a:p>
        </p:txBody>
      </p:sp>
      <p:sp>
        <p:nvSpPr>
          <p:cNvPr id="3" name="TextBox Y">
            <a:extLst>
              <a:ext uri="{FF2B5EF4-FFF2-40B4-BE49-F238E27FC236}">
                <a16:creationId xmlns:a16="http://schemas.microsoft.com/office/drawing/2014/main" id="{58EDE870-A78E-0300-07CF-18E849DDD94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6253684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B434C-10C1-F8ED-ADD3-8C0B7EFB597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40004B4-604A-6FBC-896F-B87705E7D08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4260DE5-6CEE-0639-8E69-7FEA9D36F19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B29C2B40-7899-42E6-4805-BF1330DA026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mmery Brut Silver 750ml | NICOLAS | Assuming no other products are changing prices</a:t>
            </a:r>
          </a:p>
        </p:txBody>
      </p:sp>
      <p:sp>
        <p:nvSpPr>
          <p:cNvPr id="10" name="Title 9">
            <a:extLst>
              <a:ext uri="{FF2B5EF4-FFF2-40B4-BE49-F238E27FC236}">
                <a16:creationId xmlns:a16="http://schemas.microsoft.com/office/drawing/2014/main" id="{8B2DDAD2-9375-B674-20D0-58F3FDAD3EA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5425E92-5B61-3E60-2CBB-47783CFE53C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EB0FE84-A736-80E9-7131-C403DBAD137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28DAB80-303F-DDFE-97AF-17CC4F92880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3A2ED2B-DA24-DA61-42F1-3E5A033B2AE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914D23F-FEAE-E532-4DBB-906926C10A1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E749317-5997-4EA8-6B84-52374C5DE538}"/>
              </a:ext>
            </a:extLst>
          </p:cNvPr>
          <p:cNvSpPr>
            <a:spLocks noGrp="1"/>
          </p:cNvSpPr>
          <p:nvPr>
            <p:ph type="sldNum" sz="quarter" idx="16"/>
          </p:nvPr>
        </p:nvSpPr>
        <p:spPr/>
        <p:txBody>
          <a:bodyPr/>
          <a:lstStyle/>
          <a:p>
            <a:fld id="{7B1F438D-4EAF-094E-9162-80CF3EF77236}" type="slidenum">
              <a:rPr lang="en-US" smtClean="0"/>
              <a:pPr/>
              <a:t>223</a:t>
            </a:fld>
            <a:endParaRPr lang="en-US"/>
          </a:p>
        </p:txBody>
      </p:sp>
      <p:sp>
        <p:nvSpPr>
          <p:cNvPr id="22" name="Rectangle 21">
            <a:extLst>
              <a:ext uri="{FF2B5EF4-FFF2-40B4-BE49-F238E27FC236}">
                <a16:creationId xmlns:a16="http://schemas.microsoft.com/office/drawing/2014/main" id="{7E4272A7-ECE5-E7D1-0B5F-AD190E2EB0CB}"/>
              </a:ext>
            </a:extLst>
          </p:cNvPr>
          <p:cNvSpPr/>
          <p:nvPr/>
        </p:nvSpPr>
        <p:spPr>
          <a:xfrm>
            <a:off x="972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FEBA845E-5F24-A29A-D4E9-EA429A3461A4}"/>
              </a:ext>
            </a:extLst>
          </p:cNvPr>
          <p:cNvSpPr/>
          <p:nvPr/>
        </p:nvSpPr>
        <p:spPr>
          <a:xfrm>
            <a:off x="17067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C5F47D8-B98C-80CB-BF2D-5A41B609A363}"/>
              </a:ext>
            </a:extLst>
          </p:cNvPr>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EA4D9BBF-891B-5403-63A8-CA7987FA91E3}"/>
              </a:ext>
            </a:extLst>
          </p:cNvPr>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33D6FF54-3DA0-CCEB-114A-340157A151D5}"/>
              </a:ext>
            </a:extLst>
          </p:cNvPr>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5401737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EE9EB-ABA3-CC70-5B5E-82FF4D21163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F396B1F-A1D2-68C4-6153-5A6A5741BAE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3213BB7-2802-FA82-A968-01C97C4B900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D840D1-0E5B-8E54-E870-43182AD70D1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0360F85-3B34-2002-806F-DC6155043F9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B44844A-A918-8AEF-BB4F-50872508B35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mmery Brut Silver 750ml (0.8%) | Up &amp; Down Pricing | NICOLAS | Assumes no other are changing prices</a:t>
            </a:r>
          </a:p>
        </p:txBody>
      </p:sp>
      <p:sp>
        <p:nvSpPr>
          <p:cNvPr id="4" name="Title1">
            <a:extLst>
              <a:ext uri="{FF2B5EF4-FFF2-40B4-BE49-F238E27FC236}">
                <a16:creationId xmlns:a16="http://schemas.microsoft.com/office/drawing/2014/main" id="{CEA2A6E7-3689-C981-41A5-C3CFCC78082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EFA5EE5-87DE-266F-5C99-DA14B60D69C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9E85D4B-3DA6-7470-EBC7-CBEBAEE1903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86E1BC0-38B8-B721-B6B0-BF7AACB0938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487115E-B75E-201E-28F7-2EA81E87721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FBA5D95C-A7A3-670B-92F7-B11EC4814D18}"/>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20944254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5CC35-E0D2-F175-8D67-18E18009C1F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EF29425-32EC-7767-7ECF-E2314CCC310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87959CE3-1784-19A0-A642-30122362B75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9B64E949-3C40-D5FF-1CB6-F28479F76207}"/>
              </a:ext>
            </a:extLst>
          </p:cNvPr>
          <p:cNvSpPr>
            <a:spLocks noGrp="1"/>
          </p:cNvSpPr>
          <p:nvPr>
            <p:ph type="body" sz="quarter" idx="18"/>
          </p:nvPr>
        </p:nvSpPr>
        <p:spPr>
          <a:xfrm>
            <a:off x="503238" y="774000"/>
            <a:ext cx="8136762" cy="360000"/>
          </a:xfrm>
        </p:spPr>
        <p:txBody>
          <a:bodyPr/>
          <a:lstStyle/>
          <a:p>
            <a:pPr>
              <a:defRPr sz="1200">
                <a:latin typeface="Nexa Bold (Headings)"/>
              </a:defRPr>
            </a:pPr>
            <a:r>
              <a:t>Clairette de Die | Price Elasticity | NICOLAS | Assumes no other products are changing prices</a:t>
            </a:r>
          </a:p>
        </p:txBody>
      </p:sp>
      <p:sp>
        <p:nvSpPr>
          <p:cNvPr id="18" name="Title 17">
            <a:extLst>
              <a:ext uri="{FF2B5EF4-FFF2-40B4-BE49-F238E27FC236}">
                <a16:creationId xmlns:a16="http://schemas.microsoft.com/office/drawing/2014/main" id="{4DF17D7C-D4E7-D70D-E730-DC22F5F8267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7020B8B-B985-7F64-C665-DE3FE1D719E3}"/>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lairette de Die Cuvée Dea August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6E22626-F001-6B3D-EFEC-1F2A1958568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A522843-39A4-0992-D8F3-5B2DB9DCFC83}"/>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23A7935E-1F25-4E6D-9926-0CADB817A5CC}"/>
              </a:ext>
            </a:extLst>
          </p:cNvPr>
          <p:cNvSpPr>
            <a:spLocks noGrp="1"/>
          </p:cNvSpPr>
          <p:nvPr>
            <p:ph type="sldNum" sz="quarter" idx="16"/>
          </p:nvPr>
        </p:nvSpPr>
        <p:spPr/>
        <p:txBody>
          <a:bodyPr/>
          <a:lstStyle/>
          <a:p>
            <a:fld id="{7B1F438D-4EAF-094E-9162-80CF3EF77236}" type="slidenum">
              <a:rPr lang="en-US" smtClean="0"/>
              <a:pPr/>
              <a:t>225</a:t>
            </a:fld>
            <a:endParaRPr lang="en-US"/>
          </a:p>
        </p:txBody>
      </p:sp>
      <p:sp>
        <p:nvSpPr>
          <p:cNvPr id="3" name="TextBox Y">
            <a:extLst>
              <a:ext uri="{FF2B5EF4-FFF2-40B4-BE49-F238E27FC236}">
                <a16:creationId xmlns:a16="http://schemas.microsoft.com/office/drawing/2014/main" id="{7CFD9A56-50C5-412A-6122-B016210851C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0663881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D399B-011C-F60B-A100-4F07BF7E950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8A53C8F-578B-0B6E-285C-E37ECF129CE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1705702-8CDF-A5CD-319B-5740B150CC4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E50FC93-81E1-91E3-C82F-8B500D1A976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lairette de Die Cuvée Dea Augusta 750ml | NICOLAS | Assuming no other products are changing prices</a:t>
            </a:r>
          </a:p>
        </p:txBody>
      </p:sp>
      <p:sp>
        <p:nvSpPr>
          <p:cNvPr id="10" name="Title 9">
            <a:extLst>
              <a:ext uri="{FF2B5EF4-FFF2-40B4-BE49-F238E27FC236}">
                <a16:creationId xmlns:a16="http://schemas.microsoft.com/office/drawing/2014/main" id="{0A51934C-1ADA-DB2B-5BEC-C2BA80139A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83ACE10-639E-D824-B38A-1852A269875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91D1526-2832-D7BC-DFC1-BDF7FFD7127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C4B57BB-2B6A-80BD-252E-0EE7F20AF57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7098945-83B0-ED3B-FAB3-C48D85D4C11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AAA7833-D819-4F01-B6E4-91010435060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2109A7B-0163-C838-20C2-E283B81FBE4C}"/>
              </a:ext>
            </a:extLst>
          </p:cNvPr>
          <p:cNvSpPr>
            <a:spLocks noGrp="1"/>
          </p:cNvSpPr>
          <p:nvPr>
            <p:ph type="sldNum" sz="quarter" idx="16"/>
          </p:nvPr>
        </p:nvSpPr>
        <p:spPr/>
        <p:txBody>
          <a:bodyPr/>
          <a:lstStyle/>
          <a:p>
            <a:fld id="{7B1F438D-4EAF-094E-9162-80CF3EF77236}" type="slidenum">
              <a:rPr lang="en-US" smtClean="0"/>
              <a:pPr/>
              <a:t>226</a:t>
            </a:fld>
            <a:endParaRPr lang="en-US"/>
          </a:p>
        </p:txBody>
      </p:sp>
      <p:sp>
        <p:nvSpPr>
          <p:cNvPr id="22" name="Rectangle 21">
            <a:extLst>
              <a:ext uri="{FF2B5EF4-FFF2-40B4-BE49-F238E27FC236}">
                <a16:creationId xmlns:a16="http://schemas.microsoft.com/office/drawing/2014/main" id="{8D218655-ACC4-BAA3-58D8-F9193E583CA4}"/>
              </a:ext>
            </a:extLst>
          </p:cNvPr>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B0166E99-BA9F-DEFA-C4B0-CCD8E5B4E952}"/>
              </a:ext>
            </a:extLst>
          </p:cNvPr>
          <p:cNvSpPr/>
          <p:nvPr/>
        </p:nvSpPr>
        <p:spPr>
          <a:xfrm>
            <a:off x="255456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8250BF44-F09B-8A99-4C14-C0514C583CBA}"/>
              </a:ext>
            </a:extLst>
          </p:cNvPr>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3683510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E5B9D-917C-ABC9-7D0A-BA527BB7F9A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93FD26D-D684-76B4-3A73-29BF0B54A14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23C6BA5-2A0B-1DFC-536B-23ECD696A8E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7A3497C-C77E-5D1E-5A58-AB994CF3CC4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0259B05-98CC-FD48-95EA-2C8662B5598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B87F2D1-DD53-A991-F56A-2BCAE90DEE7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lairette de Die Cuvée Dea Augusta 750ml (0.5%) | Up &amp; Down Pricing | NICOLAS | Assumes no other are changing prices</a:t>
            </a:r>
          </a:p>
        </p:txBody>
      </p:sp>
      <p:sp>
        <p:nvSpPr>
          <p:cNvPr id="4" name="Title1">
            <a:extLst>
              <a:ext uri="{FF2B5EF4-FFF2-40B4-BE49-F238E27FC236}">
                <a16:creationId xmlns:a16="http://schemas.microsoft.com/office/drawing/2014/main" id="{0F83CE5D-F9B6-1B70-6651-567B22F1C98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BEC4C5-31DD-B1A9-A04E-58A635084A4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7EF7FA3-23B9-3ED6-F81B-7D74077766E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90B57C3-3295-EF5A-2C3D-951A5E42255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D69CF70-A6D6-E652-4782-480715ADC5D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3BE2BE4-E32A-8D38-17ED-1553D5C6DF63}"/>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00464547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5EC09-5CBF-6367-48C8-D74A6B670C1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7289351-92E1-6FAE-59E9-582C73B63E4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3910A28-F8B6-6093-F867-E1C97C3E2E7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6D36B565-F51C-98B4-9477-D64DC0B49D3D}"/>
              </a:ext>
            </a:extLst>
          </p:cNvPr>
          <p:cNvSpPr>
            <a:spLocks noGrp="1"/>
          </p:cNvSpPr>
          <p:nvPr>
            <p:ph type="body" sz="quarter" idx="18"/>
          </p:nvPr>
        </p:nvSpPr>
        <p:spPr>
          <a:xfrm>
            <a:off x="503238" y="774000"/>
            <a:ext cx="8136762" cy="360000"/>
          </a:xfrm>
        </p:spPr>
        <p:txBody>
          <a:bodyPr/>
          <a:lstStyle/>
          <a:p>
            <a:pPr>
              <a:defRPr sz="1200">
                <a:latin typeface="Nexa Bold (Headings)"/>
              </a:defRPr>
            </a:pPr>
            <a:r>
              <a:t>Crémant | Price Elasticity | NICOLAS | Assumes no other products are changing prices</a:t>
            </a:r>
          </a:p>
        </p:txBody>
      </p:sp>
      <p:sp>
        <p:nvSpPr>
          <p:cNvPr id="18" name="Title 17">
            <a:extLst>
              <a:ext uri="{FF2B5EF4-FFF2-40B4-BE49-F238E27FC236}">
                <a16:creationId xmlns:a16="http://schemas.microsoft.com/office/drawing/2014/main" id="{E3D37B7A-E840-134E-D459-A5C2C3D6C61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CBA10EA-44E6-DDD0-35BC-2E9D7475E5FF}"/>
              </a:ext>
            </a:extLst>
          </p:cNvPr>
          <p:cNvGraphicFramePr>
            <a:graphicFrameLocks/>
          </p:cNvGraphicFramePr>
          <p:nvPr/>
        </p:nvGraphicFramePr>
        <p:xfrm>
          <a:off x="4579258" y="1141495"/>
          <a:ext cx="4057904" cy="200120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Loire De Chanceny Brut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Saumur Bouvet Cuvée Saphi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rémant de Bordeaux La Maquelin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rémant de Bourgogne Patriarche Rosé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rémant de Bourgogne Patriarch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Crémant d'Alsace Muré Prestige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90AE827-1FEC-326D-0ADA-E7488D99B65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DA0EE0F-9337-BDB0-5614-06A279F3C66E}"/>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3F91AAF-9B07-DF2D-CDCC-FEBBA8C32565}"/>
              </a:ext>
            </a:extLst>
          </p:cNvPr>
          <p:cNvSpPr>
            <a:spLocks noGrp="1"/>
          </p:cNvSpPr>
          <p:nvPr>
            <p:ph type="sldNum" sz="quarter" idx="16"/>
          </p:nvPr>
        </p:nvSpPr>
        <p:spPr/>
        <p:txBody>
          <a:bodyPr/>
          <a:lstStyle/>
          <a:p>
            <a:fld id="{7B1F438D-4EAF-094E-9162-80CF3EF77236}" type="slidenum">
              <a:rPr lang="en-US" smtClean="0"/>
              <a:pPr/>
              <a:t>228</a:t>
            </a:fld>
            <a:endParaRPr lang="en-US"/>
          </a:p>
        </p:txBody>
      </p:sp>
      <p:sp>
        <p:nvSpPr>
          <p:cNvPr id="3" name="TextBox Y">
            <a:extLst>
              <a:ext uri="{FF2B5EF4-FFF2-40B4-BE49-F238E27FC236}">
                <a16:creationId xmlns:a16="http://schemas.microsoft.com/office/drawing/2014/main" id="{6D0668C5-8DFB-C522-581E-309B4D3FF18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033235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D3EDB-D779-496E-E84B-024B60D2214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34A2E69-464A-34C1-DC4F-DF461865E84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4132866-7114-CDF2-F4E5-551141F55B6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DA98D61-BE8C-7EA2-D69E-83E8E8BD0DE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Loire De Chanceny Brut 2015 750ml | NICOLAS | Assuming no other products are changing prices</a:t>
            </a:r>
          </a:p>
        </p:txBody>
      </p:sp>
      <p:sp>
        <p:nvSpPr>
          <p:cNvPr id="10" name="Title 9">
            <a:extLst>
              <a:ext uri="{FF2B5EF4-FFF2-40B4-BE49-F238E27FC236}">
                <a16:creationId xmlns:a16="http://schemas.microsoft.com/office/drawing/2014/main" id="{FA2323E7-C8AC-9671-3739-232F2EB4347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6CFC8D1-0940-9C74-AABB-3185999A660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D15B764-8FF0-3542-CFEA-A29BC3F4F07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7AD71B4-7D82-EBA5-54C7-85A40D934FA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1AE3E1D-256A-B00A-7532-59986F9137F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BECA68C-0C62-E5B0-9BB0-75C2E7084CA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CC8604BA-A527-7E11-41C0-A6E31A7A91B8}"/>
              </a:ext>
            </a:extLst>
          </p:cNvPr>
          <p:cNvSpPr>
            <a:spLocks noGrp="1"/>
          </p:cNvSpPr>
          <p:nvPr>
            <p:ph type="sldNum" sz="quarter" idx="16"/>
          </p:nvPr>
        </p:nvSpPr>
        <p:spPr/>
        <p:txBody>
          <a:bodyPr/>
          <a:lstStyle/>
          <a:p>
            <a:fld id="{7B1F438D-4EAF-094E-9162-80CF3EF77236}" type="slidenum">
              <a:rPr lang="en-US" smtClean="0"/>
              <a:pPr/>
              <a:t>229</a:t>
            </a:fld>
            <a:endParaRPr lang="en-US"/>
          </a:p>
        </p:txBody>
      </p:sp>
      <p:sp>
        <p:nvSpPr>
          <p:cNvPr id="22" name="Rectangle 21">
            <a:extLst>
              <a:ext uri="{FF2B5EF4-FFF2-40B4-BE49-F238E27FC236}">
                <a16:creationId xmlns:a16="http://schemas.microsoft.com/office/drawing/2014/main" id="{61122A2B-6FA9-6220-C5E1-24E729852A71}"/>
              </a:ext>
            </a:extLst>
          </p:cNvPr>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81D2DB8-041E-66C6-34B3-D1F976063999}"/>
              </a:ext>
            </a:extLst>
          </p:cNvPr>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541743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B781F5-8266-4E28-E49E-7A46B4CBC11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E5AC079-D3AC-478D-A496-5A4583B1F9C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82270CC-B78F-738A-0889-E8BF129BB02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B760943-1BE0-AD41-33E7-9300527262B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3974DE0-125D-5CCA-CF09-370C65E487F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75E79AC-46FA-4CA9-0E85-54E22BCCD07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French Bloom (0.8%) | Up &amp; Down Pricing | NICOLAS | Assumes no other are changing prices</a:t>
            </a:r>
          </a:p>
        </p:txBody>
      </p:sp>
      <p:sp>
        <p:nvSpPr>
          <p:cNvPr id="4" name="Title1">
            <a:extLst>
              <a:ext uri="{FF2B5EF4-FFF2-40B4-BE49-F238E27FC236}">
                <a16:creationId xmlns:a16="http://schemas.microsoft.com/office/drawing/2014/main" id="{80547AB7-F749-CB0E-0AE2-AC102906A3D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5076089-3D56-92DE-2C4A-115DB872C3A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243EA91-6DEC-0CB1-3CD3-A30356585F5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02D3233-93D8-CF56-340D-EBE43BDC97C4}"/>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9FBE3CB4-C8A5-FFCE-EC60-7E85122265ED}"/>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36994804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ADD63-EC32-C36D-6E47-1FEDE2CDCF8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9A7FA81-D1D0-F0E4-35BB-ECD7C6A5837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AB2BC5C-12CD-434A-2528-75A2B9D097B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20DBF8E-5B5A-24A7-7446-D0C49712C65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AEF834A-2651-550D-6B84-A55C40ED1E1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7D8BF13-A1E5-5EED-BB84-CA317EB852F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Loire De Chanceny Brut 2015 750ml (0.7%) | Up &amp; Down Pricing | NICOLAS | Assumes no other are changing prices</a:t>
            </a:r>
          </a:p>
        </p:txBody>
      </p:sp>
      <p:sp>
        <p:nvSpPr>
          <p:cNvPr id="4" name="Title1">
            <a:extLst>
              <a:ext uri="{FF2B5EF4-FFF2-40B4-BE49-F238E27FC236}">
                <a16:creationId xmlns:a16="http://schemas.microsoft.com/office/drawing/2014/main" id="{4B026504-9E8A-AF25-EA8E-1DCCC19AE02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B45918D-D1F2-B322-98E1-0F0628B69D8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6C00F63-BB32-CE5C-1A61-6FDF5DF7B25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17F1521-7D25-950A-5B48-C351826C154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3DAFB68-F0E7-38E5-4407-BF24068D49A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9BBED8E-A373-254C-C9AE-D43663479267}"/>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13707418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3B119-4327-DF5B-079E-211779611BA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7E52D64-CE18-8387-CB9A-E4D31E877A3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11FB6FA-0CD1-4924-5612-DCEA28DDF56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B0AD205-F8E7-201D-27BF-BEEE9D331A7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Saumur Bouvet Cuvée Saphir Brut 750ml | NICOLAS | Assuming no other products are changing prices</a:t>
            </a:r>
          </a:p>
        </p:txBody>
      </p:sp>
      <p:sp>
        <p:nvSpPr>
          <p:cNvPr id="10" name="Title 9">
            <a:extLst>
              <a:ext uri="{FF2B5EF4-FFF2-40B4-BE49-F238E27FC236}">
                <a16:creationId xmlns:a16="http://schemas.microsoft.com/office/drawing/2014/main" id="{0797F682-41BD-779F-4AF3-6AF0AF013DF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ECE1334-2BC3-7C24-9136-7B20E199FD2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41C58EA-9716-0E7F-6360-62D26C510FF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7B48E14-4916-8A84-316D-49FF4307C27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9F51BF4-41D7-E236-A07A-17F7E8EA338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0BCADBE-0A9F-5A9C-8E8D-89A8ABF0EA9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9C408F7-0EEE-E2D5-5015-53AB3578353B}"/>
              </a:ext>
            </a:extLst>
          </p:cNvPr>
          <p:cNvSpPr>
            <a:spLocks noGrp="1"/>
          </p:cNvSpPr>
          <p:nvPr>
            <p:ph type="sldNum" sz="quarter" idx="16"/>
          </p:nvPr>
        </p:nvSpPr>
        <p:spPr/>
        <p:txBody>
          <a:bodyPr/>
          <a:lstStyle/>
          <a:p>
            <a:fld id="{7B1F438D-4EAF-094E-9162-80CF3EF77236}" type="slidenum">
              <a:rPr lang="en-US" smtClean="0"/>
              <a:pPr/>
              <a:t>231</a:t>
            </a:fld>
            <a:endParaRPr lang="en-US"/>
          </a:p>
        </p:txBody>
      </p:sp>
      <p:sp>
        <p:nvSpPr>
          <p:cNvPr id="22" name="Rectangle 21">
            <a:extLst>
              <a:ext uri="{FF2B5EF4-FFF2-40B4-BE49-F238E27FC236}">
                <a16:creationId xmlns:a16="http://schemas.microsoft.com/office/drawing/2014/main" id="{5ACFAE09-BA4A-5805-1C5B-71331623A2DC}"/>
              </a:ext>
            </a:extLst>
          </p:cNvPr>
          <p:cNvSpPr/>
          <p:nvPr/>
        </p:nvSpPr>
        <p:spPr>
          <a:xfrm>
            <a:off x="972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0C50A5E-B91B-86BA-B169-999AC150E522}"/>
              </a:ext>
            </a:extLst>
          </p:cNvPr>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0750188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3340B-5CFD-ADB8-CFEB-AA1AC7AFBEE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B421B90-F11A-6CA3-DA35-EFCAC8C56AF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06AE9C7-058E-E5F9-BFF8-A4F2B1388C1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5082440-9553-0D8D-0005-3AE1FA94B35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DA7FC37-B163-2445-396E-627B266D323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2A74300-7CC0-D6EB-A300-D11DE88BC3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Saumur Bouvet Cuvée Saphir Brut 750ml (1.5%) | Up &amp; Down Pricing | NICOLAS | Assumes no other are changing prices</a:t>
            </a:r>
          </a:p>
        </p:txBody>
      </p:sp>
      <p:sp>
        <p:nvSpPr>
          <p:cNvPr id="4" name="Title1">
            <a:extLst>
              <a:ext uri="{FF2B5EF4-FFF2-40B4-BE49-F238E27FC236}">
                <a16:creationId xmlns:a16="http://schemas.microsoft.com/office/drawing/2014/main" id="{6A73CA48-56EB-3E64-DD8F-060F2FF4043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BC26BE0-D924-85B6-7075-6B36606B5AB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476CDD1-818B-D3B8-E7E7-2E5B75646E7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15463D1-73FD-0BD4-448E-3FF269441AB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DC6178C-EEC6-A30A-E1AD-B1C0EEE6223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3F83E2E-B3DD-840C-04B0-2979121B8278}"/>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41333769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30A57-B070-64D5-A0E1-42740DED5FD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D0E760-CE64-4BC8-E68E-FF4A8B3DD73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3FE9AEF-CBEF-289A-ABB1-F918C4F03DA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FB3C2C3-907C-6BE3-0E92-5D66FB94437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rdeaux La Maqueline Brut 750ml | NICOLAS | Assuming no other products are changing prices</a:t>
            </a:r>
          </a:p>
        </p:txBody>
      </p:sp>
      <p:sp>
        <p:nvSpPr>
          <p:cNvPr id="10" name="Title 9">
            <a:extLst>
              <a:ext uri="{FF2B5EF4-FFF2-40B4-BE49-F238E27FC236}">
                <a16:creationId xmlns:a16="http://schemas.microsoft.com/office/drawing/2014/main" id="{89A1ED9D-3FB3-E472-9CD8-8767819730D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B2B466E-1743-94AF-B9FC-B8E6FBD6E47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9522FD5-9379-707E-6886-AE4B54B8221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DEEFBA7-D874-5288-003C-9E5938789C0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EBADFF2-D1C7-1B0A-E61E-3E6398B0FB9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2040813-3168-51B4-E0DA-07F08770BFD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84E05C7-5C6A-5F5E-ADD9-96EB470F51BB}"/>
              </a:ext>
            </a:extLst>
          </p:cNvPr>
          <p:cNvSpPr>
            <a:spLocks noGrp="1"/>
          </p:cNvSpPr>
          <p:nvPr>
            <p:ph type="sldNum" sz="quarter" idx="16"/>
          </p:nvPr>
        </p:nvSpPr>
        <p:spPr/>
        <p:txBody>
          <a:bodyPr/>
          <a:lstStyle/>
          <a:p>
            <a:fld id="{7B1F438D-4EAF-094E-9162-80CF3EF77236}" type="slidenum">
              <a:rPr lang="en-US" smtClean="0"/>
              <a:pPr/>
              <a:t>233</a:t>
            </a:fld>
            <a:endParaRPr lang="en-US"/>
          </a:p>
        </p:txBody>
      </p:sp>
      <p:sp>
        <p:nvSpPr>
          <p:cNvPr id="22" name="Rectangle 21">
            <a:extLst>
              <a:ext uri="{FF2B5EF4-FFF2-40B4-BE49-F238E27FC236}">
                <a16:creationId xmlns:a16="http://schemas.microsoft.com/office/drawing/2014/main" id="{C483A735-F87D-01BC-721B-4E7A304D8D67}"/>
              </a:ext>
            </a:extLst>
          </p:cNvPr>
          <p:cNvSpPr/>
          <p:nvPr/>
        </p:nvSpPr>
        <p:spPr>
          <a:xfrm>
            <a:off x="97200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AE9680D-446F-4CD1-D45D-8F26B75E446B}"/>
              </a:ext>
            </a:extLst>
          </p:cNvPr>
          <p:cNvSpPr/>
          <p:nvPr/>
        </p:nvSpPr>
        <p:spPr>
          <a:xfrm>
            <a:off x="283716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252E9E50-E8A8-1D1C-BEC8-7079107B8F21}"/>
              </a:ext>
            </a:extLst>
          </p:cNvPr>
          <p:cNvSpPr/>
          <p:nvPr/>
        </p:nvSpPr>
        <p:spPr>
          <a:xfrm>
            <a:off x="345888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3BBFE867-965E-D6E8-9D02-B8AE79BBE050}"/>
              </a:ext>
            </a:extLst>
          </p:cNvPr>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1792738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9A978-0E23-0DAA-52A8-7A75BA0B601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326F2A6-868D-6628-2A14-B306E3C6273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E687A2F-A102-70B8-725F-50AB40A23A6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68997BD-D8EF-A8CA-A3E1-4A434658018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07B4286-7D1E-D4F4-E268-6F1C751D6EF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5B08998-065B-64E4-C630-A0E3AAC4824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rdeaux La Maqueline Brut 750ml (0.4%) | Up &amp; Down Pricing | NICOLAS | Assumes no other are changing prices</a:t>
            </a:r>
          </a:p>
        </p:txBody>
      </p:sp>
      <p:sp>
        <p:nvSpPr>
          <p:cNvPr id="4" name="Title1">
            <a:extLst>
              <a:ext uri="{FF2B5EF4-FFF2-40B4-BE49-F238E27FC236}">
                <a16:creationId xmlns:a16="http://schemas.microsoft.com/office/drawing/2014/main" id="{F9DF77FE-714F-AFB2-E075-149CC597086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56298CF-643C-899D-C519-B3DC7635732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6F2074F-45BC-2F40-360F-D34C7EF623A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79F5A5D-F62B-3196-1EFA-C5C3E3B4293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C3F741-9C38-60E9-4CB7-F9F3CCF55DC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E038A95-20CF-2A52-29F2-D27B353FB800}"/>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335796577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48C53-AFD4-8D54-5DEC-68C13DB2E06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B185260-972C-4408-5F59-0DE14489F03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F35C364-60F9-FF9C-01EA-014B5149598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8A5330CA-EEAE-DF6F-D04F-22A5EFC787E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Rosé Brut 750ml | NICOLAS | Assuming no other products are changing prices</a:t>
            </a:r>
          </a:p>
        </p:txBody>
      </p:sp>
      <p:sp>
        <p:nvSpPr>
          <p:cNvPr id="10" name="Title 9">
            <a:extLst>
              <a:ext uri="{FF2B5EF4-FFF2-40B4-BE49-F238E27FC236}">
                <a16:creationId xmlns:a16="http://schemas.microsoft.com/office/drawing/2014/main" id="{92D13BB4-CF5C-74AE-3E9E-B79714F4DF5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870DE21-B318-ADF6-D45F-08F2619BBF1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13355B3-23CA-BE9B-59BC-B08BD2CC00B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BF3ACB6-BE26-C28A-0E4D-7104716F4F3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BE9A8E2-8329-23C9-2288-9FF04A81282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458E2DA-4460-2181-10F5-996B9407804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1F40C7A2-E2FB-4BEE-4037-18CF073D0A0D}"/>
              </a:ext>
            </a:extLst>
          </p:cNvPr>
          <p:cNvSpPr>
            <a:spLocks noGrp="1"/>
          </p:cNvSpPr>
          <p:nvPr>
            <p:ph type="sldNum" sz="quarter" idx="16"/>
          </p:nvPr>
        </p:nvSpPr>
        <p:spPr/>
        <p:txBody>
          <a:bodyPr/>
          <a:lstStyle/>
          <a:p>
            <a:fld id="{7B1F438D-4EAF-094E-9162-80CF3EF77236}" type="slidenum">
              <a:rPr lang="en-US" smtClean="0"/>
              <a:pPr/>
              <a:t>235</a:t>
            </a:fld>
            <a:endParaRPr lang="en-US"/>
          </a:p>
        </p:txBody>
      </p:sp>
      <p:sp>
        <p:nvSpPr>
          <p:cNvPr id="22" name="Rectangle 21">
            <a:extLst>
              <a:ext uri="{FF2B5EF4-FFF2-40B4-BE49-F238E27FC236}">
                <a16:creationId xmlns:a16="http://schemas.microsoft.com/office/drawing/2014/main" id="{D004323F-0521-BC04-B476-893E30A70EFE}"/>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2097104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989DD-E2BD-F701-37C6-A96EE7BA299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1A2BDEC-A5CC-F1B1-5574-25D73998DD2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C8BD0F1-8E94-568E-C44E-111893CAA75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78C8495-0C11-30EB-967B-F8B49D28A71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0F65C9-8B0F-B104-3BE9-E431A04BFDF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D739EC7-0FB5-174D-DC98-53BA7C43E07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Rosé Brut 750ml (0.8%) | Up &amp; Down Pricing | NICOLAS | Assumes no other are changing prices</a:t>
            </a:r>
          </a:p>
        </p:txBody>
      </p:sp>
      <p:sp>
        <p:nvSpPr>
          <p:cNvPr id="4" name="Title1">
            <a:extLst>
              <a:ext uri="{FF2B5EF4-FFF2-40B4-BE49-F238E27FC236}">
                <a16:creationId xmlns:a16="http://schemas.microsoft.com/office/drawing/2014/main" id="{8305EE88-0C41-A1BC-D482-3AADF442C68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DADD873-E349-C9FA-6A93-4974A85F205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94647C0-055E-5756-1211-A627563FC26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DBAA439-7E96-FFD8-CFBE-D46FA32D54B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F5797A7-3EBC-3C79-7417-8D8E1D7847D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FDE331BC-5D98-9AFF-26DC-21D43B30ADD5}"/>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4027983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8EDC8-7949-E7D1-A8BE-A541BCF18C9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9EAA3B1-56E1-A371-291D-9208BD32128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6B3B549-8B5B-DAC8-81AC-15816AE4119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75DF380-06C8-2C99-506E-0800AEBFD33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Brut 750ml | NICOLAS | Assuming no other products are changing prices</a:t>
            </a:r>
          </a:p>
        </p:txBody>
      </p:sp>
      <p:sp>
        <p:nvSpPr>
          <p:cNvPr id="10" name="Title 9">
            <a:extLst>
              <a:ext uri="{FF2B5EF4-FFF2-40B4-BE49-F238E27FC236}">
                <a16:creationId xmlns:a16="http://schemas.microsoft.com/office/drawing/2014/main" id="{0F9F9BE9-DFF8-3658-9D51-1158404EFDB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9F8644B-1E51-2599-D633-C1D2C3C03AA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E270B74-19BD-CE0A-AC35-2DE83D7822F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0A0D93-A80B-34F9-5572-28A4B9ACBEF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9618E7B-EB66-10A1-27A6-AB544E6EFAF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3835D20-221A-5B8D-8BA0-211CA8D8DD4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4E980CB-3D0C-E235-C601-BC7021E8CD52}"/>
              </a:ext>
            </a:extLst>
          </p:cNvPr>
          <p:cNvSpPr>
            <a:spLocks noGrp="1"/>
          </p:cNvSpPr>
          <p:nvPr>
            <p:ph type="sldNum" sz="quarter" idx="16"/>
          </p:nvPr>
        </p:nvSpPr>
        <p:spPr/>
        <p:txBody>
          <a:bodyPr/>
          <a:lstStyle/>
          <a:p>
            <a:fld id="{7B1F438D-4EAF-094E-9162-80CF3EF77236}" type="slidenum">
              <a:rPr lang="en-US" smtClean="0"/>
              <a:pPr/>
              <a:t>237</a:t>
            </a:fld>
            <a:endParaRPr lang="en-US"/>
          </a:p>
        </p:txBody>
      </p:sp>
      <p:sp>
        <p:nvSpPr>
          <p:cNvPr id="22" name="Rectangle 21">
            <a:extLst>
              <a:ext uri="{FF2B5EF4-FFF2-40B4-BE49-F238E27FC236}">
                <a16:creationId xmlns:a16="http://schemas.microsoft.com/office/drawing/2014/main" id="{D80FCB5A-8B75-79F3-5D43-6743593F0BF1}"/>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5471451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D8532-3DBB-D0B7-23F1-B0EDCF252B0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48E08AB-F044-1268-29FE-EC6F5037FBB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95C7999-01FD-A7DA-4B0D-37AF30E4DEF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53456A-3B5E-3DE6-557A-43D1FC05993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A63AB67-04C6-FB37-C3A9-DB0803B3B5E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2BFE606-9BB2-C359-41FD-5C2E72CFADD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Brut 750ml (1.8%) | Up &amp; Down Pricing | NICOLAS | Assumes no other are changing prices</a:t>
            </a:r>
          </a:p>
        </p:txBody>
      </p:sp>
      <p:sp>
        <p:nvSpPr>
          <p:cNvPr id="4" name="Title1">
            <a:extLst>
              <a:ext uri="{FF2B5EF4-FFF2-40B4-BE49-F238E27FC236}">
                <a16:creationId xmlns:a16="http://schemas.microsoft.com/office/drawing/2014/main" id="{AAE485DB-713A-E43C-5563-4F53814A28F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4B53D2D-CB5A-062F-7CFA-8AB995CBC7B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0CEC42D-2E59-AAA3-28D9-E2DFE94A359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0211545-6F1B-9A6D-E605-7C4B6ED90BF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1E5FFAA-6D60-5416-4745-3C4719C49C4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C005B13-A6B2-F17E-62D1-8735F0CB15D0}"/>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178203793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41BB0-9B59-E943-6689-9BEED156FA2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7FEC873-7075-5660-F0F9-F85AFB8C761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81E24AA-039B-33B6-8203-FA28FB2ADDD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7C3C4A7-A699-F7F5-19BD-1A40009FAEA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Muré Prestige Bio 750ml | NICOLAS | Assuming no other products are changing prices</a:t>
            </a:r>
          </a:p>
        </p:txBody>
      </p:sp>
      <p:sp>
        <p:nvSpPr>
          <p:cNvPr id="10" name="Title 9">
            <a:extLst>
              <a:ext uri="{FF2B5EF4-FFF2-40B4-BE49-F238E27FC236}">
                <a16:creationId xmlns:a16="http://schemas.microsoft.com/office/drawing/2014/main" id="{14405B0D-3E0F-E799-1970-EA8C5C8FFFE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8259354-C4B5-593C-636A-B28DE3080E8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445E285-9486-1069-62B0-B1CBD792043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2FA7DF3-1522-8F14-322C-7F81A54FE13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DA22FA3-2EE6-0E7B-E510-FEF1337E172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E4BEA1D-7D0B-4B27-53D4-0407837D60F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4E394129-4C4B-3A1D-A35A-68E24B88C991}"/>
              </a:ext>
            </a:extLst>
          </p:cNvPr>
          <p:cNvSpPr>
            <a:spLocks noGrp="1"/>
          </p:cNvSpPr>
          <p:nvPr>
            <p:ph type="sldNum" sz="quarter" idx="16"/>
          </p:nvPr>
        </p:nvSpPr>
        <p:spPr/>
        <p:txBody>
          <a:bodyPr/>
          <a:lstStyle/>
          <a:p>
            <a:fld id="{7B1F438D-4EAF-094E-9162-80CF3EF77236}" type="slidenum">
              <a:rPr lang="en-US" smtClean="0"/>
              <a:pPr/>
              <a:t>239</a:t>
            </a:fld>
            <a:endParaRPr lang="en-US"/>
          </a:p>
        </p:txBody>
      </p:sp>
      <p:sp>
        <p:nvSpPr>
          <p:cNvPr id="22" name="Rectangle 21">
            <a:extLst>
              <a:ext uri="{FF2B5EF4-FFF2-40B4-BE49-F238E27FC236}">
                <a16:creationId xmlns:a16="http://schemas.microsoft.com/office/drawing/2014/main" id="{065079D0-2020-C3C8-4FB1-B390B3000A2A}"/>
              </a:ext>
            </a:extLst>
          </p:cNvPr>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35C7377-73D7-2FC4-347E-018B8DD8F255}"/>
              </a:ext>
            </a:extLst>
          </p:cNvPr>
          <p:cNvSpPr/>
          <p:nvPr/>
        </p:nvSpPr>
        <p:spPr>
          <a:xfrm>
            <a:off x="447624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C563DCEA-CFC7-CC60-0B8D-DFCADF56C387}"/>
              </a:ext>
            </a:extLst>
          </p:cNvPr>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11737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A543F-ACDB-28DF-28B9-6D2F717A79D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76B7410-198D-325D-D888-72F1FC1C1E6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AA344B0-1ECA-3859-5A07-8DD2C8A5FDB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E3FE247-7548-8518-3B9E-4AEEA4D596A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B3E1B08-677C-FEBB-BB69-DF061C8D5F0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C73A8F3-7946-344E-2DE5-FD9856E43CF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osset (0.0%) | Up &amp; Down Pricing | NICOLAS | Assumes no other are changing prices</a:t>
            </a:r>
          </a:p>
        </p:txBody>
      </p:sp>
      <p:sp>
        <p:nvSpPr>
          <p:cNvPr id="4" name="Title1">
            <a:extLst>
              <a:ext uri="{FF2B5EF4-FFF2-40B4-BE49-F238E27FC236}">
                <a16:creationId xmlns:a16="http://schemas.microsoft.com/office/drawing/2014/main" id="{5510FF66-E2DD-DE7C-2949-A7A45553ABD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7E8912B-9A10-B6E3-48A7-DD75D0CCD6F9}"/>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5BDF7D5-18B1-9718-13EE-A2891518703F}"/>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E6AA34AF-3264-0D12-FDDC-E2450CB6637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5A83D9F4-9BDE-3D07-8F81-1D3BD0AF1A74}"/>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61552087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E3D85-8A54-243E-521A-4016CBB1773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C9BC701-084B-F099-AB2A-677B46FD6CE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16B7229-1E04-B277-722A-75247CB77B9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96A1F75-8840-0056-4B69-F067E42D615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0F4B8E9-6D56-FE9B-EC40-AB9A5C164BB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B23EA04-9116-10FF-D465-654F730498A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Muré Prestige Bio 750ml (1.3%) | Up &amp; Down Pricing | NICOLAS | Assumes no other are changing prices</a:t>
            </a:r>
          </a:p>
        </p:txBody>
      </p:sp>
      <p:sp>
        <p:nvSpPr>
          <p:cNvPr id="4" name="Title1">
            <a:extLst>
              <a:ext uri="{FF2B5EF4-FFF2-40B4-BE49-F238E27FC236}">
                <a16:creationId xmlns:a16="http://schemas.microsoft.com/office/drawing/2014/main" id="{158699AE-A0E2-53A3-9E5C-DA35E4116A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348F809-8740-0CFB-CD2F-4F926DAFDE9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B5EB5A7-441C-2BE5-5BD9-D6AC6481EF4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8B1B379-A3E9-A6D2-73D1-F3FCBEBF587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3F04266-62B3-7B78-9F74-79D555598242}"/>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74069EC-FBA7-4E1F-ECE5-DDDB480F004F}"/>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40884779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B0ADF-F64D-EA4C-714D-C6445642B34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509ED30-78A1-95BC-9D68-C39BCA573A8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2DE89D7-F8C4-B467-3225-D7B9D6EE476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46C6B4DA-B95D-D999-E8BD-6D3C3BD5E672}"/>
              </a:ext>
            </a:extLst>
          </p:cNvPr>
          <p:cNvSpPr>
            <a:spLocks noGrp="1"/>
          </p:cNvSpPr>
          <p:nvPr>
            <p:ph type="body" sz="quarter" idx="18"/>
          </p:nvPr>
        </p:nvSpPr>
        <p:spPr>
          <a:xfrm>
            <a:off x="503238" y="774000"/>
            <a:ext cx="8136762" cy="360000"/>
          </a:xfrm>
        </p:spPr>
        <p:txBody>
          <a:bodyPr/>
          <a:lstStyle/>
          <a:p>
            <a:pPr>
              <a:defRPr sz="1200">
                <a:latin typeface="Nexa Bold (Headings)"/>
              </a:defRPr>
            </a:pPr>
            <a:r>
              <a:t>From other markets | Price Elasticity | NICOLAS | Assumes no other products are changing prices</a:t>
            </a:r>
          </a:p>
        </p:txBody>
      </p:sp>
      <p:sp>
        <p:nvSpPr>
          <p:cNvPr id="18" name="Title 17">
            <a:extLst>
              <a:ext uri="{FF2B5EF4-FFF2-40B4-BE49-F238E27FC236}">
                <a16:creationId xmlns:a16="http://schemas.microsoft.com/office/drawing/2014/main" id="{269369CF-1C20-2CBD-D27D-37DDA541F20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F8E42CB-3757-FF7F-4A61-D84A250D5C1C}"/>
              </a:ext>
            </a:extLst>
          </p:cNvPr>
          <p:cNvGraphicFramePr>
            <a:graphicFrameLocks/>
          </p:cNvGraphicFramePr>
          <p:nvPr/>
        </p:nvGraphicFramePr>
        <p:xfrm>
          <a:off x="4579258" y="1141495"/>
          <a:ext cx="4057904" cy="1429505"/>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Bourgogne Louis Picamelo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d'Alsace Wolfberger A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Riccadonna Extra Dr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Mionett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Bottega Gold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ED1E243-D70A-62CD-8897-3FA383E4F36A}"/>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20D7E5A-E62A-E68D-23EC-7B887C3078AA}"/>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BABFE573-4C01-F440-B53C-111E7140EB31}"/>
              </a:ext>
            </a:extLst>
          </p:cNvPr>
          <p:cNvSpPr>
            <a:spLocks noGrp="1"/>
          </p:cNvSpPr>
          <p:nvPr>
            <p:ph type="sldNum" sz="quarter" idx="16"/>
          </p:nvPr>
        </p:nvSpPr>
        <p:spPr/>
        <p:txBody>
          <a:bodyPr/>
          <a:lstStyle/>
          <a:p>
            <a:fld id="{7B1F438D-4EAF-094E-9162-80CF3EF77236}" type="slidenum">
              <a:rPr lang="en-US" smtClean="0"/>
              <a:pPr/>
              <a:t>241</a:t>
            </a:fld>
            <a:endParaRPr lang="en-US"/>
          </a:p>
        </p:txBody>
      </p:sp>
      <p:sp>
        <p:nvSpPr>
          <p:cNvPr id="3" name="TextBox Y">
            <a:extLst>
              <a:ext uri="{FF2B5EF4-FFF2-40B4-BE49-F238E27FC236}">
                <a16:creationId xmlns:a16="http://schemas.microsoft.com/office/drawing/2014/main" id="{F626381B-3FCB-99E6-FEB5-56B382E2879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1610093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5B704-4366-A1B1-E75E-5951118F289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F220563-6DFB-EDAC-0E28-8EA67618EF8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385ED13-A957-382D-F5CB-90A369FFB78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4FFB65E5-DF4F-6D67-063A-EEF2406E02E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Louis Picamelot Brut 750ml | NICOLAS | Assuming no other products are changing prices</a:t>
            </a:r>
          </a:p>
        </p:txBody>
      </p:sp>
      <p:sp>
        <p:nvSpPr>
          <p:cNvPr id="10" name="Title 9">
            <a:extLst>
              <a:ext uri="{FF2B5EF4-FFF2-40B4-BE49-F238E27FC236}">
                <a16:creationId xmlns:a16="http://schemas.microsoft.com/office/drawing/2014/main" id="{7088CFD8-E392-3212-0BDE-0FF13CD2088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2B1B2EB-EFF4-0356-52BB-21C40D2FA0C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B4D8E4B-8D16-3E53-90FD-CE8CDA23150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8447E37-A4EC-C0C5-F4E3-227AAF57E55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3D15F0E-CD3F-0522-A2CD-259EB4040BC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A41CD35-755B-0D7F-05F3-444FC5FCF70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9A5857A-E924-45B2-1391-495D0F40C39C}"/>
              </a:ext>
            </a:extLst>
          </p:cNvPr>
          <p:cNvSpPr>
            <a:spLocks noGrp="1"/>
          </p:cNvSpPr>
          <p:nvPr>
            <p:ph type="sldNum" sz="quarter" idx="16"/>
          </p:nvPr>
        </p:nvSpPr>
        <p:spPr/>
        <p:txBody>
          <a:bodyPr/>
          <a:lstStyle/>
          <a:p>
            <a:fld id="{7B1F438D-4EAF-094E-9162-80CF3EF77236}" type="slidenum">
              <a:rPr lang="en-US" smtClean="0"/>
              <a:pPr/>
              <a:t>242</a:t>
            </a:fld>
            <a:endParaRPr lang="en-US"/>
          </a:p>
        </p:txBody>
      </p:sp>
      <p:sp>
        <p:nvSpPr>
          <p:cNvPr id="22" name="Rectangle 21">
            <a:extLst>
              <a:ext uri="{FF2B5EF4-FFF2-40B4-BE49-F238E27FC236}">
                <a16:creationId xmlns:a16="http://schemas.microsoft.com/office/drawing/2014/main" id="{F67BF7C5-F293-83C1-67EB-D35331FBF483}"/>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435560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6F238-5424-94DD-4627-3DB4A101DCF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D72BE3C-7307-20ED-2880-56D3E379A9A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E785338-E16C-FF7E-4A5D-38331B7DF9C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C1E402A-FD8D-5E76-6341-2DA8DFC502F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2677064-2F78-223F-30D0-5D1AFBAD3DF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1A5974D-B5D9-CA1E-D89A-653FBA36942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Louis Picamelot Brut 750ml (0.0%) | Up &amp; Down Pricing | NICOLAS | Assumes no other are changing prices</a:t>
            </a:r>
          </a:p>
        </p:txBody>
      </p:sp>
      <p:sp>
        <p:nvSpPr>
          <p:cNvPr id="4" name="Title1">
            <a:extLst>
              <a:ext uri="{FF2B5EF4-FFF2-40B4-BE49-F238E27FC236}">
                <a16:creationId xmlns:a16="http://schemas.microsoft.com/office/drawing/2014/main" id="{9AA017D2-1A27-4C78-9493-F2D879A737D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FEFBD30-95FC-61D3-A4DE-6DFB5D230A4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8E7C697-9FED-2ED3-AA28-A7EE533E46F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3315430-7C16-DA8E-71A7-0A4432200B0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418EBBC-0542-B70E-8C93-AADD8376ADD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DB21884-B1E8-E63B-7C47-18DD318A06B9}"/>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21533092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452BB-032C-0095-C489-FF0766873C5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A74D7AA-FB5B-8FB8-AE37-CEB1ECF6A21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3AD8F37-C4ED-9B75-C498-D65775D9B2D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BB5D4BD-9B17-5664-2C81-FCBFBCCB2FA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Wolfberger AOP 750ml | NICOLAS | Assuming no other products are changing prices</a:t>
            </a:r>
          </a:p>
        </p:txBody>
      </p:sp>
      <p:sp>
        <p:nvSpPr>
          <p:cNvPr id="10" name="Title 9">
            <a:extLst>
              <a:ext uri="{FF2B5EF4-FFF2-40B4-BE49-F238E27FC236}">
                <a16:creationId xmlns:a16="http://schemas.microsoft.com/office/drawing/2014/main" id="{19568AF8-1AD6-2E50-8DD6-E01DD20F1FB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02C53AB-332D-AB32-5575-6588609CC72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6F735D9-E477-CFE4-C4EA-65418862114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212D2B4-9F71-FD40-2B40-3520F116241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880A560-998C-AA17-BA57-0B9DA00A869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30B2967-4FF0-EACF-0459-C41BC841D90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98938095-28CE-3CD7-094E-4517A880F045}"/>
              </a:ext>
            </a:extLst>
          </p:cNvPr>
          <p:cNvSpPr>
            <a:spLocks noGrp="1"/>
          </p:cNvSpPr>
          <p:nvPr>
            <p:ph type="sldNum" sz="quarter" idx="16"/>
          </p:nvPr>
        </p:nvSpPr>
        <p:spPr/>
        <p:txBody>
          <a:bodyPr/>
          <a:lstStyle/>
          <a:p>
            <a:fld id="{7B1F438D-4EAF-094E-9162-80CF3EF77236}" type="slidenum">
              <a:rPr lang="en-US" smtClean="0"/>
              <a:pPr/>
              <a:t>244</a:t>
            </a:fld>
            <a:endParaRPr lang="en-US"/>
          </a:p>
        </p:txBody>
      </p:sp>
      <p:sp>
        <p:nvSpPr>
          <p:cNvPr id="22" name="Rectangle 21">
            <a:extLst>
              <a:ext uri="{FF2B5EF4-FFF2-40B4-BE49-F238E27FC236}">
                <a16:creationId xmlns:a16="http://schemas.microsoft.com/office/drawing/2014/main" id="{1BCD3E8A-2260-939E-0A8A-D74D23284F53}"/>
              </a:ext>
            </a:extLst>
          </p:cNvPr>
          <p:cNvSpPr/>
          <p:nvPr/>
        </p:nvSpPr>
        <p:spPr>
          <a:xfrm>
            <a:off x="9720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03575EC-574D-74B2-A9F1-BB01E9E394B5}"/>
              </a:ext>
            </a:extLst>
          </p:cNvPr>
          <p:cNvSpPr/>
          <p:nvPr/>
        </p:nvSpPr>
        <p:spPr>
          <a:xfrm>
            <a:off x="43632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1FB467E2-407D-6D8C-C3D7-346590E11475}"/>
              </a:ext>
            </a:extLst>
          </p:cNvPr>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469758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4F31B-4AD3-E4AB-C26E-C018BFE736B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C47C306-CB8B-16B7-9F20-69111F7ADB2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4A6EC3B-A32B-FD7C-787E-2FF5D182B53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55D106A-E7A1-2636-E3CC-8E720F4139F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26506D4-CB61-28AE-F567-2F0CB6994F7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5840790-BAFC-02D6-F20B-D744330EEFE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Wolfberger AOP 750ml (0.0%) | Up &amp; Down Pricing | NICOLAS | Assumes no other are changing prices</a:t>
            </a:r>
          </a:p>
        </p:txBody>
      </p:sp>
      <p:sp>
        <p:nvSpPr>
          <p:cNvPr id="4" name="Title1">
            <a:extLst>
              <a:ext uri="{FF2B5EF4-FFF2-40B4-BE49-F238E27FC236}">
                <a16:creationId xmlns:a16="http://schemas.microsoft.com/office/drawing/2014/main" id="{5F9D1B54-964F-D118-9C26-9458126315C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6ACEF4B-7F72-20C0-033D-6186E8B167D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D928405-91E1-67D1-4282-910A42E9BA8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B7C35EB-CF83-507A-B02E-F5FCC08600A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7D3359C-D890-6A91-C6F3-1EFD6F151C6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63FB6BD-DF33-9EF5-71D6-4C34F4A0D3D6}"/>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3655505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DFE3D-2FD8-36E1-341A-C819ACA59E0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7669D53-2C63-4D16-C11C-E90DC5E2C63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B543B0-C4CB-636D-A6CE-30724CAFE9B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6C9D697-BD6B-CE05-9A44-6B3ADAE326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Riccadonna Extra Dry 750ml | NICOLAS | Assuming no other products are changing prices</a:t>
            </a:r>
          </a:p>
        </p:txBody>
      </p:sp>
      <p:sp>
        <p:nvSpPr>
          <p:cNvPr id="10" name="Title 9">
            <a:extLst>
              <a:ext uri="{FF2B5EF4-FFF2-40B4-BE49-F238E27FC236}">
                <a16:creationId xmlns:a16="http://schemas.microsoft.com/office/drawing/2014/main" id="{FF0B24E4-3873-0973-DE13-C92B6DF991B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D447FF2-2403-9BD9-9F50-864A3784B8B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C32B5EE-BEE4-64AB-197B-11D12DB767E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81C8BBC-910B-93D3-6AEA-5AB1C2DB5A5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E98A816-4E16-FCBE-9F9D-82D1BE150AF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1ABACE0-55CE-F44E-E5D7-FD190AEBAC3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4E633B63-8EDF-1E51-BC85-B3F6A28B58DD}"/>
              </a:ext>
            </a:extLst>
          </p:cNvPr>
          <p:cNvSpPr>
            <a:spLocks noGrp="1"/>
          </p:cNvSpPr>
          <p:nvPr>
            <p:ph type="sldNum" sz="quarter" idx="16"/>
          </p:nvPr>
        </p:nvSpPr>
        <p:spPr/>
        <p:txBody>
          <a:bodyPr/>
          <a:lstStyle/>
          <a:p>
            <a:fld id="{7B1F438D-4EAF-094E-9162-80CF3EF77236}" type="slidenum">
              <a:rPr lang="en-US" smtClean="0"/>
              <a:pPr/>
              <a:t>246</a:t>
            </a:fld>
            <a:endParaRPr lang="en-US"/>
          </a:p>
        </p:txBody>
      </p:sp>
      <p:sp>
        <p:nvSpPr>
          <p:cNvPr id="22" name="Rectangle 21">
            <a:extLst>
              <a:ext uri="{FF2B5EF4-FFF2-40B4-BE49-F238E27FC236}">
                <a16:creationId xmlns:a16="http://schemas.microsoft.com/office/drawing/2014/main" id="{5EC934CB-8747-B30A-1B64-F4F3C049BC4F}"/>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D35F7B6-8ECD-FD1A-134B-2C91760811DA}"/>
              </a:ext>
            </a:extLst>
          </p:cNvPr>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2352028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7EB63-C3AC-C87D-CC46-C6420B356F7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875DAF1-1FF0-C0B1-0688-CE41D36368C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4D39DC9-110E-546F-CFD2-79D0152EDFC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B1AFC78-9906-AEAA-F197-243A714C810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2F80C5E-1E47-0488-B587-99EFF7F3E62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E9BF9DA-F486-A38A-67F3-3B9C8119DB6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Riccadonna Extra Dry 750ml (0.0%) | Up &amp; Down Pricing | NICOLAS | Assumes no other are changing prices</a:t>
            </a:r>
          </a:p>
        </p:txBody>
      </p:sp>
      <p:sp>
        <p:nvSpPr>
          <p:cNvPr id="4" name="Title1">
            <a:extLst>
              <a:ext uri="{FF2B5EF4-FFF2-40B4-BE49-F238E27FC236}">
                <a16:creationId xmlns:a16="http://schemas.microsoft.com/office/drawing/2014/main" id="{6E25AC39-1D68-D61F-4474-0233774761C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C24AF09-9344-C7C5-1E27-7F7AB1D658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763544D-4BD1-54B2-E4B7-A8556F38B3B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2853BAE-A742-6DFD-8411-A521186DB47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A75CD3D-1139-7566-02AC-C61CD31FDD9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31994D8-98E9-ED0D-9BD9-DA1D7E12938C}"/>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259079132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7C5E3-55D8-081B-8B2B-5FACD3006A4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C36866E-3B69-98B1-6023-BDA50F20BCD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55CFB89-3E7A-D7D9-CFE6-DE21F5970B5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113600A-C644-6347-DFD4-AF16D0ADFE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Mionetto 750ml | NICOLAS | Assuming no other products are changing prices</a:t>
            </a:r>
          </a:p>
        </p:txBody>
      </p:sp>
      <p:sp>
        <p:nvSpPr>
          <p:cNvPr id="10" name="Title 9">
            <a:extLst>
              <a:ext uri="{FF2B5EF4-FFF2-40B4-BE49-F238E27FC236}">
                <a16:creationId xmlns:a16="http://schemas.microsoft.com/office/drawing/2014/main" id="{EF6478AD-93EA-E0A0-0DE6-B355A91E27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4100C6-414D-C92F-CC6E-32CEB468B1D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3BBB49C-D4D4-1369-9137-E1198D9A958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3C60824-C6BD-0DBE-7F9E-BD4CB7F415E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F80BC54-4CBC-EAC1-5663-E0471A447F2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529DF47-A120-9994-F474-14C2B0610C5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D0F251F-72BD-5B6F-D5BB-3459EC1A87DD}"/>
              </a:ext>
            </a:extLst>
          </p:cNvPr>
          <p:cNvSpPr>
            <a:spLocks noGrp="1"/>
          </p:cNvSpPr>
          <p:nvPr>
            <p:ph type="sldNum" sz="quarter" idx="16"/>
          </p:nvPr>
        </p:nvSpPr>
        <p:spPr/>
        <p:txBody>
          <a:bodyPr/>
          <a:lstStyle/>
          <a:p>
            <a:fld id="{7B1F438D-4EAF-094E-9162-80CF3EF77236}" type="slidenum">
              <a:rPr lang="en-US" smtClean="0"/>
              <a:pPr/>
              <a:t>248</a:t>
            </a:fld>
            <a:endParaRPr lang="en-US"/>
          </a:p>
        </p:txBody>
      </p:sp>
      <p:sp>
        <p:nvSpPr>
          <p:cNvPr id="22" name="Rectangle 21">
            <a:extLst>
              <a:ext uri="{FF2B5EF4-FFF2-40B4-BE49-F238E27FC236}">
                <a16:creationId xmlns:a16="http://schemas.microsoft.com/office/drawing/2014/main" id="{CFFA613B-C3EF-79F5-D22B-58E87D8DE2BD}"/>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095FD93-285D-EF46-111D-3A16DF267BD8}"/>
              </a:ext>
            </a:extLst>
          </p:cNvPr>
          <p:cNvSpPr/>
          <p:nvPr/>
        </p:nvSpPr>
        <p:spPr>
          <a:xfrm>
            <a:off x="3232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83148749-3C4D-6E62-C727-7794101EA4D2}"/>
              </a:ext>
            </a:extLst>
          </p:cNvPr>
          <p:cNvSpPr/>
          <p:nvPr/>
        </p:nvSpPr>
        <p:spPr>
          <a:xfrm>
            <a:off x="43632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51D6C7C2-D9C9-2DCE-FBDD-F9948CDA2C2B}"/>
              </a:ext>
            </a:extLst>
          </p:cNvPr>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7078992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64777-22F6-F1FB-9ECE-4B2B729041D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E0A22A3-1CF9-2DA6-B4E7-1B4EBFBE2CA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B5E8482-9A93-463C-B8B5-65EE3F4AB34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5C6BCE9-696D-6690-A2B0-C09997A1C4A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F723F5D-EF68-5AF8-1F45-2B6B0F88BDC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AAB7F4A-5EFA-D164-9036-7EE7BD5E760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Mionetto 750ml (0.0%) | Up &amp; Down Pricing | NICOLAS | Assumes no other are changing prices</a:t>
            </a:r>
          </a:p>
        </p:txBody>
      </p:sp>
      <p:sp>
        <p:nvSpPr>
          <p:cNvPr id="4" name="Title1">
            <a:extLst>
              <a:ext uri="{FF2B5EF4-FFF2-40B4-BE49-F238E27FC236}">
                <a16:creationId xmlns:a16="http://schemas.microsoft.com/office/drawing/2014/main" id="{C3B528FC-4503-927E-C5D3-AAB5650B3D0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5497244-842E-7992-8893-1248BAD69C5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E680039-B5F9-CD11-EB94-DD31A43B347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E12BA93-C44F-9E33-9ACB-771C68324D6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C6EBA20-B3B9-F58A-1CB0-31066BBC5FE5}"/>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9AD8659-C9A5-A9DB-0830-9F1A30370CC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518868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09AC5-DD55-6B3E-997E-047FF4BAC3C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320A1CA-7E0E-C2DF-4A97-8B2C90065EC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A14074C-A2CD-8984-E3EC-7E017BC7763A}"/>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iper-Heidsie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50E6920-55DC-2C6A-CDD2-67A62009B4C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237B1FC-BB91-6805-94B1-CA71D85FBDE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F9BEE9D-4D08-294E-7D72-9AEB56B2B19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idsieck &amp; C° Monopole (4.2%) | Up &amp; Down Pricing | NICOLAS | Assumes no other are changing prices</a:t>
            </a:r>
          </a:p>
        </p:txBody>
      </p:sp>
      <p:sp>
        <p:nvSpPr>
          <p:cNvPr id="4" name="Title1">
            <a:extLst>
              <a:ext uri="{FF2B5EF4-FFF2-40B4-BE49-F238E27FC236}">
                <a16:creationId xmlns:a16="http://schemas.microsoft.com/office/drawing/2014/main" id="{2574D2E0-3D0E-F051-6935-CA461B5C865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6065BFA-734F-9AD4-6A35-8C5C982C7C7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06BF7F-31B6-3987-06CF-664F65E4E82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08FBD76-D3F7-4E5F-B258-72AD02534A4C}"/>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B02FECD7-2326-8CA5-3D15-00A9D6D0E981}"/>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16816030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49173-2F61-2837-7802-50518BE5BE4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0BC544A-E734-3E9C-7A4B-10A54D7A201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62C5AC6-22A5-C7BB-372D-7A0F8911AF9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4D60083-765F-4B7A-1A78-EA237888C85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Gold 750ml | NICOLAS | Assuming no other products are changing prices</a:t>
            </a:r>
          </a:p>
        </p:txBody>
      </p:sp>
      <p:sp>
        <p:nvSpPr>
          <p:cNvPr id="10" name="Title 9">
            <a:extLst>
              <a:ext uri="{FF2B5EF4-FFF2-40B4-BE49-F238E27FC236}">
                <a16:creationId xmlns:a16="http://schemas.microsoft.com/office/drawing/2014/main" id="{D8766F48-428C-50C4-5EC5-7166669EE96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5A9F055-41D8-4295-93A9-EB542B76B1C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E32F69D-9DE2-14E0-AEC1-35F88B6801C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40399A3-C098-838B-605C-2D7EFA1F5EF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BCFB2E8-C12C-B604-B5C5-7DFE638B3F9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EABDBDE-ED69-A1C7-CFE7-21FAA7D0934C}"/>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1247E047-381F-E9FA-53FE-B6A476F7E119}"/>
              </a:ext>
            </a:extLst>
          </p:cNvPr>
          <p:cNvSpPr>
            <a:spLocks noGrp="1"/>
          </p:cNvSpPr>
          <p:nvPr>
            <p:ph type="sldNum" sz="quarter" idx="16"/>
          </p:nvPr>
        </p:nvSpPr>
        <p:spPr/>
        <p:txBody>
          <a:bodyPr/>
          <a:lstStyle/>
          <a:p>
            <a:fld id="{7B1F438D-4EAF-094E-9162-80CF3EF77236}" type="slidenum">
              <a:rPr lang="en-US" smtClean="0"/>
              <a:pPr/>
              <a:t>250</a:t>
            </a:fld>
            <a:endParaRPr lang="en-US"/>
          </a:p>
        </p:txBody>
      </p:sp>
      <p:sp>
        <p:nvSpPr>
          <p:cNvPr id="22" name="Rectangle 21">
            <a:extLst>
              <a:ext uri="{FF2B5EF4-FFF2-40B4-BE49-F238E27FC236}">
                <a16:creationId xmlns:a16="http://schemas.microsoft.com/office/drawing/2014/main" id="{A4845411-CF7C-A962-308E-475A30F6524A}"/>
              </a:ext>
            </a:extLst>
          </p:cNvPr>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FA0723B-B7DC-EF17-B201-CDCDFFD5CBAE}"/>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3585967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032F8-F96A-51AF-AF90-B4D036346C0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783B3CB-C05C-3FB0-B057-8C4D09A31C3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B991AE7-928C-B504-B3D8-5FD6AF43168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FC40FFA-3DA6-33C8-C8E1-E912BD6BC8D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7AC8DBE-9A39-321F-593D-22CDCC482A7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22A5E1A-B977-A6EC-5AC6-031BF06C1FF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Gold 750ml (0.0%) | Up &amp; Down Pricing | NICOLAS | Assumes no other are changing prices</a:t>
            </a:r>
          </a:p>
        </p:txBody>
      </p:sp>
      <p:sp>
        <p:nvSpPr>
          <p:cNvPr id="4" name="Title1">
            <a:extLst>
              <a:ext uri="{FF2B5EF4-FFF2-40B4-BE49-F238E27FC236}">
                <a16:creationId xmlns:a16="http://schemas.microsoft.com/office/drawing/2014/main" id="{1A940487-5AC4-C6A6-843A-36405F49DC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7D34FC5-987A-539A-0F08-B21104C3667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0798BFE-010A-C8AA-A96C-39905A95F83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7E6A17B-5EAE-1D7E-FABE-9ED2DB9B42A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BEDED97-DE47-CBE4-7B16-9AABE69C9DE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A3CDF33-DA17-B358-C175-7B347E038B6A}"/>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856789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4E812-494F-D320-DDF2-E4666FA048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AAB09DF-8591-BEB3-397B-9397C0A7D16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D66FDE8-0B5D-341F-C459-505CA82B06B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4507E5C2-6DC4-8ABE-A67A-AE5AB563BED3}"/>
              </a:ext>
            </a:extLst>
          </p:cNvPr>
          <p:cNvSpPr>
            <a:spLocks noGrp="1"/>
          </p:cNvSpPr>
          <p:nvPr>
            <p:ph type="body" sz="quarter" idx="18"/>
          </p:nvPr>
        </p:nvSpPr>
        <p:spPr>
          <a:xfrm>
            <a:off x="503238" y="774000"/>
            <a:ext cx="8136762" cy="360000"/>
          </a:xfrm>
        </p:spPr>
        <p:txBody>
          <a:bodyPr/>
          <a:lstStyle/>
          <a:p>
            <a:pPr>
              <a:defRPr sz="1200">
                <a:latin typeface="Nexa Bold (Headings)"/>
              </a:defRPr>
            </a:pPr>
            <a:r>
              <a:t>Mousseux | Price Elasticity | NICOLAS | Assumes no other products are changing prices</a:t>
            </a:r>
          </a:p>
        </p:txBody>
      </p:sp>
      <p:sp>
        <p:nvSpPr>
          <p:cNvPr id="18" name="Title 17">
            <a:extLst>
              <a:ext uri="{FF2B5EF4-FFF2-40B4-BE49-F238E27FC236}">
                <a16:creationId xmlns:a16="http://schemas.microsoft.com/office/drawing/2014/main" id="{89C6DF81-3388-0A11-26DB-AB057CB2E54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418AC5A-7F72-891D-CEF3-1E772A74BC64}"/>
              </a:ext>
            </a:extLst>
          </p:cNvPr>
          <p:cNvGraphicFramePr>
            <a:graphicFrameLocks/>
          </p:cNvGraphicFramePr>
          <p:nvPr/>
        </p:nvGraphicFramePr>
        <p:xfrm>
          <a:off x="4579258" y="1141495"/>
          <a:ext cx="4057904" cy="128542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Château Moncontour Brut Vouvr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Vouvray Domaine du Petit Cotea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Les Grumes Bulle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Veuve du Vern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C2143F6-A517-16BF-33D6-3A71C693E76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A54ECB7C-EAB5-75AD-710C-58EE9943329F}"/>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A0DA7CA8-A533-50ED-9EB0-A2FD0EDF9F87}"/>
              </a:ext>
            </a:extLst>
          </p:cNvPr>
          <p:cNvSpPr>
            <a:spLocks noGrp="1"/>
          </p:cNvSpPr>
          <p:nvPr>
            <p:ph type="sldNum" sz="quarter" idx="16"/>
          </p:nvPr>
        </p:nvSpPr>
        <p:spPr/>
        <p:txBody>
          <a:bodyPr/>
          <a:lstStyle/>
          <a:p>
            <a:fld id="{7B1F438D-4EAF-094E-9162-80CF3EF77236}" type="slidenum">
              <a:rPr lang="en-US" smtClean="0"/>
              <a:pPr/>
              <a:t>252</a:t>
            </a:fld>
            <a:endParaRPr lang="en-US"/>
          </a:p>
        </p:txBody>
      </p:sp>
      <p:sp>
        <p:nvSpPr>
          <p:cNvPr id="3" name="TextBox Y">
            <a:extLst>
              <a:ext uri="{FF2B5EF4-FFF2-40B4-BE49-F238E27FC236}">
                <a16:creationId xmlns:a16="http://schemas.microsoft.com/office/drawing/2014/main" id="{CE8AC03B-3F33-6AFC-FC01-6F02C84AB07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58307152"/>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F18D7E-2E41-B9C1-7896-182F434A1F9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F1509-8C1B-1AC6-4B34-301B2987A1C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4B61878-DC83-AAD6-DE93-36FF2EE3DFE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0E60A3F-FB09-1313-3511-8ADEE111C30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Château Moncontour Brut Vouvray 750ml | NICOLAS | Assuming no other products are changing prices</a:t>
            </a:r>
          </a:p>
        </p:txBody>
      </p:sp>
      <p:sp>
        <p:nvSpPr>
          <p:cNvPr id="10" name="Title 9">
            <a:extLst>
              <a:ext uri="{FF2B5EF4-FFF2-40B4-BE49-F238E27FC236}">
                <a16:creationId xmlns:a16="http://schemas.microsoft.com/office/drawing/2014/main" id="{2988687A-0AAD-DC4A-7ED6-13862CB3525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302BD09-EF5F-9783-2DFC-070563115B2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EE1AB9A-4230-A261-4B8B-217E3B3600B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9A1BAF9-167F-09ED-02C4-1BE6D9B8174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EA440CA-348A-AB80-541D-7175F0F6661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9848EBB-2754-1713-4674-288A8F6CEAB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645B13A-AAB6-C818-5DF6-F05E37DA7D48}"/>
              </a:ext>
            </a:extLst>
          </p:cNvPr>
          <p:cNvSpPr>
            <a:spLocks noGrp="1"/>
          </p:cNvSpPr>
          <p:nvPr>
            <p:ph type="sldNum" sz="quarter" idx="16"/>
          </p:nvPr>
        </p:nvSpPr>
        <p:spPr/>
        <p:txBody>
          <a:bodyPr/>
          <a:lstStyle/>
          <a:p>
            <a:fld id="{7B1F438D-4EAF-094E-9162-80CF3EF77236}" type="slidenum">
              <a:rPr lang="en-US" smtClean="0"/>
              <a:pPr/>
              <a:t>253</a:t>
            </a:fld>
            <a:endParaRPr lang="en-US"/>
          </a:p>
        </p:txBody>
      </p:sp>
      <p:sp>
        <p:nvSpPr>
          <p:cNvPr id="22" name="Rectangle 21">
            <a:extLst>
              <a:ext uri="{FF2B5EF4-FFF2-40B4-BE49-F238E27FC236}">
                <a16:creationId xmlns:a16="http://schemas.microsoft.com/office/drawing/2014/main" id="{03307A39-C96D-89BF-1E6D-C2942B62BA9A}"/>
              </a:ext>
            </a:extLst>
          </p:cNvPr>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113B612-E7EB-2889-1539-104D8850EE03}"/>
              </a:ext>
            </a:extLst>
          </p:cNvPr>
          <p:cNvSpPr/>
          <p:nvPr/>
        </p:nvSpPr>
        <p:spPr>
          <a:xfrm>
            <a:off x="3119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24CB4C8C-BA1B-8CE6-58EE-5D3C078F15C2}"/>
              </a:ext>
            </a:extLst>
          </p:cNvPr>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FE05DEB7-8BBE-63C9-67D3-D76428304AF8}"/>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8946668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848AE-E31A-80AD-E33A-8BCD432B377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50757B8-602D-413F-D059-AD762E42890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400B48C-AA47-F055-9B52-7AFABF0D3DC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CCC42BC-60A4-FEC4-4A29-BCC4E32C4FF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C6BE597-3E20-8C64-82B9-F7C08C58BCD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F43B378-3CB5-CE33-BE42-5F46DB08E40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Château Moncontour Brut Vouvray 750ml (1.5%) | Up &amp; Down Pricing | NICOLAS | Assumes no other are changing prices</a:t>
            </a:r>
          </a:p>
        </p:txBody>
      </p:sp>
      <p:sp>
        <p:nvSpPr>
          <p:cNvPr id="4" name="Title1">
            <a:extLst>
              <a:ext uri="{FF2B5EF4-FFF2-40B4-BE49-F238E27FC236}">
                <a16:creationId xmlns:a16="http://schemas.microsoft.com/office/drawing/2014/main" id="{7B3EC287-0581-BE33-8A30-6A75CEB7E33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97F1CC0-E96B-0AD0-91DF-F2949D7877C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8E02909-34B1-D87E-75B7-D8B9C928135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AEDF139-9D96-2069-EBF5-B8C465F52FA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A015D9C-4191-9F10-A02E-FC2EC096FA2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33DB8BC-4B45-C4FD-5F6D-9CF262FB3654}"/>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426106609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D6971-CB40-3AA3-10EB-5A6E5DF490D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44786DD-1723-7A09-2C19-0AFFB777718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D2B0E0B-0ABC-201A-7152-BB5AB97CCD9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72F10AE8-CCBC-AB0A-D463-1AD47479DB1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ouvray Domaine du Petit Coteau 750ml | NICOLAS | Assuming no other products are changing prices</a:t>
            </a:r>
          </a:p>
        </p:txBody>
      </p:sp>
      <p:sp>
        <p:nvSpPr>
          <p:cNvPr id="10" name="Title 9">
            <a:extLst>
              <a:ext uri="{FF2B5EF4-FFF2-40B4-BE49-F238E27FC236}">
                <a16:creationId xmlns:a16="http://schemas.microsoft.com/office/drawing/2014/main" id="{0F147D04-D4D5-54AF-0E82-21317EF692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E61AB28-896F-4FA8-958B-60360B90A83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B86763E-0286-DC6A-BAE0-84D22DFA78D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6A2BF5C-94DD-B57C-89AE-B34D826BA88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975AC63-2852-8A04-0985-727D0AD2511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04128E4-AECB-4F91-EB79-F2760B9C5B7C}"/>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4FF100F5-E5E2-AF5C-B4B6-34ABA47E341F}"/>
              </a:ext>
            </a:extLst>
          </p:cNvPr>
          <p:cNvSpPr>
            <a:spLocks noGrp="1"/>
          </p:cNvSpPr>
          <p:nvPr>
            <p:ph type="sldNum" sz="quarter" idx="16"/>
          </p:nvPr>
        </p:nvSpPr>
        <p:spPr/>
        <p:txBody>
          <a:bodyPr/>
          <a:lstStyle/>
          <a:p>
            <a:fld id="{7B1F438D-4EAF-094E-9162-80CF3EF77236}" type="slidenum">
              <a:rPr lang="en-US" smtClean="0"/>
              <a:pPr/>
              <a:t>255</a:t>
            </a:fld>
            <a:endParaRPr lang="en-US"/>
          </a:p>
        </p:txBody>
      </p:sp>
      <p:sp>
        <p:nvSpPr>
          <p:cNvPr id="22" name="Rectangle 21">
            <a:extLst>
              <a:ext uri="{FF2B5EF4-FFF2-40B4-BE49-F238E27FC236}">
                <a16:creationId xmlns:a16="http://schemas.microsoft.com/office/drawing/2014/main" id="{4973F85A-B83C-FC20-031A-5C72543F1208}"/>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6141323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5F74B-E220-4D1B-D4C8-69B9DB29D36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6C8CE0C-FB50-6E8D-158A-6179FFA204E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4F9C8D8-130B-BBEA-5B8E-97A75673F3B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B726074-7D8B-FE7D-7BD6-0E8DD32F685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E7B4B70-93FC-CA6C-D94E-29F9034314D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D65CA75-FF13-DDA6-3F25-8013EF0A970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ouvray Domaine du Petit Coteau 750ml (0.6%) | Up &amp; Down Pricing | NICOLAS | Assumes no other are changing prices</a:t>
            </a:r>
          </a:p>
        </p:txBody>
      </p:sp>
      <p:sp>
        <p:nvSpPr>
          <p:cNvPr id="4" name="Title1">
            <a:extLst>
              <a:ext uri="{FF2B5EF4-FFF2-40B4-BE49-F238E27FC236}">
                <a16:creationId xmlns:a16="http://schemas.microsoft.com/office/drawing/2014/main" id="{68CEFAD7-C418-FDFB-AF55-812BD8CD1CC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7704C4A-45A4-9ABC-052A-556D08326A8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8A05A0E-9AF7-9C19-4B52-604E3E36C76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6B1CB52-B900-F893-532D-4B845EDEEFB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CE84958-B4E1-FA90-E860-7D79FACE2C7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91D6346-47CD-1BB4-6AB0-6A9FC900FC04}"/>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363998318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4E741-CCBC-10C2-ACF9-BB9A25A2851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93C57BB-1087-A327-BD94-5F3B68D1281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9ED626E-5E1E-C4F2-8C94-D9F05E1EE40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C9870F1-DF3A-BEB3-9D91-B0E25E4759E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es Grumes Bulles 750ml | NICOLAS | Assuming no other products are changing prices</a:t>
            </a:r>
          </a:p>
        </p:txBody>
      </p:sp>
      <p:sp>
        <p:nvSpPr>
          <p:cNvPr id="10" name="Title 9">
            <a:extLst>
              <a:ext uri="{FF2B5EF4-FFF2-40B4-BE49-F238E27FC236}">
                <a16:creationId xmlns:a16="http://schemas.microsoft.com/office/drawing/2014/main" id="{C48544BE-1152-14CD-2779-39C40FBAA46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47C9968-E9CE-1F71-2181-C4E2CD17AB7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5B2A25D-E1DB-D916-C17D-2C11645A916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2C8A5D9-BD86-DD4D-869A-9CF850584F7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7CC8B77-FF2F-845F-7536-8BC0C3196E9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EC806B8-9E8F-C60B-C183-B9ECFB22CB9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92A61CD-2F97-33A5-4495-0B7565E1B42B}"/>
              </a:ext>
            </a:extLst>
          </p:cNvPr>
          <p:cNvSpPr>
            <a:spLocks noGrp="1"/>
          </p:cNvSpPr>
          <p:nvPr>
            <p:ph type="sldNum" sz="quarter" idx="16"/>
          </p:nvPr>
        </p:nvSpPr>
        <p:spPr/>
        <p:txBody>
          <a:bodyPr/>
          <a:lstStyle/>
          <a:p>
            <a:fld id="{7B1F438D-4EAF-094E-9162-80CF3EF77236}" type="slidenum">
              <a:rPr lang="en-US" smtClean="0"/>
              <a:pPr/>
              <a:t>257</a:t>
            </a:fld>
            <a:endParaRPr lang="en-US"/>
          </a:p>
        </p:txBody>
      </p:sp>
      <p:sp>
        <p:nvSpPr>
          <p:cNvPr id="22" name="Rectangle 21">
            <a:extLst>
              <a:ext uri="{FF2B5EF4-FFF2-40B4-BE49-F238E27FC236}">
                <a16:creationId xmlns:a16="http://schemas.microsoft.com/office/drawing/2014/main" id="{98A0D88A-39A2-7F63-2825-BAD9F0B46D8A}"/>
              </a:ext>
            </a:extLst>
          </p:cNvPr>
          <p:cNvSpPr/>
          <p:nvPr/>
        </p:nvSpPr>
        <p:spPr>
          <a:xfrm>
            <a:off x="972000" y="1458000"/>
            <a:ext cx="3786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8856742-A85B-A27D-0D2E-061CDF38882A}"/>
              </a:ext>
            </a:extLst>
          </p:cNvPr>
          <p:cNvSpPr/>
          <p:nvPr/>
        </p:nvSpPr>
        <p:spPr>
          <a:xfrm>
            <a:off x="475884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26060268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26A66-A6DA-E424-8C3C-E293BAA716D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B5F28F7-C1F1-F1E1-4B15-BB0B718997F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3CD8DAE-482F-917E-EF4C-D058A6953BF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C929C5A-E5F5-75EE-516F-93DB9BD5557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739BF0C-C150-A1C9-E5DD-0AA10B51EE2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39E93EF-FEBC-C4C4-190D-EE30E868EE5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es Grumes Bulles 750ml (1.0%) | Up &amp; Down Pricing | NICOLAS | Assumes no other are changing prices</a:t>
            </a:r>
          </a:p>
        </p:txBody>
      </p:sp>
      <p:sp>
        <p:nvSpPr>
          <p:cNvPr id="4" name="Title1">
            <a:extLst>
              <a:ext uri="{FF2B5EF4-FFF2-40B4-BE49-F238E27FC236}">
                <a16:creationId xmlns:a16="http://schemas.microsoft.com/office/drawing/2014/main" id="{1C7144A5-5038-47A8-C770-4A4F1B0A6E1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FEA290F-C9AB-3051-F178-BD788DEBB6D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1AB43AF-8BB2-3946-9926-0000801072A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38000D7-C4E9-20C6-18ED-7055E2658FB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6A10BFC-7739-E05A-5F04-99002F2003E5}"/>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B80CFFA1-7A6A-D9EF-F5A5-2E57ADCB411A}"/>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422725774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618BA-6D8A-0F39-8F91-E2D58A26ADC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F2D3964-A9A5-3CDE-E0B0-5A451D7F19F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2330049-C631-D2E3-890C-8521CD38D20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73AFCDB-68D4-1630-AFAD-6AA2204266A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750ml | NICOLAS | Assuming no other products are changing prices</a:t>
            </a:r>
          </a:p>
        </p:txBody>
      </p:sp>
      <p:sp>
        <p:nvSpPr>
          <p:cNvPr id="10" name="Title 9">
            <a:extLst>
              <a:ext uri="{FF2B5EF4-FFF2-40B4-BE49-F238E27FC236}">
                <a16:creationId xmlns:a16="http://schemas.microsoft.com/office/drawing/2014/main" id="{8124AA41-D719-181C-7210-6EF2BF6F25E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9D2FA95-1CAD-223B-2554-7B5B264B5DF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C4BC79F-E2D2-C5B3-67EE-72808259522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9B86FD4-CBB7-B485-8BD6-F65D15C6E52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A23CE64-A340-EA00-EE87-049C2EF2AC7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3560FD2-371F-3095-60AE-CBDEF633E91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F9FB33D-DA65-ADB2-9205-3D32FA40B191}"/>
              </a:ext>
            </a:extLst>
          </p:cNvPr>
          <p:cNvSpPr>
            <a:spLocks noGrp="1"/>
          </p:cNvSpPr>
          <p:nvPr>
            <p:ph type="sldNum" sz="quarter" idx="16"/>
          </p:nvPr>
        </p:nvSpPr>
        <p:spPr/>
        <p:txBody>
          <a:bodyPr/>
          <a:lstStyle/>
          <a:p>
            <a:fld id="{7B1F438D-4EAF-094E-9162-80CF3EF77236}" type="slidenum">
              <a:rPr lang="en-US" smtClean="0"/>
              <a:pPr/>
              <a:t>259</a:t>
            </a:fld>
            <a:endParaRPr lang="en-US"/>
          </a:p>
        </p:txBody>
      </p:sp>
      <p:sp>
        <p:nvSpPr>
          <p:cNvPr id="22" name="Rectangle 21">
            <a:extLst>
              <a:ext uri="{FF2B5EF4-FFF2-40B4-BE49-F238E27FC236}">
                <a16:creationId xmlns:a16="http://schemas.microsoft.com/office/drawing/2014/main" id="{ED032E18-3020-1297-1AF7-6B85EE99C30D}"/>
              </a:ext>
            </a:extLst>
          </p:cNvPr>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0EDBBE00-6AA2-F157-E32B-1E47B1725218}"/>
              </a:ext>
            </a:extLst>
          </p:cNvPr>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31604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A699C-C881-F586-7203-C8E9C5D40D0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8731E43-432E-2E43-41DE-055175B654B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4DB3EA4-C0A3-F47B-7D9E-9838C0799FA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DF1A539-28DA-C6BC-D140-9DB5B2768B0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FF58909-1323-38F9-CF4C-82CDD564662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2527ACD-725A-AB7E-C9D0-B0DD9D74093F}"/>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nriot (0.7%) | Up &amp; Down Pricing | NICOLAS | Assumes no other are changing prices</a:t>
            </a:r>
          </a:p>
        </p:txBody>
      </p:sp>
      <p:sp>
        <p:nvSpPr>
          <p:cNvPr id="4" name="Title1">
            <a:extLst>
              <a:ext uri="{FF2B5EF4-FFF2-40B4-BE49-F238E27FC236}">
                <a16:creationId xmlns:a16="http://schemas.microsoft.com/office/drawing/2014/main" id="{ED93DB60-0347-7665-FBC8-CE2ACCC2F20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0DB39D6-30B8-F630-BA35-CA54D98EB82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FE139B7-E03B-FF7B-5455-DEFBA31C52F7}"/>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250E08A-4AB4-22FC-6FA9-BB0E2B327FC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F67D330D-C8E7-3AE2-D903-B4FDB02358A9}"/>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9260295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F309B-FEDA-04CC-00E4-76FE838F5C7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38B8370-F6AF-802C-1619-3AB7B26C496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30840D2-FC9A-057A-4F42-D413C7C24E5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2AB2FDE-15A7-E060-0FBC-5D0A6192035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EB97F6D-A9EE-25D7-1729-57D031AAF80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44B765B-D756-54EB-D3EC-B2221CF29B5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750ml (0.4%) | Up &amp; Down Pricing | NICOLAS | Assumes no other are changing prices</a:t>
            </a:r>
          </a:p>
        </p:txBody>
      </p:sp>
      <p:sp>
        <p:nvSpPr>
          <p:cNvPr id="4" name="Title1">
            <a:extLst>
              <a:ext uri="{FF2B5EF4-FFF2-40B4-BE49-F238E27FC236}">
                <a16:creationId xmlns:a16="http://schemas.microsoft.com/office/drawing/2014/main" id="{2FF0D53A-16FE-7216-ADCE-EF0A184DC49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DDABD39-413B-B03F-E5AE-B9CFF72F869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B754259-9925-D47E-9AB1-CC63C983E50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B6260AF-2291-BFDA-F21A-5C9C43FE726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B98DCDD-D961-8D7D-E2C6-37B53D959FB8}"/>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E72A1B9-73C7-C333-1FEF-94CE50DC7B37}"/>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38540150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78C6D-9B2B-9E5A-C216-D93E71AA53B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FE8C784-0D0E-7C08-62C1-E60FAF22F48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FCC8896-F686-26AF-7874-9BD898A247A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5586555-B721-7434-84C1-7AD13343B020}"/>
              </a:ext>
            </a:extLst>
          </p:cNvPr>
          <p:cNvSpPr>
            <a:spLocks noGrp="1"/>
          </p:cNvSpPr>
          <p:nvPr>
            <p:ph type="body" sz="quarter" idx="18"/>
          </p:nvPr>
        </p:nvSpPr>
        <p:spPr>
          <a:xfrm>
            <a:off x="503238" y="774000"/>
            <a:ext cx="8136762" cy="360000"/>
          </a:xfrm>
        </p:spPr>
        <p:txBody>
          <a:bodyPr/>
          <a:lstStyle/>
          <a:p>
            <a:pPr>
              <a:defRPr sz="1200">
                <a:latin typeface="Nexa Bold (Headings)"/>
              </a:defRPr>
            </a:pPr>
            <a:r>
              <a:t>Sans alcool | Price Elasticity | NICOLAS | Assumes no other products are changing prices</a:t>
            </a:r>
          </a:p>
        </p:txBody>
      </p:sp>
      <p:sp>
        <p:nvSpPr>
          <p:cNvPr id="18" name="Title 17">
            <a:extLst>
              <a:ext uri="{FF2B5EF4-FFF2-40B4-BE49-F238E27FC236}">
                <a16:creationId xmlns:a16="http://schemas.microsoft.com/office/drawing/2014/main" id="{7D2C4F2B-AC42-A640-56E6-A30907322B8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6D019849-1B14-4A4C-FF90-3E5707F1C9B0}"/>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Veuve du Vernay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French Bloom Blanc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French Bloom Rosé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Lyre's Classic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EB71A78-301E-343D-420C-04ED551293A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3885BA6-F1EF-69C2-036D-0F885BB77392}"/>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8B861F6C-AAB8-637A-BD59-AA59A38BF1A5}"/>
              </a:ext>
            </a:extLst>
          </p:cNvPr>
          <p:cNvSpPr>
            <a:spLocks noGrp="1"/>
          </p:cNvSpPr>
          <p:nvPr>
            <p:ph type="sldNum" sz="quarter" idx="16"/>
          </p:nvPr>
        </p:nvSpPr>
        <p:spPr/>
        <p:txBody>
          <a:bodyPr/>
          <a:lstStyle/>
          <a:p>
            <a:fld id="{7B1F438D-4EAF-094E-9162-80CF3EF77236}" type="slidenum">
              <a:rPr lang="en-US" smtClean="0"/>
              <a:pPr/>
              <a:t>261</a:t>
            </a:fld>
            <a:endParaRPr lang="en-US"/>
          </a:p>
        </p:txBody>
      </p:sp>
      <p:sp>
        <p:nvSpPr>
          <p:cNvPr id="3" name="TextBox Y">
            <a:extLst>
              <a:ext uri="{FF2B5EF4-FFF2-40B4-BE49-F238E27FC236}">
                <a16:creationId xmlns:a16="http://schemas.microsoft.com/office/drawing/2014/main" id="{2E5FFB6B-6E18-83E1-CD4E-DBA6CFAF2CB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4906325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7B8A6-C536-DDB7-397C-32A3E4E1B51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3066179-BBAA-7466-4766-16D6F7D10C9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7110767-14AE-80AE-EDCC-0DC68C4B80C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AE726C22-EA65-4C5C-7052-DE583D67292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Sans Alcool 750ml | NICOLAS | Assuming no other products are changing prices</a:t>
            </a:r>
          </a:p>
        </p:txBody>
      </p:sp>
      <p:sp>
        <p:nvSpPr>
          <p:cNvPr id="10" name="Title 9">
            <a:extLst>
              <a:ext uri="{FF2B5EF4-FFF2-40B4-BE49-F238E27FC236}">
                <a16:creationId xmlns:a16="http://schemas.microsoft.com/office/drawing/2014/main" id="{8826C648-5931-97B4-5120-8D481E6A6C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F65B5B4-2B2B-A8C8-1FAD-9EE6CFF623E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4B731BD-A9F4-896D-1283-3727F4AE36A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4F35790-DE10-EF08-C3A4-4DEB04E87EE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FC25D0B-F35B-6D1E-56A9-4D53192B6E4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0F0DC37-87BC-CA0C-737B-08926A22B64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435E2BF5-2D86-469A-3EE8-52F722189912}"/>
              </a:ext>
            </a:extLst>
          </p:cNvPr>
          <p:cNvSpPr>
            <a:spLocks noGrp="1"/>
          </p:cNvSpPr>
          <p:nvPr>
            <p:ph type="sldNum" sz="quarter" idx="16"/>
          </p:nvPr>
        </p:nvSpPr>
        <p:spPr/>
        <p:txBody>
          <a:bodyPr/>
          <a:lstStyle/>
          <a:p>
            <a:fld id="{7B1F438D-4EAF-094E-9162-80CF3EF77236}" type="slidenum">
              <a:rPr lang="en-US" smtClean="0"/>
              <a:pPr/>
              <a:t>262</a:t>
            </a:fld>
            <a:endParaRPr lang="en-US"/>
          </a:p>
        </p:txBody>
      </p:sp>
      <p:sp>
        <p:nvSpPr>
          <p:cNvPr id="22" name="Rectangle 21">
            <a:extLst>
              <a:ext uri="{FF2B5EF4-FFF2-40B4-BE49-F238E27FC236}">
                <a16:creationId xmlns:a16="http://schemas.microsoft.com/office/drawing/2014/main" id="{0C706EE5-7A70-B921-C3AF-B926C27138FD}"/>
              </a:ext>
            </a:extLst>
          </p:cNvPr>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A7EF1BE-30C1-CBBF-B247-68BC61DB4244}"/>
              </a:ext>
            </a:extLst>
          </p:cNvPr>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B5486F1D-0056-BBC7-BA5B-CCE500FEFEBF}"/>
              </a:ext>
            </a:extLst>
          </p:cNvPr>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86844386-7338-2317-51DF-CE0CDA8DBD73}"/>
              </a:ext>
            </a:extLst>
          </p:cNvPr>
          <p:cNvSpPr/>
          <p:nvPr/>
        </p:nvSpPr>
        <p:spPr>
          <a:xfrm>
            <a:off x="3798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3500B131-CA75-35AD-F503-D849E98849E2}"/>
              </a:ext>
            </a:extLst>
          </p:cNvPr>
          <p:cNvSpPr/>
          <p:nvPr/>
        </p:nvSpPr>
        <p:spPr>
          <a:xfrm>
            <a:off x="4476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12BF1C6E-3993-822A-5DF5-259C9FE72AE5}"/>
              </a:ext>
            </a:extLst>
          </p:cNvPr>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6930819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B847A-8435-FD05-AF0A-23BFDFE3C00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5204DA5-E5FA-9CD9-FECE-E746DBF5B6E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E165764-1564-A28D-B519-7365B162C82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AB6E730-5824-6F7E-726B-74D1BA033EA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6CA1C2A-3486-1E0F-9483-67EA420B38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A027FB5C-A5D6-85E6-2B9B-1F607AB5B0C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Sans Alcool 750ml (0.3%) | Up &amp; Down Pricing | NICOLAS | Assumes no other are changing prices</a:t>
            </a:r>
          </a:p>
        </p:txBody>
      </p:sp>
      <p:sp>
        <p:nvSpPr>
          <p:cNvPr id="4" name="Title1">
            <a:extLst>
              <a:ext uri="{FF2B5EF4-FFF2-40B4-BE49-F238E27FC236}">
                <a16:creationId xmlns:a16="http://schemas.microsoft.com/office/drawing/2014/main" id="{D8582A29-F851-96C3-22CE-FBBC0F428FC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F6793D0-CC2B-C99A-1725-AF3AA44D395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2E31135-28FE-B63D-1414-9A5C35A975A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B57B3BA-B4CC-7999-1F17-B58EE3DBBB4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6162F69-FE6B-5500-A122-6FF950B9736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10FE103D-C436-725B-5CCC-83086E1A5B83}"/>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99131397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B6C23-7ACF-FE0A-4F58-463ADE7F6F8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E2D5824-8F1E-4D38-6F33-86B51103F7A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17D6EAA-7BE4-0928-A51C-E195B81F356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45E4293-659B-EDFC-92AF-D800B729638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Blanc Bio Sans Alcool 750ml | NICOLAS | Assuming no other products are changing prices</a:t>
            </a:r>
          </a:p>
        </p:txBody>
      </p:sp>
      <p:sp>
        <p:nvSpPr>
          <p:cNvPr id="10" name="Title 9">
            <a:extLst>
              <a:ext uri="{FF2B5EF4-FFF2-40B4-BE49-F238E27FC236}">
                <a16:creationId xmlns:a16="http://schemas.microsoft.com/office/drawing/2014/main" id="{C3CA6E7D-5D00-61FB-3D87-B5F2418CCCA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6ABC8D9-ED29-D576-40C4-EA15F267D54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12C1AA8-210A-B67B-843D-05290BDDA32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75BEE4-22B6-5D49-E6DC-EF5F9E6E05E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4D58469-16CB-EE16-A3C5-1C6ECD44715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0F53580-16F9-668C-15D4-BD8C3243406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E8FD8FA-6FF9-5738-7AEF-A51CB3F4CB1D}"/>
              </a:ext>
            </a:extLst>
          </p:cNvPr>
          <p:cNvSpPr>
            <a:spLocks noGrp="1"/>
          </p:cNvSpPr>
          <p:nvPr>
            <p:ph type="sldNum" sz="quarter" idx="16"/>
          </p:nvPr>
        </p:nvSpPr>
        <p:spPr/>
        <p:txBody>
          <a:bodyPr/>
          <a:lstStyle/>
          <a:p>
            <a:fld id="{7B1F438D-4EAF-094E-9162-80CF3EF77236}" type="slidenum">
              <a:rPr lang="en-US" smtClean="0"/>
              <a:pPr/>
              <a:t>264</a:t>
            </a:fld>
            <a:endParaRPr lang="en-US"/>
          </a:p>
        </p:txBody>
      </p:sp>
      <p:sp>
        <p:nvSpPr>
          <p:cNvPr id="22" name="Rectangle 21">
            <a:extLst>
              <a:ext uri="{FF2B5EF4-FFF2-40B4-BE49-F238E27FC236}">
                <a16:creationId xmlns:a16="http://schemas.microsoft.com/office/drawing/2014/main" id="{87231BEA-8FB6-9E98-9915-36A0AE60EE2D}"/>
              </a:ext>
            </a:extLst>
          </p:cNvPr>
          <p:cNvSpPr/>
          <p:nvPr/>
        </p:nvSpPr>
        <p:spPr>
          <a:xfrm>
            <a:off x="972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52A768B7-AFBA-148E-1B1C-2A723E3A76B1}"/>
              </a:ext>
            </a:extLst>
          </p:cNvPr>
          <p:cNvSpPr/>
          <p:nvPr/>
        </p:nvSpPr>
        <p:spPr>
          <a:xfrm>
            <a:off x="193284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40058481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42CA0-F86F-8CBE-31FE-39502D49E07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4FC9384-66C8-40D9-8A81-D7EF5E03B00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A2B2BBE-B1E1-256F-FC03-25DC7B4B142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700EDF8-27BE-B79A-992F-29A96BBDE4E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1A43FCB-913F-3F6C-E084-E998230D06A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1961852-8E6F-5FE9-C07C-1457FB6E89B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Blanc Bio Sans Alcool 750ml (0.7%) | Up &amp; Down Pricing | NICOLAS | Assumes no other are changing prices</a:t>
            </a:r>
          </a:p>
        </p:txBody>
      </p:sp>
      <p:sp>
        <p:nvSpPr>
          <p:cNvPr id="4" name="Title1">
            <a:extLst>
              <a:ext uri="{FF2B5EF4-FFF2-40B4-BE49-F238E27FC236}">
                <a16:creationId xmlns:a16="http://schemas.microsoft.com/office/drawing/2014/main" id="{2CBAFED2-1F55-A741-3792-1566FFE5CF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BF06967-4514-F9C3-EB14-3F7F2AC5389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64338B7-9B81-3057-3FE0-4FE48D6AF9F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244B713-4861-CBEB-DAD3-D316C8D3959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AB0D027-EC05-EFF1-0695-E145853E35A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1F06261-434E-A113-80C9-5CD34207AA9B}"/>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299478476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586EB-A444-8653-BDBD-6FE3731BB4D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E1981F3-35E2-50E7-BB6C-CB4A92EEF93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7ADD47D-7BB8-8F51-021C-2775B037AD5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8A2C86E6-B82E-9EC5-DF38-3707BE7C683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Rosé Bio Sans Alcool 750ml | NICOLAS | Assuming no other products are changing prices</a:t>
            </a:r>
          </a:p>
        </p:txBody>
      </p:sp>
      <p:sp>
        <p:nvSpPr>
          <p:cNvPr id="10" name="Title 9">
            <a:extLst>
              <a:ext uri="{FF2B5EF4-FFF2-40B4-BE49-F238E27FC236}">
                <a16:creationId xmlns:a16="http://schemas.microsoft.com/office/drawing/2014/main" id="{2CA91572-C202-0EA1-DA9B-2B07F75418C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D1AEB78-8B3A-6BB8-9F7C-160EDFBEB39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73177E8-E4AF-189A-5BC8-4D84ACBD913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D270E6D-5DB5-43BA-BDBD-CB9ED6CBE73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2200CAC-0303-0D32-5407-F032E0F83C3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92031A1-D165-7F10-34C4-6B6525BA724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38A029E-7251-BDF7-D314-4E224D7F6012}"/>
              </a:ext>
            </a:extLst>
          </p:cNvPr>
          <p:cNvSpPr>
            <a:spLocks noGrp="1"/>
          </p:cNvSpPr>
          <p:nvPr>
            <p:ph type="sldNum" sz="quarter" idx="16"/>
          </p:nvPr>
        </p:nvSpPr>
        <p:spPr/>
        <p:txBody>
          <a:bodyPr/>
          <a:lstStyle/>
          <a:p>
            <a:fld id="{7B1F438D-4EAF-094E-9162-80CF3EF77236}" type="slidenum">
              <a:rPr lang="en-US" smtClean="0"/>
              <a:pPr/>
              <a:t>266</a:t>
            </a:fld>
            <a:endParaRPr lang="en-US"/>
          </a:p>
        </p:txBody>
      </p:sp>
      <p:sp>
        <p:nvSpPr>
          <p:cNvPr id="22" name="Rectangle 21">
            <a:extLst>
              <a:ext uri="{FF2B5EF4-FFF2-40B4-BE49-F238E27FC236}">
                <a16:creationId xmlns:a16="http://schemas.microsoft.com/office/drawing/2014/main" id="{16F0AB0A-D7A8-9758-FFA4-7418FE603ACA}"/>
              </a:ext>
            </a:extLst>
          </p:cNvPr>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885D596-8C21-AF10-3C53-A50CB5D69302}"/>
              </a:ext>
            </a:extLst>
          </p:cNvPr>
          <p:cNvSpPr/>
          <p:nvPr/>
        </p:nvSpPr>
        <p:spPr>
          <a:xfrm>
            <a:off x="210240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139DB3F9-F55C-EC1C-5A51-A03679E4208C}"/>
              </a:ext>
            </a:extLst>
          </p:cNvPr>
          <p:cNvSpPr/>
          <p:nvPr/>
        </p:nvSpPr>
        <p:spPr>
          <a:xfrm>
            <a:off x="39110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1DAF5D59-C3FD-2976-EC6F-1D3CE4635539}"/>
              </a:ext>
            </a:extLst>
          </p:cNvPr>
          <p:cNvSpPr/>
          <p:nvPr/>
        </p:nvSpPr>
        <p:spPr>
          <a:xfrm>
            <a:off x="413712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42DEB434-A5B1-BF71-82AA-367EA2B98B4B}"/>
              </a:ext>
            </a:extLst>
          </p:cNvPr>
          <p:cNvSpPr/>
          <p:nvPr/>
        </p:nvSpPr>
        <p:spPr>
          <a:xfrm>
            <a:off x="458928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7710137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9CA4E8-E48A-CD13-1C58-A5F5235F359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7DEB43A-8084-0040-4A53-824FC93F493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9F6C556-5448-35E4-CE01-38996BACF5D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67B7563-22F9-46F0-3C80-1B8CB7E76C4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9463120-EF69-D4E9-C75C-18B3A4CA1C2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5C58FBA-B3FF-97F9-73FB-B5CBADC885E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Rosé Bio Sans Alcool 750ml (0.1%) | Up &amp; Down Pricing | NICOLAS | Assumes no other are changing prices</a:t>
            </a:r>
          </a:p>
        </p:txBody>
      </p:sp>
      <p:sp>
        <p:nvSpPr>
          <p:cNvPr id="4" name="Title1">
            <a:extLst>
              <a:ext uri="{FF2B5EF4-FFF2-40B4-BE49-F238E27FC236}">
                <a16:creationId xmlns:a16="http://schemas.microsoft.com/office/drawing/2014/main" id="{46D082B6-9A50-C8D2-B347-B27FBF5ABB8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846E80A-3701-8CA9-352D-64AB070A062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CAB50DA-8741-8D26-F6F9-EE6E98AD343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17FDCC0-42DE-5A70-06F9-6616742AB0E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1096DC5-D036-AA8B-ED1C-F455C2D51AF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6E1F2CA-77A2-AE7A-E7C9-466731BCF072}"/>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1175708807"/>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B468C-24EB-7DB5-6872-0E7E5CBFF74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483A477-F46E-EBE4-58E2-23408A20F3F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90E0C98-CE1E-E499-843E-BF6D4999CDF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677C1E1-CF15-997F-E0AA-6BD772EE173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yre's Classico Sans Alcool 750ml | NICOLAS | Assuming no other products are changing prices</a:t>
            </a:r>
          </a:p>
        </p:txBody>
      </p:sp>
      <p:sp>
        <p:nvSpPr>
          <p:cNvPr id="10" name="Title 9">
            <a:extLst>
              <a:ext uri="{FF2B5EF4-FFF2-40B4-BE49-F238E27FC236}">
                <a16:creationId xmlns:a16="http://schemas.microsoft.com/office/drawing/2014/main" id="{6717AB6E-B0EF-0662-DF22-2FBFE9B9CED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B3071D7-7156-9FE2-704B-073A00E0060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ED7BF13-0162-26F5-F72C-57C62813DA8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8169468-D589-1540-B987-F0781E1B1DD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2B890E6-77B9-CA60-E630-52F0D10E7FD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754DBBD-A917-7C48-3131-F6364D257E3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18965C4-6C68-1AAF-2E51-245D759057DC}"/>
              </a:ext>
            </a:extLst>
          </p:cNvPr>
          <p:cNvSpPr>
            <a:spLocks noGrp="1"/>
          </p:cNvSpPr>
          <p:nvPr>
            <p:ph type="sldNum" sz="quarter" idx="16"/>
          </p:nvPr>
        </p:nvSpPr>
        <p:spPr/>
        <p:txBody>
          <a:bodyPr/>
          <a:lstStyle/>
          <a:p>
            <a:fld id="{7B1F438D-4EAF-094E-9162-80CF3EF77236}" type="slidenum">
              <a:rPr lang="en-US" smtClean="0"/>
              <a:pPr/>
              <a:t>268</a:t>
            </a:fld>
            <a:endParaRPr lang="en-US"/>
          </a:p>
        </p:txBody>
      </p:sp>
      <p:sp>
        <p:nvSpPr>
          <p:cNvPr id="22" name="Rectangle 21">
            <a:extLst>
              <a:ext uri="{FF2B5EF4-FFF2-40B4-BE49-F238E27FC236}">
                <a16:creationId xmlns:a16="http://schemas.microsoft.com/office/drawing/2014/main" id="{AC31D7AF-1F4B-FB1A-FA99-93EA05B962C7}"/>
              </a:ext>
            </a:extLst>
          </p:cNvPr>
          <p:cNvSpPr/>
          <p:nvPr/>
        </p:nvSpPr>
        <p:spPr>
          <a:xfrm>
            <a:off x="972000" y="1458000"/>
            <a:ext cx="3165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121166C9-CB64-3BD7-A284-5A17ED5C380A}"/>
              </a:ext>
            </a:extLst>
          </p:cNvPr>
          <p:cNvSpPr/>
          <p:nvPr/>
        </p:nvSpPr>
        <p:spPr>
          <a:xfrm>
            <a:off x="4137120" y="1458000"/>
            <a:ext cx="12434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39E593B0-4070-2AD1-DF60-5C76534DF4F8}"/>
              </a:ext>
            </a:extLst>
          </p:cNvPr>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6386777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5AA6F-3B92-00E2-D7A8-1D20DEEC144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B19833F-3AA6-0E86-EB6A-550B03A8964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F28420D-31D9-9078-BE28-5B41810AF37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5B8A0F5-F054-45A8-3E34-8F0D52F283F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5F31C95-2B74-F78D-F90C-18C65AC1753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D6A015C-2E5B-EDF0-9AE9-DB6437A7075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yre's Classico Sans Alcool 750ml (1.0%) | Up &amp; Down Pricing | NICOLAS | Assumes no other are changing prices</a:t>
            </a:r>
          </a:p>
        </p:txBody>
      </p:sp>
      <p:sp>
        <p:nvSpPr>
          <p:cNvPr id="4" name="Title1">
            <a:extLst>
              <a:ext uri="{FF2B5EF4-FFF2-40B4-BE49-F238E27FC236}">
                <a16:creationId xmlns:a16="http://schemas.microsoft.com/office/drawing/2014/main" id="{CBE7FB8E-073E-66A7-9BC8-F4CCDEDBBC4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A8367C9-6F0C-97D2-32BF-09D863874CC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11E2739-6626-6F4F-15BB-E49FE933F66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4442890-685A-68D5-D4DD-AB7BD084C02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6F0526F-636E-13D3-3A57-A438D808543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4818BC6-8113-697E-EBE8-C82B6DA906DD}"/>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382061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0A166-029A-429D-35AD-57EAF525D66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87BA49E-235B-4405-1E5B-0FAD5D2C182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21B66F8-AA35-E250-1AB9-F50B3489677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3888940-9A40-CDF1-E035-87296706046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EADA2CD-C606-9007-8757-102D198ED54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AC2364E-CD79-215E-714A-6ADBE16EBF1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llier (0.4%) | Up &amp; Down Pricing | NICOLAS | Assumes no other are changing prices</a:t>
            </a:r>
          </a:p>
        </p:txBody>
      </p:sp>
      <p:sp>
        <p:nvSpPr>
          <p:cNvPr id="4" name="Title1">
            <a:extLst>
              <a:ext uri="{FF2B5EF4-FFF2-40B4-BE49-F238E27FC236}">
                <a16:creationId xmlns:a16="http://schemas.microsoft.com/office/drawing/2014/main" id="{4DA37FFB-7708-3EA3-DAA7-35503910877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9215711-EF62-D14E-8923-0A900CC28B6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7127FED-3662-7484-76F5-83D732CFBCA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9AFA259-551D-93F7-773B-46B9CD965555}"/>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4D69C11-95C7-37BC-9964-171CEE101B02}"/>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81798808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44F08-34C1-24B5-EEE1-2E1FDCC94D4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BEF83DE-AA75-F37C-9CA2-E6A8866115C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76C249A-96F6-1B48-CD71-A6C7CE1B42C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7042B3E9-A18C-07F7-E46F-031339C6A567}"/>
              </a:ext>
            </a:extLst>
          </p:cNvPr>
          <p:cNvSpPr>
            <a:spLocks noGrp="1"/>
          </p:cNvSpPr>
          <p:nvPr>
            <p:ph type="body" sz="quarter" idx="18"/>
          </p:nvPr>
        </p:nvSpPr>
        <p:spPr>
          <a:xfrm>
            <a:off x="503238" y="774000"/>
            <a:ext cx="8136762" cy="360000"/>
          </a:xfrm>
        </p:spPr>
        <p:txBody>
          <a:bodyPr/>
          <a:lstStyle/>
          <a:p>
            <a:pPr>
              <a:defRPr sz="1200">
                <a:latin typeface="Nexa Bold (Headings)"/>
              </a:defRPr>
            </a:pPr>
            <a:r>
              <a:t>Prosecco | Price Elasticity | NICOLAS | Assumes no other products are changing prices</a:t>
            </a:r>
          </a:p>
        </p:txBody>
      </p:sp>
      <p:sp>
        <p:nvSpPr>
          <p:cNvPr id="18" name="Title 17">
            <a:extLst>
              <a:ext uri="{FF2B5EF4-FFF2-40B4-BE49-F238E27FC236}">
                <a16:creationId xmlns:a16="http://schemas.microsoft.com/office/drawing/2014/main" id="{2737E7B0-3D7E-AC01-54DE-5E40ADFE2D7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EE10C18-2A38-87CA-3E8C-0E443CCA80F3}"/>
              </a:ext>
            </a:extLst>
          </p:cNvPr>
          <p:cNvGraphicFramePr>
            <a:graphicFrameLocks/>
          </p:cNvGraphicFramePr>
          <p:nvPr/>
        </p:nvGraphicFramePr>
        <p:xfrm>
          <a:off x="4579258" y="1141495"/>
          <a:ext cx="4057904" cy="132260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Prosecco Botteg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Prosecco Bottega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Carlo V Cuvée Del Imperato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Savian Extra Dry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Contarini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40659FA-B1C9-6220-A25C-8D60D36EC12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058D895-DBEB-C50D-4DF1-303477AAEB27}"/>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54D38279-A526-5C50-B75E-B204FA1B00B5}"/>
              </a:ext>
            </a:extLst>
          </p:cNvPr>
          <p:cNvSpPr>
            <a:spLocks noGrp="1"/>
          </p:cNvSpPr>
          <p:nvPr>
            <p:ph type="sldNum" sz="quarter" idx="16"/>
          </p:nvPr>
        </p:nvSpPr>
        <p:spPr/>
        <p:txBody>
          <a:bodyPr/>
          <a:lstStyle/>
          <a:p>
            <a:fld id="{7B1F438D-4EAF-094E-9162-80CF3EF77236}" type="slidenum">
              <a:rPr lang="en-US" smtClean="0"/>
              <a:pPr/>
              <a:t>270</a:t>
            </a:fld>
            <a:endParaRPr lang="en-US"/>
          </a:p>
        </p:txBody>
      </p:sp>
      <p:sp>
        <p:nvSpPr>
          <p:cNvPr id="3" name="TextBox Y">
            <a:extLst>
              <a:ext uri="{FF2B5EF4-FFF2-40B4-BE49-F238E27FC236}">
                <a16:creationId xmlns:a16="http://schemas.microsoft.com/office/drawing/2014/main" id="{1EA6A31E-3C13-D01E-996B-11769F817D5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3033811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D9D11-F081-C76C-1E76-AD54D88DFBE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3DC727D-7AEE-A171-03DF-EDD13C73CC1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913F12D-B6EB-1FBB-4A15-D5D922C19B8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63F61CF-0535-2F7A-B71B-BFC2DE22027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750ml | NICOLAS | Assuming no other products are changing prices</a:t>
            </a:r>
          </a:p>
        </p:txBody>
      </p:sp>
      <p:sp>
        <p:nvSpPr>
          <p:cNvPr id="10" name="Title 9">
            <a:extLst>
              <a:ext uri="{FF2B5EF4-FFF2-40B4-BE49-F238E27FC236}">
                <a16:creationId xmlns:a16="http://schemas.microsoft.com/office/drawing/2014/main" id="{863B5241-DC01-CFFB-3113-688E31FF7BA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F733C4A-26AE-C485-0F65-9642F3B04F6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BCB39F8-E34A-3BDC-52D2-2045DBD11FB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AF44C8C-4BD6-908A-DF2B-1D1BB043BCB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337CD90-1618-F4A1-CF89-2F3483153BC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82A4FFA-724A-5E8D-C2D6-7146AC521C6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9023439C-0EAB-8810-121B-38A2130C3154}"/>
              </a:ext>
            </a:extLst>
          </p:cNvPr>
          <p:cNvSpPr>
            <a:spLocks noGrp="1"/>
          </p:cNvSpPr>
          <p:nvPr>
            <p:ph type="sldNum" sz="quarter" idx="16"/>
          </p:nvPr>
        </p:nvSpPr>
        <p:spPr/>
        <p:txBody>
          <a:bodyPr/>
          <a:lstStyle/>
          <a:p>
            <a:fld id="{7B1F438D-4EAF-094E-9162-80CF3EF77236}" type="slidenum">
              <a:rPr lang="en-US" smtClean="0"/>
              <a:pPr/>
              <a:t>271</a:t>
            </a:fld>
            <a:endParaRPr lang="en-US"/>
          </a:p>
        </p:txBody>
      </p:sp>
      <p:sp>
        <p:nvSpPr>
          <p:cNvPr id="22" name="Rectangle 21">
            <a:extLst>
              <a:ext uri="{FF2B5EF4-FFF2-40B4-BE49-F238E27FC236}">
                <a16:creationId xmlns:a16="http://schemas.microsoft.com/office/drawing/2014/main" id="{D5078D91-F98F-864F-DC1C-631E15E535D5}"/>
              </a:ext>
            </a:extLst>
          </p:cNvPr>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1AFD383-4A27-284F-1668-E073A3B277F0}"/>
              </a:ext>
            </a:extLst>
          </p:cNvPr>
          <p:cNvSpPr/>
          <p:nvPr/>
        </p:nvSpPr>
        <p:spPr>
          <a:xfrm>
            <a:off x="2385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218937D3-DB40-01A8-E47F-CF28E4170641}"/>
              </a:ext>
            </a:extLst>
          </p:cNvPr>
          <p:cNvSpPr/>
          <p:nvPr/>
        </p:nvSpPr>
        <p:spPr>
          <a:xfrm>
            <a:off x="3798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E6448834-36EC-3C4E-B6A5-B89F75022FF1}"/>
              </a:ext>
            </a:extLst>
          </p:cNvPr>
          <p:cNvSpPr/>
          <p:nvPr/>
        </p:nvSpPr>
        <p:spPr>
          <a:xfrm>
            <a:off x="447624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17D71206-AF7F-E2BC-4776-5F857466B6F6}"/>
              </a:ext>
            </a:extLst>
          </p:cNvPr>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5551430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12AED-CD0D-6ACC-CFF3-E8646BDF027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BFB3018-7D9C-4D76-4FEA-C2C9842773C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E052F17-7B72-9148-C1D4-966D4BA70AD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795C535-1BFC-0F48-5DD1-C7CF310B31E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9B1C52A-F354-9E0A-D134-4F3207E7B3D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6CA019B-9244-324D-75D7-A1593B82BFE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750ml (2.6%) | Up &amp; Down Pricing | NICOLAS | Assumes no other are changing prices</a:t>
            </a:r>
          </a:p>
        </p:txBody>
      </p:sp>
      <p:sp>
        <p:nvSpPr>
          <p:cNvPr id="4" name="Title1">
            <a:extLst>
              <a:ext uri="{FF2B5EF4-FFF2-40B4-BE49-F238E27FC236}">
                <a16:creationId xmlns:a16="http://schemas.microsoft.com/office/drawing/2014/main" id="{A8749CDC-939E-B480-2C6F-2FA1A7F74CB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822DD66-0084-FFEE-D604-608E031A77C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4563770-7A81-9BCC-0139-FD5B49686B9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2D17E8A-19BA-BFE4-03AF-18B2306B565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DACE8A6-B7D2-39F3-8940-A8C36D1C4A7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595A7E3-D2BB-73A7-9C39-073D51F4F943}"/>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212238966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1CC29-E357-C8A2-09D4-FB0F707E49A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BBDC89-1AC4-524D-D16E-52AA43AE8AE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A0E1043-E690-633B-879B-142CA398931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11E75AE-8807-8BDA-A766-4A9C0182505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Rosé 750ml | NICOLAS | Assuming no other products are changing prices</a:t>
            </a:r>
          </a:p>
        </p:txBody>
      </p:sp>
      <p:sp>
        <p:nvSpPr>
          <p:cNvPr id="10" name="Title 9">
            <a:extLst>
              <a:ext uri="{FF2B5EF4-FFF2-40B4-BE49-F238E27FC236}">
                <a16:creationId xmlns:a16="http://schemas.microsoft.com/office/drawing/2014/main" id="{A3F66D67-EEAD-C249-37CA-4DE88505A06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1509480-0BED-49BC-7097-B72FDD96BB3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BECC981-7AAA-FC1D-DF82-91E75E87F74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FCE1474-CBCC-7F16-4A4D-27300270A2E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9EE5BAE-3F9C-A419-B002-C2B913136F3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E0726C6-43D4-8775-E384-F2EAB198E9E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78ECF497-8942-22F0-4871-F2E4D06D50AD}"/>
              </a:ext>
            </a:extLst>
          </p:cNvPr>
          <p:cNvSpPr>
            <a:spLocks noGrp="1"/>
          </p:cNvSpPr>
          <p:nvPr>
            <p:ph type="sldNum" sz="quarter" idx="16"/>
          </p:nvPr>
        </p:nvSpPr>
        <p:spPr/>
        <p:txBody>
          <a:bodyPr/>
          <a:lstStyle/>
          <a:p>
            <a:fld id="{7B1F438D-4EAF-094E-9162-80CF3EF77236}" type="slidenum">
              <a:rPr lang="en-US" smtClean="0"/>
              <a:pPr/>
              <a:t>273</a:t>
            </a:fld>
            <a:endParaRPr lang="en-US"/>
          </a:p>
        </p:txBody>
      </p:sp>
      <p:sp>
        <p:nvSpPr>
          <p:cNvPr id="22" name="Rectangle 21">
            <a:extLst>
              <a:ext uri="{FF2B5EF4-FFF2-40B4-BE49-F238E27FC236}">
                <a16:creationId xmlns:a16="http://schemas.microsoft.com/office/drawing/2014/main" id="{7FFA9FC2-55C0-715B-4BFE-350F46EA9854}"/>
              </a:ext>
            </a:extLst>
          </p:cNvPr>
          <p:cNvSpPr/>
          <p:nvPr/>
        </p:nvSpPr>
        <p:spPr>
          <a:xfrm>
            <a:off x="9720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B5952426-4274-3E36-9499-54605336AA66}"/>
              </a:ext>
            </a:extLst>
          </p:cNvPr>
          <p:cNvSpPr/>
          <p:nvPr/>
        </p:nvSpPr>
        <p:spPr>
          <a:xfrm>
            <a:off x="176328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97F528B1-F56A-6E64-9394-349F478C4F4B}"/>
              </a:ext>
            </a:extLst>
          </p:cNvPr>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1928344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C1E5F-4C5A-52D5-C27C-8D338DC33D5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2271EC7-3B89-61B6-7BDF-8B0B984442F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DA701DE-4FDE-6F95-F83D-7B458335BF0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AA04F6-765E-2719-2F82-C7347CD3133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25940BC-FA7C-E6DA-A8F8-2D929902098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CCF6033-EE52-2881-A639-B4C1DC29B32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Rosé 750ml (1.1%) | Up &amp; Down Pricing | NICOLAS | Assumes no other are changing prices</a:t>
            </a:r>
          </a:p>
        </p:txBody>
      </p:sp>
      <p:sp>
        <p:nvSpPr>
          <p:cNvPr id="4" name="Title1">
            <a:extLst>
              <a:ext uri="{FF2B5EF4-FFF2-40B4-BE49-F238E27FC236}">
                <a16:creationId xmlns:a16="http://schemas.microsoft.com/office/drawing/2014/main" id="{30A8C533-DD02-61BA-DE25-7CE85717BCD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0D421F8-2A22-A177-A79A-E21E8F21039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A6DEBA9-3799-03D2-43C2-492B6E1046E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7E0851A-D28F-EE02-400D-F5475CBEF87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7770DE2-5E88-4171-8852-ACAF516213FF}"/>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BAC050A-5C16-8839-54C4-9D697A13AC23}"/>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17803492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849138-EB8C-4B37-875A-C87C1FAED62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E50564C-2485-C8D1-BD8A-4AE7363324D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06BB7EB-EB4F-67CD-10F3-DF87AC56AFA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8AB52C7A-1F95-1787-8BB3-B1B701AAA4D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arlo V Cuvée Del Imperator 750ml | NICOLAS | Assuming no other products are changing prices</a:t>
            </a:r>
          </a:p>
        </p:txBody>
      </p:sp>
      <p:sp>
        <p:nvSpPr>
          <p:cNvPr id="10" name="Title 9">
            <a:extLst>
              <a:ext uri="{FF2B5EF4-FFF2-40B4-BE49-F238E27FC236}">
                <a16:creationId xmlns:a16="http://schemas.microsoft.com/office/drawing/2014/main" id="{DD9451C7-2454-29C9-487E-D4A4B633EF8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22C84B6-A8B9-53C9-AC27-1966C427A0D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C6F7B26-3CC8-B05B-975A-04D446DC3CB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17D970F-22B5-AE52-1D15-1D119BC72EA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BAA81F1-82B1-53EF-4E1D-E92FDF93E94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7B8EA14-96F6-25E0-35FB-B258A16CC3D2}"/>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6A18188-7309-5374-1D57-40ABF0735A64}"/>
              </a:ext>
            </a:extLst>
          </p:cNvPr>
          <p:cNvSpPr>
            <a:spLocks noGrp="1"/>
          </p:cNvSpPr>
          <p:nvPr>
            <p:ph type="sldNum" sz="quarter" idx="16"/>
          </p:nvPr>
        </p:nvSpPr>
        <p:spPr/>
        <p:txBody>
          <a:bodyPr/>
          <a:lstStyle/>
          <a:p>
            <a:fld id="{7B1F438D-4EAF-094E-9162-80CF3EF77236}" type="slidenum">
              <a:rPr lang="en-US" smtClean="0"/>
              <a:pPr/>
              <a:t>275</a:t>
            </a:fld>
            <a:endParaRPr lang="en-US"/>
          </a:p>
        </p:txBody>
      </p:sp>
      <p:sp>
        <p:nvSpPr>
          <p:cNvPr id="22" name="Rectangle 21">
            <a:extLst>
              <a:ext uri="{FF2B5EF4-FFF2-40B4-BE49-F238E27FC236}">
                <a16:creationId xmlns:a16="http://schemas.microsoft.com/office/drawing/2014/main" id="{2B1D6916-D2D6-73BA-C9D3-04B429261D6D}"/>
              </a:ext>
            </a:extLst>
          </p:cNvPr>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7398350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543510-BD01-23C6-3214-B987906FC4C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B2415CC-5390-C66A-F025-8747E3E26B4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57EA573-9D93-7A25-6707-63DE0D05594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F9252A8-8C40-CEC7-E19C-167D40826BF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875FCB1-C5B2-D6CE-1368-E804DC197D1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A6B4DCEF-309D-417A-CE64-3308A7D920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arlo V Cuvée Del Imperator 750ml (5.4%) | Up &amp; Down Pricing | NICOLAS | Assumes no other are changing prices</a:t>
            </a:r>
          </a:p>
        </p:txBody>
      </p:sp>
      <p:sp>
        <p:nvSpPr>
          <p:cNvPr id="4" name="Title1">
            <a:extLst>
              <a:ext uri="{FF2B5EF4-FFF2-40B4-BE49-F238E27FC236}">
                <a16:creationId xmlns:a16="http://schemas.microsoft.com/office/drawing/2014/main" id="{293FB0B9-8F45-D2CF-6E4F-EFBAD0BFA2B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1DC1FE6-56E6-2E4E-DA20-2F2B6F79AE0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2A1D8C6-ABE9-430D-4F0A-004BB8B4439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C7808B0-4FFA-B772-76A3-A6C7127F999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267E2D1-E3E7-4855-9D2D-4BE697959E9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EAFFE3F-3168-60C9-7ECB-FC41C7D6FDFD}"/>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47270659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3EF02-3AC7-3885-94B3-CFA76B12BB5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D3D1FC3-301E-2FD8-7A29-98B8F39DD5A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6719F1C-29B5-B76D-6314-2DA54CD0FF8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1081E691-6330-37D3-4B93-CE34B61DDC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Savian Extra Dry Bio 750ml | NICOLAS | Assuming no other products are changing prices</a:t>
            </a:r>
          </a:p>
        </p:txBody>
      </p:sp>
      <p:sp>
        <p:nvSpPr>
          <p:cNvPr id="10" name="Title 9">
            <a:extLst>
              <a:ext uri="{FF2B5EF4-FFF2-40B4-BE49-F238E27FC236}">
                <a16:creationId xmlns:a16="http://schemas.microsoft.com/office/drawing/2014/main" id="{B2E2AD51-DB5C-BCE5-0C9F-BFE6A34A58D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39C57A2-7E67-367D-CD10-618D6A7B3A2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742654D-A8CC-0E4B-BC29-C57E3DB0BDB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A4D1E88-DBFA-668E-8C00-3D92D8F11C6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B7D7445-D51F-A068-9161-5BC994E072A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F6E9681-6B1E-5BDD-ADE5-6701699B38C6}"/>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2DACCB5-1812-443B-DC40-84E9489D787F}"/>
              </a:ext>
            </a:extLst>
          </p:cNvPr>
          <p:cNvSpPr>
            <a:spLocks noGrp="1"/>
          </p:cNvSpPr>
          <p:nvPr>
            <p:ph type="sldNum" sz="quarter" idx="16"/>
          </p:nvPr>
        </p:nvSpPr>
        <p:spPr/>
        <p:txBody>
          <a:bodyPr/>
          <a:lstStyle/>
          <a:p>
            <a:fld id="{7B1F438D-4EAF-094E-9162-80CF3EF77236}" type="slidenum">
              <a:rPr lang="en-US" smtClean="0"/>
              <a:pPr/>
              <a:t>277</a:t>
            </a:fld>
            <a:endParaRPr lang="en-US"/>
          </a:p>
        </p:txBody>
      </p:sp>
      <p:sp>
        <p:nvSpPr>
          <p:cNvPr id="22" name="Rectangle 21">
            <a:extLst>
              <a:ext uri="{FF2B5EF4-FFF2-40B4-BE49-F238E27FC236}">
                <a16:creationId xmlns:a16="http://schemas.microsoft.com/office/drawing/2014/main" id="{1999C2D4-1C37-E62F-8D47-4D3C73E5D83E}"/>
              </a:ext>
            </a:extLst>
          </p:cNvPr>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0E1F02B8-ADF5-CFD6-69D6-21231CC7FF67}"/>
              </a:ext>
            </a:extLst>
          </p:cNvPr>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E450D64A-2FC4-74C1-BE0B-A291A4B82A88}"/>
              </a:ext>
            </a:extLst>
          </p:cNvPr>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75CD8731-1F62-19BB-20A9-47B275578F06}"/>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1304570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E60D1-5773-B3A2-0AE2-0BBD9AF5529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2760014-9B55-DC22-2EEA-8BC22288AEB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99186F1-2688-5796-ACF9-79672F1FF98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6490F0A-81C7-7575-FEAE-DECC27951CC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7BB9382-7B6F-E470-58D9-DB09A988517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462EFE3-2DD8-4D34-F646-EA5B2022C04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Savian Extra Dry Bio 750ml (2.1%) | Up &amp; Down Pricing | NICOLAS | Assumes no other are changing prices</a:t>
            </a:r>
          </a:p>
        </p:txBody>
      </p:sp>
      <p:sp>
        <p:nvSpPr>
          <p:cNvPr id="4" name="Title1">
            <a:extLst>
              <a:ext uri="{FF2B5EF4-FFF2-40B4-BE49-F238E27FC236}">
                <a16:creationId xmlns:a16="http://schemas.microsoft.com/office/drawing/2014/main" id="{E3B8124F-C4E2-AE92-3666-22DFED6CACB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11B43CE-C702-D607-EC12-926589B49D2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F255FB1-F66D-4F2A-8E42-7CD9904F36E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13A605B-B34E-C8D1-ACD0-AA1D29A019A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1DA7D0C-6D91-D878-D335-8FADE6D2B904}"/>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92EE8D2-B0ED-4C72-1E18-F45604B6D78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305689822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7CAA6-A9C8-3FDF-3D51-6A12DAA44D3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3D974B6-9A79-A3EE-C4F8-5072DF37521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A4B083D-5F5C-472E-C4B2-78ADA9E5ACB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4B5F19A-E9BD-27C1-D242-FF043D29FFE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ontarini Brut 1500ml | NICOLAS | Assuming no other products are changing prices</a:t>
            </a:r>
          </a:p>
        </p:txBody>
      </p:sp>
      <p:sp>
        <p:nvSpPr>
          <p:cNvPr id="10" name="Title 9">
            <a:extLst>
              <a:ext uri="{FF2B5EF4-FFF2-40B4-BE49-F238E27FC236}">
                <a16:creationId xmlns:a16="http://schemas.microsoft.com/office/drawing/2014/main" id="{CB413F48-C46D-F776-92C9-01D38106ECB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9D42EC-1B89-36C5-EF13-9F68AAF1A6A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1263705-24DF-FCA3-AC1E-00E43823265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B16E0CB-F755-5F98-BBA5-D3834F44C46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736D106-CC8A-338F-B20F-2F7553CED31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E07B50B-BAC4-787C-896E-B193CBE0C57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F56E539-B322-D1DB-B5C6-CE65FBF4300A}"/>
              </a:ext>
            </a:extLst>
          </p:cNvPr>
          <p:cNvSpPr>
            <a:spLocks noGrp="1"/>
          </p:cNvSpPr>
          <p:nvPr>
            <p:ph type="sldNum" sz="quarter" idx="16"/>
          </p:nvPr>
        </p:nvSpPr>
        <p:spPr/>
        <p:txBody>
          <a:bodyPr/>
          <a:lstStyle/>
          <a:p>
            <a:fld id="{7B1F438D-4EAF-094E-9162-80CF3EF77236}" type="slidenum">
              <a:rPr lang="en-US" smtClean="0"/>
              <a:pPr/>
              <a:t>279</a:t>
            </a:fld>
            <a:endParaRPr lang="en-US"/>
          </a:p>
        </p:txBody>
      </p:sp>
      <p:sp>
        <p:nvSpPr>
          <p:cNvPr id="22" name="Rectangle 21">
            <a:extLst>
              <a:ext uri="{FF2B5EF4-FFF2-40B4-BE49-F238E27FC236}">
                <a16:creationId xmlns:a16="http://schemas.microsoft.com/office/drawing/2014/main" id="{779DB79E-6F63-D200-2756-A01B75B7DFEC}"/>
              </a:ext>
            </a:extLst>
          </p:cNvPr>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044F9F3-2A64-819C-9FAE-6AF7691A461B}"/>
              </a:ext>
            </a:extLst>
          </p:cNvPr>
          <p:cNvSpPr/>
          <p:nvPr/>
        </p:nvSpPr>
        <p:spPr>
          <a:xfrm>
            <a:off x="4476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C6E4A3FB-5BFE-DC28-51D3-8AD3483BD372}"/>
              </a:ext>
            </a:extLst>
          </p:cNvPr>
          <p:cNvSpPr/>
          <p:nvPr/>
        </p:nvSpPr>
        <p:spPr>
          <a:xfrm>
            <a:off x="53240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7048932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7B334-E158-BEE2-9E58-B2AA0C7A608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CAB89E4-5D18-DD5A-1DEE-FDD32F64DBF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66EEF0E-7C0A-E2CE-DB76-3506A9F6167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5AE0F6B-4E27-1A8A-C1BB-E51A02239ED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B8BACC9-A50D-FA04-16B2-08217D98584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A2BB8AA4-1AFD-972F-F8BC-099E826C9912}"/>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urent Perrier (3.9%) | Up &amp; Down Pricing | NICOLAS | Assumes no other are changing prices</a:t>
            </a:r>
          </a:p>
        </p:txBody>
      </p:sp>
      <p:sp>
        <p:nvSpPr>
          <p:cNvPr id="4" name="Title1">
            <a:extLst>
              <a:ext uri="{FF2B5EF4-FFF2-40B4-BE49-F238E27FC236}">
                <a16:creationId xmlns:a16="http://schemas.microsoft.com/office/drawing/2014/main" id="{6F5C0BE5-2D5C-F692-77A4-095053BEB23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9E67FA4-F293-2F98-4A6A-C08BF03851F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9032752-8A71-DCC0-A36B-041E6F96537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1024B17E-23D5-D9D5-BE25-5E9E259D60C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97E62342-3F3D-0851-FDA3-43B3E9A72DB0}"/>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49985098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334B4-2078-CF5D-6EE7-46B66D8EE68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28114EF-F137-3D88-D0AC-36194453A86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A975D31-B7AE-FC83-FA89-E950402E1BB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F056955-71E2-0F51-9C5E-9FF2D1E64D1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8F03905-D133-0735-7F97-E99461C8244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4C9AE46-5340-8CFF-95CC-A2A810EA80B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ontarini Brut 1500ml (0.2%) | Up &amp; Down Pricing | NICOLAS | Assumes no other are changing prices</a:t>
            </a:r>
          </a:p>
        </p:txBody>
      </p:sp>
      <p:sp>
        <p:nvSpPr>
          <p:cNvPr id="4" name="Title1">
            <a:extLst>
              <a:ext uri="{FF2B5EF4-FFF2-40B4-BE49-F238E27FC236}">
                <a16:creationId xmlns:a16="http://schemas.microsoft.com/office/drawing/2014/main" id="{AEED82D3-D58B-F11B-0A11-152AD5DB18E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F25F64A-41FD-1EE3-ABD7-99D895BD0FC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EE27A68-E134-69BC-0BCA-B1DDB645A02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63AB8B3-3E8C-70B7-3FAB-DEC0B004ACA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FB40011-F36F-96CA-4C4A-6553B3FEA75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0E4855F-95B2-07E4-147E-E0B9569D7F32}"/>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12806879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9E560-4254-9F49-41F0-6FC70416044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03AD878-1138-FB0D-CD73-56EF132A4D8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27F1C8E-D1A6-34AF-944E-01ADF7E5A4E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42CAAAC1-51B6-311A-C001-FFFB60D79DA9}"/>
              </a:ext>
            </a:extLst>
          </p:cNvPr>
          <p:cNvSpPr>
            <a:spLocks noGrp="1"/>
          </p:cNvSpPr>
          <p:nvPr>
            <p:ph type="body" sz="quarter" idx="18"/>
          </p:nvPr>
        </p:nvSpPr>
        <p:spPr>
          <a:xfrm>
            <a:off x="503238" y="774000"/>
            <a:ext cx="8136762" cy="360000"/>
          </a:xfrm>
        </p:spPr>
        <p:txBody>
          <a:bodyPr/>
          <a:lstStyle/>
          <a:p>
            <a:pPr>
              <a:defRPr sz="1200">
                <a:latin typeface="Nexa Bold (Headings)"/>
              </a:defRPr>
            </a:pPr>
            <a:r>
              <a:t>Coffret | Price Elasticity | NICOLAS | Assumes no other products are changing prices</a:t>
            </a:r>
          </a:p>
        </p:txBody>
      </p:sp>
      <p:sp>
        <p:nvSpPr>
          <p:cNvPr id="18" name="Title 17">
            <a:extLst>
              <a:ext uri="{FF2B5EF4-FFF2-40B4-BE49-F238E27FC236}">
                <a16:creationId xmlns:a16="http://schemas.microsoft.com/office/drawing/2014/main" id="{78760A23-DDC3-A132-73DA-41BFF610BD7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D103CAA-4019-56F5-837A-071C0FBF323F}"/>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Aperol Spritz Coffret pour l'apéro 750m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6502D38-5BC6-0873-531D-2BF617079F2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DE3DB51-FFE0-E75F-F9E7-9FC56E592BB6}"/>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439ACDA3-EA9E-EB21-C2B4-6F8CDD6E4C0B}"/>
              </a:ext>
            </a:extLst>
          </p:cNvPr>
          <p:cNvSpPr>
            <a:spLocks noGrp="1"/>
          </p:cNvSpPr>
          <p:nvPr>
            <p:ph type="sldNum" sz="quarter" idx="16"/>
          </p:nvPr>
        </p:nvSpPr>
        <p:spPr/>
        <p:txBody>
          <a:bodyPr/>
          <a:lstStyle/>
          <a:p>
            <a:fld id="{7B1F438D-4EAF-094E-9162-80CF3EF77236}" type="slidenum">
              <a:rPr lang="en-US" smtClean="0"/>
              <a:pPr/>
              <a:t>281</a:t>
            </a:fld>
            <a:endParaRPr lang="en-US"/>
          </a:p>
        </p:txBody>
      </p:sp>
      <p:sp>
        <p:nvSpPr>
          <p:cNvPr id="3" name="TextBox Y">
            <a:extLst>
              <a:ext uri="{FF2B5EF4-FFF2-40B4-BE49-F238E27FC236}">
                <a16:creationId xmlns:a16="http://schemas.microsoft.com/office/drawing/2014/main" id="{1B9224E2-E138-B600-5118-2FD3DABD6C2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1436855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CCF98-AE11-4F75-51CE-D206BF17806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2C94904-616D-AF48-ECC4-D405474BEB6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0D78281-92BA-03BB-8D7D-44A4BFBF754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3A3FEA81-9F16-FC54-AAD4-43D009B5AF5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perol Spritz Coffret pour l'apéro 750ml +750ml | NICOLAS | Assuming no other products are changing prices</a:t>
            </a:r>
          </a:p>
        </p:txBody>
      </p:sp>
      <p:sp>
        <p:nvSpPr>
          <p:cNvPr id="10" name="Title 9">
            <a:extLst>
              <a:ext uri="{FF2B5EF4-FFF2-40B4-BE49-F238E27FC236}">
                <a16:creationId xmlns:a16="http://schemas.microsoft.com/office/drawing/2014/main" id="{9A3470CB-5F07-6F3C-39FF-3460049C70A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33CDC19-B6A9-445F-3929-AE76F8E6B6A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AC5EC0D-C5C0-323D-4139-C687582B55D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90FFBE6-221C-88BA-4C3F-D26D2867EFB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6196561-C90D-82B8-3AF1-FA49A75251E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9F85611-A3EE-E8A9-6B66-C0107AB77DD4}"/>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CF30577-8E2D-AF06-8D04-89655B5882FC}"/>
              </a:ext>
            </a:extLst>
          </p:cNvPr>
          <p:cNvSpPr>
            <a:spLocks noGrp="1"/>
          </p:cNvSpPr>
          <p:nvPr>
            <p:ph type="sldNum" sz="quarter" idx="16"/>
          </p:nvPr>
        </p:nvSpPr>
        <p:spPr/>
        <p:txBody>
          <a:bodyPr/>
          <a:lstStyle/>
          <a:p>
            <a:fld id="{7B1F438D-4EAF-094E-9162-80CF3EF77236}" type="slidenum">
              <a:rPr lang="en-US" smtClean="0"/>
              <a:pPr/>
              <a:t>282</a:t>
            </a:fld>
            <a:endParaRPr lang="en-US"/>
          </a:p>
        </p:txBody>
      </p:sp>
      <p:sp>
        <p:nvSpPr>
          <p:cNvPr id="22" name="Rectangle 21">
            <a:extLst>
              <a:ext uri="{FF2B5EF4-FFF2-40B4-BE49-F238E27FC236}">
                <a16:creationId xmlns:a16="http://schemas.microsoft.com/office/drawing/2014/main" id="{A9CED2E6-0EA6-2664-FE3C-F46922B40AE6}"/>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8852846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1F654-FFA7-D26D-21BD-FF503A291A2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03D3073-B243-42E2-8145-07D004B46C1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3B54026-EC70-46AE-2B98-1D29B1475B4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F4EC6A8-54BE-9BFF-98EC-08B4E7E0302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6F5BB19-BA50-4F18-4614-42F3700D575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4017D3F-878E-7C82-AA9D-C6447F9F7E3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perol Spritz Coffret pour l'apéro 750ml +750ml (0.0%) | Up &amp; Down Pricing | NICOLAS | Assumes no other are changing prices</a:t>
            </a:r>
          </a:p>
        </p:txBody>
      </p:sp>
      <p:sp>
        <p:nvSpPr>
          <p:cNvPr id="4" name="Title1">
            <a:extLst>
              <a:ext uri="{FF2B5EF4-FFF2-40B4-BE49-F238E27FC236}">
                <a16:creationId xmlns:a16="http://schemas.microsoft.com/office/drawing/2014/main" id="{85174615-416C-275B-20D7-ED7E38D0F43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56938AF-736C-B2A0-28E6-4430C9C36AE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129CFB9-C7BA-C039-37AB-7287121AEC7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20C15D-6205-5D29-C2AB-81222DD283C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8A36FB-851C-5B45-1842-35459D255C3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75E7B5F9-3E1C-E05C-3CE3-3429B83829F5}"/>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376422887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8DFA3-635A-B666-EFCF-FCD0AC52513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A9A7598-89DE-299C-C95B-9991DB9AE41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B2D237E-326B-8BE7-FC65-BF8D7C0A996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54E4522F-1481-11ED-0EF6-2FE198DC0E19}"/>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2x | Price Elasticity | NICOLAS | Assumes no other products are changing prices</a:t>
            </a:r>
          </a:p>
        </p:txBody>
      </p:sp>
      <p:sp>
        <p:nvSpPr>
          <p:cNvPr id="18" name="Title 17">
            <a:extLst>
              <a:ext uri="{FF2B5EF4-FFF2-40B4-BE49-F238E27FC236}">
                <a16:creationId xmlns:a16="http://schemas.microsoft.com/office/drawing/2014/main" id="{91473F2E-3EBA-8025-FEA4-84937376056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7075009-F012-7996-2C28-41E9D7B51E10}"/>
              </a:ext>
            </a:extLst>
          </p:cNvPr>
          <p:cNvGraphicFramePr>
            <a:graphicFrameLocks/>
          </p:cNvGraphicFramePr>
          <p:nvPr/>
        </p:nvGraphicFramePr>
        <p:xfrm>
          <a:off x="4579258" y="1141495"/>
          <a:ext cx="4057904" cy="1392331"/>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BCCCF82-79B8-E8AD-750E-92BDE2FFE18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E22D078-7522-9EE8-DE68-E489D3F19649}"/>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BA05CDF7-3937-24B6-11D5-076821A9293E}"/>
              </a:ext>
            </a:extLst>
          </p:cNvPr>
          <p:cNvSpPr>
            <a:spLocks noGrp="1"/>
          </p:cNvSpPr>
          <p:nvPr>
            <p:ph type="sldNum" sz="quarter" idx="16"/>
          </p:nvPr>
        </p:nvSpPr>
        <p:spPr/>
        <p:txBody>
          <a:bodyPr/>
          <a:lstStyle/>
          <a:p>
            <a:fld id="{7B1F438D-4EAF-094E-9162-80CF3EF77236}" type="slidenum">
              <a:rPr lang="en-US" smtClean="0"/>
              <a:pPr/>
              <a:t>284</a:t>
            </a:fld>
            <a:endParaRPr lang="en-US"/>
          </a:p>
        </p:txBody>
      </p:sp>
      <p:sp>
        <p:nvSpPr>
          <p:cNvPr id="3" name="TextBox Y">
            <a:extLst>
              <a:ext uri="{FF2B5EF4-FFF2-40B4-BE49-F238E27FC236}">
                <a16:creationId xmlns:a16="http://schemas.microsoft.com/office/drawing/2014/main" id="{26ABC411-06E3-5807-26C4-A0C3A7C4EBA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370072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3C542-8343-2597-713F-C6CC7DF9BC0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CD68B9C-32C6-CE70-5B9B-B18E465D42A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918FF2E-CA9E-029F-D881-DE06DEC795E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E1C5D70-4E21-0FF0-9FE9-DE0192DC5F2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2x750ml | NICOLAS | Assuming no other products are changing prices</a:t>
            </a:r>
          </a:p>
        </p:txBody>
      </p:sp>
      <p:sp>
        <p:nvSpPr>
          <p:cNvPr id="10" name="Title 9">
            <a:extLst>
              <a:ext uri="{FF2B5EF4-FFF2-40B4-BE49-F238E27FC236}">
                <a16:creationId xmlns:a16="http://schemas.microsoft.com/office/drawing/2014/main" id="{718121CF-1D19-EBA4-3D86-77EAD715C0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B2B1026-528F-E507-1A82-DA083A2C9EA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A30AB9C-58DD-D215-5DB4-F15D91B9D60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03849C5-99F9-E02E-372D-69F8EC28FF7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ABD9919-795C-3573-D6DA-7336C66D668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569384-3CB5-005A-E619-E52E67FCE55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43FD771E-EEA5-333D-9B52-510C3CEF877B}"/>
              </a:ext>
            </a:extLst>
          </p:cNvPr>
          <p:cNvSpPr>
            <a:spLocks noGrp="1"/>
          </p:cNvSpPr>
          <p:nvPr>
            <p:ph type="sldNum" sz="quarter" idx="16"/>
          </p:nvPr>
        </p:nvSpPr>
        <p:spPr/>
        <p:txBody>
          <a:bodyPr/>
          <a:lstStyle/>
          <a:p>
            <a:fld id="{7B1F438D-4EAF-094E-9162-80CF3EF77236}" type="slidenum">
              <a:rPr lang="en-US" smtClean="0"/>
              <a:pPr/>
              <a:t>285</a:t>
            </a:fld>
            <a:endParaRPr lang="en-US"/>
          </a:p>
        </p:txBody>
      </p:sp>
      <p:sp>
        <p:nvSpPr>
          <p:cNvPr id="22" name="Rectangle 21">
            <a:extLst>
              <a:ext uri="{FF2B5EF4-FFF2-40B4-BE49-F238E27FC236}">
                <a16:creationId xmlns:a16="http://schemas.microsoft.com/office/drawing/2014/main" id="{03313D2C-27F7-2421-65D1-766B99B27F14}"/>
              </a:ext>
            </a:extLst>
          </p:cNvPr>
          <p:cNvSpPr/>
          <p:nvPr/>
        </p:nvSpPr>
        <p:spPr>
          <a:xfrm>
            <a:off x="972000" y="1458000"/>
            <a:ext cx="2204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BCF796F-5212-4C9C-7C42-B9AA0A399830}"/>
              </a:ext>
            </a:extLst>
          </p:cNvPr>
          <p:cNvSpPr/>
          <p:nvPr/>
        </p:nvSpPr>
        <p:spPr>
          <a:xfrm>
            <a:off x="317628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EF04348-0B7C-DB0E-CABB-9F3503D22CEB}"/>
              </a:ext>
            </a:extLst>
          </p:cNvPr>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568230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4C6E-5515-62B8-490C-E2AD67FDAC4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41B5352-5CBA-B1DE-01EB-8E2537805E7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98BFD36-633A-E871-892F-3319E5F8429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E7BA6A0-6EC9-79C3-898E-9A6D78A3747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46BA3A2-70E1-C54C-DF47-CF0FE757CC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00F2B8E-119E-E696-7D81-0D79F781EDE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2x750ml (0.0%) | Up &amp; Down Pricing | NICOLAS | Assumes no other are changing prices</a:t>
            </a:r>
          </a:p>
        </p:txBody>
      </p:sp>
      <p:sp>
        <p:nvSpPr>
          <p:cNvPr id="4" name="Title1">
            <a:extLst>
              <a:ext uri="{FF2B5EF4-FFF2-40B4-BE49-F238E27FC236}">
                <a16:creationId xmlns:a16="http://schemas.microsoft.com/office/drawing/2014/main" id="{BD1AE98E-3E25-6FC1-7B90-7B6AD53A6D7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C4A5901-7AEF-8694-3B51-4D8B9D5FEBF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C79D18B-9BB1-785A-E874-E43CF8255A8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CE7A6A5-6A23-8DEB-D111-8CB50A02795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D590405-279E-B67D-8ADF-8A4AD9DE00EE}"/>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8C789E9-2E6A-3BD9-BF1F-05905FAF48DA}"/>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16444937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DAE04-938B-1D0D-6293-C0EA66ED0C0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D19C265-021E-325B-FA67-FBB14C13E01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305B296-416E-E75C-2E4E-8A03D9E79DE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C2F0509-F6D8-3425-F87E-BAABAA651FF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2x750ml | NICOLAS | Assuming no other products are changing prices</a:t>
            </a:r>
          </a:p>
        </p:txBody>
      </p:sp>
      <p:sp>
        <p:nvSpPr>
          <p:cNvPr id="10" name="Title 9">
            <a:extLst>
              <a:ext uri="{FF2B5EF4-FFF2-40B4-BE49-F238E27FC236}">
                <a16:creationId xmlns:a16="http://schemas.microsoft.com/office/drawing/2014/main" id="{75BA784A-1766-D998-9E7B-EF9762109E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4DF5796-E6D4-8848-3665-A1DD75EC232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E64E683-B8F4-3726-387A-0EA9AEEC63E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8A9DFE5-0D9E-6FB2-08F4-0221EFB299D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273E972-8756-764D-FADC-C1419530482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347673A-A513-3303-BF45-312DB9A28A6E}"/>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212DA9F-71F6-3487-2AEB-199AED2C55D4}"/>
              </a:ext>
            </a:extLst>
          </p:cNvPr>
          <p:cNvSpPr>
            <a:spLocks noGrp="1"/>
          </p:cNvSpPr>
          <p:nvPr>
            <p:ph type="sldNum" sz="quarter" idx="16"/>
          </p:nvPr>
        </p:nvSpPr>
        <p:spPr/>
        <p:txBody>
          <a:bodyPr/>
          <a:lstStyle/>
          <a:p>
            <a:fld id="{7B1F438D-4EAF-094E-9162-80CF3EF77236}" type="slidenum">
              <a:rPr lang="en-US" smtClean="0"/>
              <a:pPr/>
              <a:t>287</a:t>
            </a:fld>
            <a:endParaRPr lang="en-US"/>
          </a:p>
        </p:txBody>
      </p:sp>
      <p:sp>
        <p:nvSpPr>
          <p:cNvPr id="22" name="Rectangle 21">
            <a:extLst>
              <a:ext uri="{FF2B5EF4-FFF2-40B4-BE49-F238E27FC236}">
                <a16:creationId xmlns:a16="http://schemas.microsoft.com/office/drawing/2014/main" id="{E7D8F3BF-4759-CF78-F5A6-138373ECE5F5}"/>
              </a:ext>
            </a:extLst>
          </p:cNvPr>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6AD7CE0-D4A9-0EB1-DD99-6F7BDDEEF92B}"/>
              </a:ext>
            </a:extLst>
          </p:cNvPr>
          <p:cNvSpPr/>
          <p:nvPr/>
        </p:nvSpPr>
        <p:spPr>
          <a:xfrm>
            <a:off x="464580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8AB5415D-988A-7D43-FBA6-05DBA86515FB}"/>
              </a:ext>
            </a:extLst>
          </p:cNvPr>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4887502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94EF0-8266-38C9-7E91-BA269C5E231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F8528EC-ABB1-D0BC-FA90-CB40E2D686B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8588CFF-F6F4-544A-5442-B8377E6A2CC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562E79E-FD21-EA19-B8C4-AF5817C9B0E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ADBACA3-2D62-AFB9-C9B3-BB66208CC1B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46D91DB-C7F1-224A-9781-4A187414DE7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2x750ml (0.0%) | Up &amp; Down Pricing | NICOLAS | Assumes no other are changing prices</a:t>
            </a:r>
          </a:p>
        </p:txBody>
      </p:sp>
      <p:sp>
        <p:nvSpPr>
          <p:cNvPr id="4" name="Title1">
            <a:extLst>
              <a:ext uri="{FF2B5EF4-FFF2-40B4-BE49-F238E27FC236}">
                <a16:creationId xmlns:a16="http://schemas.microsoft.com/office/drawing/2014/main" id="{2DC0D9CB-3DF8-F222-902F-6BFBD30B10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2D5649E-38F5-32F5-8592-6300FC961B7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EE3768E-3A19-23A4-7FC8-6992708EE1A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0D021CB-2C7C-700B-A838-AB54242209D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4180DAE-7D88-319E-567E-56D7C6D1507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D561ABB-F2EE-98C2-F567-8A69EACCF65B}"/>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356854387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F1B32-DBF8-362E-ADEF-63CD3842EE4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CC306A7-F6B5-A03E-0849-2BDB02FA7D0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AE1A5B8-75A1-A55F-8D92-076AA1170EE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3E94CA0-C6C9-684B-F2C5-818C1FF1D68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2x750ml | NICOLAS | Assuming no other products are changing prices</a:t>
            </a:r>
          </a:p>
        </p:txBody>
      </p:sp>
      <p:sp>
        <p:nvSpPr>
          <p:cNvPr id="10" name="Title 9">
            <a:extLst>
              <a:ext uri="{FF2B5EF4-FFF2-40B4-BE49-F238E27FC236}">
                <a16:creationId xmlns:a16="http://schemas.microsoft.com/office/drawing/2014/main" id="{CD20B4D5-C25B-3207-15D3-25891D9C38F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D43E874-3037-5657-F6B7-AF803A3E3AD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8485192-CA5A-5078-6447-C5136DC9A5E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7E7491A-5774-D32C-82AB-2C3D3AD2DA6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C02E12A-95C6-4B5D-BFB6-275977D9264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46321A-34C8-4CA9-2CDB-1F873DA40859}"/>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9DD87B9E-72D7-64A3-E985-AE2E15358A58}"/>
              </a:ext>
            </a:extLst>
          </p:cNvPr>
          <p:cNvSpPr>
            <a:spLocks noGrp="1"/>
          </p:cNvSpPr>
          <p:nvPr>
            <p:ph type="sldNum" sz="quarter" idx="16"/>
          </p:nvPr>
        </p:nvSpPr>
        <p:spPr/>
        <p:txBody>
          <a:bodyPr/>
          <a:lstStyle/>
          <a:p>
            <a:fld id="{7B1F438D-4EAF-094E-9162-80CF3EF77236}" type="slidenum">
              <a:rPr lang="en-US" smtClean="0"/>
              <a:pPr/>
              <a:t>289</a:t>
            </a:fld>
            <a:endParaRPr lang="en-US"/>
          </a:p>
        </p:txBody>
      </p:sp>
      <p:sp>
        <p:nvSpPr>
          <p:cNvPr id="22" name="Rectangle 21">
            <a:extLst>
              <a:ext uri="{FF2B5EF4-FFF2-40B4-BE49-F238E27FC236}">
                <a16:creationId xmlns:a16="http://schemas.microsoft.com/office/drawing/2014/main" id="{902B9E59-D491-9D7C-060A-F69ECBA681D4}"/>
              </a:ext>
            </a:extLst>
          </p:cNvPr>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3" name="Rectangle 22">
            <a:extLst>
              <a:ext uri="{FF2B5EF4-FFF2-40B4-BE49-F238E27FC236}">
                <a16:creationId xmlns:a16="http://schemas.microsoft.com/office/drawing/2014/main" id="{B548A9D4-FAC1-F0FD-DD23-A4E693A0F0E9}"/>
              </a:ext>
            </a:extLst>
          </p:cNvPr>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41811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CFB13-C96B-8B67-C0CB-6757BAF5364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0C35225-407E-3DF6-3144-E2DE12DE8D20}"/>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A9F2296-D75F-3A8B-8149-9E0F7D8FFFE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851ABFB-8D28-BACB-7C36-87626DE9F05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50B29AF-FF92-AFD8-48FC-493965958CE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4A4281C-7AF4-98E9-54F4-AB2AC3137E9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fèvre (0.4%) | Up &amp; Down Pricing | NICOLAS | Assumes no other are changing prices</a:t>
            </a:r>
          </a:p>
        </p:txBody>
      </p:sp>
      <p:sp>
        <p:nvSpPr>
          <p:cNvPr id="4" name="Title1">
            <a:extLst>
              <a:ext uri="{FF2B5EF4-FFF2-40B4-BE49-F238E27FC236}">
                <a16:creationId xmlns:a16="http://schemas.microsoft.com/office/drawing/2014/main" id="{6AF58276-44A6-0472-E8D5-416419691C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DB814B4-3A0B-45DD-7CE3-4293FEB21E7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14F3265-423C-EB32-3D1C-E435D240AD5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926FFA6-82D4-CB61-4064-62830FB0CA33}"/>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4789F6A-DDBF-DD29-8B7C-002D22ADD852}"/>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05555513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412EF-79DD-7147-1967-5E4B646E463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A7E3632-87C5-EC00-D37F-DBBF309C266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06C2737-A34E-2622-89C4-196E6F04BF2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C050BD1-43F3-EF8E-7930-0616E992C8E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5E5713-48F6-B106-D10C-E7776957551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B90E870-3CED-629A-FD50-4DDFD7FD8F5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2x750ml (0.0%) | Up &amp; Down Pricing | NICOLAS | Assumes no other are changing prices</a:t>
            </a:r>
          </a:p>
        </p:txBody>
      </p:sp>
      <p:sp>
        <p:nvSpPr>
          <p:cNvPr id="4" name="Title1">
            <a:extLst>
              <a:ext uri="{FF2B5EF4-FFF2-40B4-BE49-F238E27FC236}">
                <a16:creationId xmlns:a16="http://schemas.microsoft.com/office/drawing/2014/main" id="{DE9E6B57-602D-2376-8C25-08FCDFC1238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3A74295-4374-E42C-5091-122A39D1143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CACC8EF-315C-C53C-80A5-7602C008E8D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04EA62D-D72D-CE0E-4833-9AD4CF04D18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09CF2AC-A964-6E3D-B40A-397E4DB62E0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1F8A4449-2247-C967-A532-63B69E438769}"/>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29068645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4DECE-827B-B4F2-2E3B-8DF05906D01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3E6190F-5010-BEFA-D120-8B93AA5CCA6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F22AF78-7899-8247-FF20-7032E96D7A8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4522EDDB-95F5-DB19-464A-41D2A7E0B9F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2x750ml | NICOLAS | Assuming no other products are changing prices</a:t>
            </a:r>
          </a:p>
        </p:txBody>
      </p:sp>
      <p:sp>
        <p:nvSpPr>
          <p:cNvPr id="10" name="Title 9">
            <a:extLst>
              <a:ext uri="{FF2B5EF4-FFF2-40B4-BE49-F238E27FC236}">
                <a16:creationId xmlns:a16="http://schemas.microsoft.com/office/drawing/2014/main" id="{BF15BB7D-3CFC-3C09-1E38-63DF3328327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822C0FE-AB0E-BF7B-FADE-6D1407535B5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52C3D15-F361-DCB0-C400-845C0541A23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CB4D3A3-D233-910B-E2AC-4A42246DD5B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24B16F0-A568-2AFB-DDEF-210FE100F2D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D7B5745-651E-FE90-A868-4E8F6E3008C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88264AF-886A-1EF9-6287-8B3219BCA342}"/>
              </a:ext>
            </a:extLst>
          </p:cNvPr>
          <p:cNvSpPr>
            <a:spLocks noGrp="1"/>
          </p:cNvSpPr>
          <p:nvPr>
            <p:ph type="sldNum" sz="quarter" idx="16"/>
          </p:nvPr>
        </p:nvSpPr>
        <p:spPr/>
        <p:txBody>
          <a:bodyPr/>
          <a:lstStyle/>
          <a:p>
            <a:fld id="{7B1F438D-4EAF-094E-9162-80CF3EF77236}" type="slidenum">
              <a:rPr lang="en-US" smtClean="0"/>
              <a:pPr/>
              <a:t>291</a:t>
            </a:fld>
            <a:endParaRPr lang="en-US"/>
          </a:p>
        </p:txBody>
      </p:sp>
      <p:sp>
        <p:nvSpPr>
          <p:cNvPr id="22" name="Rectangle 21">
            <a:extLst>
              <a:ext uri="{FF2B5EF4-FFF2-40B4-BE49-F238E27FC236}">
                <a16:creationId xmlns:a16="http://schemas.microsoft.com/office/drawing/2014/main" id="{77197C41-F968-F9EC-3CBF-22BAE98E4B8C}"/>
              </a:ext>
            </a:extLst>
          </p:cNvPr>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4EB18E7-69CF-D475-3BB3-50C472241B6A}"/>
              </a:ext>
            </a:extLst>
          </p:cNvPr>
          <p:cNvSpPr/>
          <p:nvPr/>
        </p:nvSpPr>
        <p:spPr>
          <a:xfrm>
            <a:off x="1311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059FB4D-DC3B-B0C7-E917-10566A5EB70E}"/>
              </a:ext>
            </a:extLst>
          </p:cNvPr>
          <p:cNvSpPr/>
          <p:nvPr/>
        </p:nvSpPr>
        <p:spPr>
          <a:xfrm>
            <a:off x="23850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370B59B-E9FC-4F6A-BD4A-9C2CCD54ED44}"/>
              </a:ext>
            </a:extLst>
          </p:cNvPr>
          <p:cNvSpPr/>
          <p:nvPr/>
        </p:nvSpPr>
        <p:spPr>
          <a:xfrm>
            <a:off x="351540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2579175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D7263-67D9-B590-706B-30895ABDD66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BB12FAE-B3B4-F1B1-7891-67B706C81A7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E1A69D4-0D13-6BC3-7F85-832039321AF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862BCA6-B62F-8345-4B27-5E14D4158BF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4492F2C-5230-76FF-1AA3-C2D00828BA0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759B01F-7CBB-B4B5-528A-31E1840A753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2x750ml (0.0%) | Up &amp; Down Pricing | NICOLAS | Assumes no other are changing prices</a:t>
            </a:r>
          </a:p>
        </p:txBody>
      </p:sp>
      <p:sp>
        <p:nvSpPr>
          <p:cNvPr id="4" name="Title1">
            <a:extLst>
              <a:ext uri="{FF2B5EF4-FFF2-40B4-BE49-F238E27FC236}">
                <a16:creationId xmlns:a16="http://schemas.microsoft.com/office/drawing/2014/main" id="{02C1B515-8976-AFE0-EDF1-E3EEAFBCD60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BD4ABA9-9B83-A193-21CB-1F1A1346376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C1243BB-89ED-B4C2-DF2B-D82479DFD32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94A44E-C95E-A2DF-5404-5765D870EA5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3AE99C-D671-B0DD-EFB7-9243D5F0795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B32081B-741F-EA26-4776-7C8904EA1232}"/>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277546786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D988-EAD5-1ED1-BF36-A4076BADB8F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D0C4519-51C3-2F4D-52AC-C3CEFD18140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C444C9D-C937-B295-C441-5EF40FF15DF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DAD17FAC-5C2B-DEB4-621B-D022DE3DB6BE}"/>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3x | Price Elasticity | NICOLAS | Assumes no other products are changing prices</a:t>
            </a:r>
          </a:p>
        </p:txBody>
      </p:sp>
      <p:sp>
        <p:nvSpPr>
          <p:cNvPr id="18" name="Title 17">
            <a:extLst>
              <a:ext uri="{FF2B5EF4-FFF2-40B4-BE49-F238E27FC236}">
                <a16:creationId xmlns:a16="http://schemas.microsoft.com/office/drawing/2014/main" id="{889E867B-3109-FE55-362F-913A17ED0E2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16760A2-801E-D215-5E0F-F038931B0615}"/>
              </a:ext>
            </a:extLst>
          </p:cNvPr>
          <p:cNvGraphicFramePr>
            <a:graphicFrameLocks/>
          </p:cNvGraphicFramePr>
          <p:nvPr/>
        </p:nvGraphicFramePr>
        <p:xfrm>
          <a:off x="4579258" y="1141495"/>
          <a:ext cx="4057904" cy="153641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Ruinart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8A51BDC-4528-B69F-FF73-BAADB34CADD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E6E45E4-935A-0BBF-F428-C80D00E56D67}"/>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D2B3D207-6504-21B9-48E2-716DADC16D88}"/>
              </a:ext>
            </a:extLst>
          </p:cNvPr>
          <p:cNvSpPr>
            <a:spLocks noGrp="1"/>
          </p:cNvSpPr>
          <p:nvPr>
            <p:ph type="sldNum" sz="quarter" idx="16"/>
          </p:nvPr>
        </p:nvSpPr>
        <p:spPr/>
        <p:txBody>
          <a:bodyPr/>
          <a:lstStyle/>
          <a:p>
            <a:fld id="{7B1F438D-4EAF-094E-9162-80CF3EF77236}" type="slidenum">
              <a:rPr lang="en-US" smtClean="0"/>
              <a:pPr/>
              <a:t>293</a:t>
            </a:fld>
            <a:endParaRPr lang="en-US"/>
          </a:p>
        </p:txBody>
      </p:sp>
      <p:sp>
        <p:nvSpPr>
          <p:cNvPr id="3" name="TextBox Y">
            <a:extLst>
              <a:ext uri="{FF2B5EF4-FFF2-40B4-BE49-F238E27FC236}">
                <a16:creationId xmlns:a16="http://schemas.microsoft.com/office/drawing/2014/main" id="{4590689D-F37F-EE53-3326-3B3CB0093CF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51208754"/>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659D5-5628-2677-FBCE-933E6DB137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CBF8D17-20A1-1A52-A356-8315C3C3E3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4CF0708-1352-948E-EB7C-FD771014595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396E746A-5158-AE4A-0D4C-3EA03FC1313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3x750ml | NICOLAS | Assuming no other products are changing prices</a:t>
            </a:r>
          </a:p>
        </p:txBody>
      </p:sp>
      <p:sp>
        <p:nvSpPr>
          <p:cNvPr id="10" name="Title 9">
            <a:extLst>
              <a:ext uri="{FF2B5EF4-FFF2-40B4-BE49-F238E27FC236}">
                <a16:creationId xmlns:a16="http://schemas.microsoft.com/office/drawing/2014/main" id="{80EE9610-D6FB-0473-6CC2-F7193B35CF9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9D5F356-6A55-02E6-EEF2-A05BF57B999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F625A53-8C4C-C1AB-039A-823138586A0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0F3435D-DE2D-4F12-468E-8C2D4F5A35A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EA2A859-36D0-E45B-6C21-5FB64F7CDFE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1CE25AB-CBC0-AF67-E471-E48F95C52F2F}"/>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F4DB43A-58B7-8C37-B00B-51F1A1209192}"/>
              </a:ext>
            </a:extLst>
          </p:cNvPr>
          <p:cNvSpPr>
            <a:spLocks noGrp="1"/>
          </p:cNvSpPr>
          <p:nvPr>
            <p:ph type="sldNum" sz="quarter" idx="16"/>
          </p:nvPr>
        </p:nvSpPr>
        <p:spPr/>
        <p:txBody>
          <a:bodyPr/>
          <a:lstStyle/>
          <a:p>
            <a:fld id="{7B1F438D-4EAF-094E-9162-80CF3EF77236}" type="slidenum">
              <a:rPr lang="en-US" smtClean="0"/>
              <a:pPr/>
              <a:t>294</a:t>
            </a:fld>
            <a:endParaRPr lang="en-US"/>
          </a:p>
        </p:txBody>
      </p:sp>
      <p:sp>
        <p:nvSpPr>
          <p:cNvPr id="22" name="Rectangle 21">
            <a:extLst>
              <a:ext uri="{FF2B5EF4-FFF2-40B4-BE49-F238E27FC236}">
                <a16:creationId xmlns:a16="http://schemas.microsoft.com/office/drawing/2014/main" id="{C3A35F87-7F1C-51A5-BAE2-A5C27179D06F}"/>
              </a:ext>
            </a:extLst>
          </p:cNvPr>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741BE1D-8B34-DA1B-C3E8-CC683DE01A16}"/>
              </a:ext>
            </a:extLst>
          </p:cNvPr>
          <p:cNvSpPr/>
          <p:nvPr/>
        </p:nvSpPr>
        <p:spPr>
          <a:xfrm>
            <a:off x="227196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B2AC07D-1235-4D05-D101-0983E2BEBEE9}"/>
              </a:ext>
            </a:extLst>
          </p:cNvPr>
          <p:cNvSpPr/>
          <p:nvPr/>
        </p:nvSpPr>
        <p:spPr>
          <a:xfrm>
            <a:off x="255456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CAC66A0D-F574-8E2E-E223-667B9116C638}"/>
              </a:ext>
            </a:extLst>
          </p:cNvPr>
          <p:cNvSpPr/>
          <p:nvPr/>
        </p:nvSpPr>
        <p:spPr>
          <a:xfrm>
            <a:off x="49284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5DD8D86-950E-6970-AD2F-6F2F287CC2A4}"/>
              </a:ext>
            </a:extLst>
          </p:cNvPr>
          <p:cNvSpPr/>
          <p:nvPr/>
        </p:nvSpPr>
        <p:spPr>
          <a:xfrm>
            <a:off x="60588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0165315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29B38-CFAF-6AB5-1165-106C6BA32B1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837542E-6760-94C7-9690-DCE03CE635D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7C56C52-6C5B-BA8C-A61B-54E7C815B6B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021F26F-6722-4063-4E0C-CC11C57E516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383EFCF-4F8C-5995-8C37-295B2E6BF01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55E65E6-A215-47D7-D4CF-04D76584542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3x750ml (0.0%) | Up &amp; Down Pricing | NICOLAS | Assumes no other are changing prices</a:t>
            </a:r>
          </a:p>
        </p:txBody>
      </p:sp>
      <p:sp>
        <p:nvSpPr>
          <p:cNvPr id="4" name="Title1">
            <a:extLst>
              <a:ext uri="{FF2B5EF4-FFF2-40B4-BE49-F238E27FC236}">
                <a16:creationId xmlns:a16="http://schemas.microsoft.com/office/drawing/2014/main" id="{3EDADA1A-7519-8CD4-8014-E810DB00CAF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A320680-6E29-F5F8-D585-28DC6F663B7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4E08FD4-6FA9-C3B3-7CEE-A5FAF728EE5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2789254-A969-FDEE-40F3-EDF15AFE2A5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38FB3C2-74B8-4554-DDDD-3BD96DCE113B}"/>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5340BDE1-EF81-06E7-9396-9604911587D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263804398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69C6B-43C3-FF0C-8453-59C321F18C4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C1F63E8-3D13-63D0-C139-0E7EB7F3B3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3616820-15D2-6673-91C8-E7BE4D8D54B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4351A97-E5F5-C450-9616-99EEF0C413E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x750ml | NICOLAS | Assuming no other products are changing prices</a:t>
            </a:r>
          </a:p>
        </p:txBody>
      </p:sp>
      <p:sp>
        <p:nvSpPr>
          <p:cNvPr id="10" name="Title 9">
            <a:extLst>
              <a:ext uri="{FF2B5EF4-FFF2-40B4-BE49-F238E27FC236}">
                <a16:creationId xmlns:a16="http://schemas.microsoft.com/office/drawing/2014/main" id="{CB98E82E-A407-4C9C-2CC0-E31BB5A12FA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BC310B1-52B9-6008-888F-02DBC3E17A6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D477D67-4C25-4F2A-F1BF-0E8FD152328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8FE9453-816F-8FF7-973D-6789CF34D2E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88F3DA1-0E52-082A-3829-E11464F23E1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F8036E9-029C-BC93-CE81-F69682F1C59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9C36001-A22C-47C9-BBCF-930EA319D4CC}"/>
              </a:ext>
            </a:extLst>
          </p:cNvPr>
          <p:cNvSpPr>
            <a:spLocks noGrp="1"/>
          </p:cNvSpPr>
          <p:nvPr>
            <p:ph type="sldNum" sz="quarter" idx="16"/>
          </p:nvPr>
        </p:nvSpPr>
        <p:spPr/>
        <p:txBody>
          <a:bodyPr/>
          <a:lstStyle/>
          <a:p>
            <a:fld id="{7B1F438D-4EAF-094E-9162-80CF3EF77236}" type="slidenum">
              <a:rPr lang="en-US" smtClean="0"/>
              <a:pPr/>
              <a:t>296</a:t>
            </a:fld>
            <a:endParaRPr lang="en-US"/>
          </a:p>
        </p:txBody>
      </p:sp>
      <p:sp>
        <p:nvSpPr>
          <p:cNvPr id="22" name="Rectangle 21">
            <a:extLst>
              <a:ext uri="{FF2B5EF4-FFF2-40B4-BE49-F238E27FC236}">
                <a16:creationId xmlns:a16="http://schemas.microsoft.com/office/drawing/2014/main" id="{175ACD3A-D433-7F79-5F65-795807233A62}"/>
              </a:ext>
            </a:extLst>
          </p:cNvPr>
          <p:cNvSpPr/>
          <p:nvPr/>
        </p:nvSpPr>
        <p:spPr>
          <a:xfrm>
            <a:off x="972000" y="1458000"/>
            <a:ext cx="3617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F75E13C-997C-5AE5-138A-16C50D4DFF32}"/>
              </a:ext>
            </a:extLst>
          </p:cNvPr>
          <p:cNvSpPr/>
          <p:nvPr/>
        </p:nvSpPr>
        <p:spPr>
          <a:xfrm>
            <a:off x="45892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A90600EE-6C73-12EB-898B-0F9C2BFAA4BF}"/>
              </a:ext>
            </a:extLst>
          </p:cNvPr>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7020574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4433B-0243-8250-6A92-4D887F5164F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5DC59D5-B527-19A1-F868-94ED6E08740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EA9E586-7352-3069-8E6C-615A72A6AB5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E56F390-1E4E-3574-A85F-90DBF1610D2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0F09DAC-E096-C69B-5448-403E4564D0F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26F6067-4810-DBD9-F0AB-4AD4C271BA2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x750ml (0.0%) | Up &amp; Down Pricing | NICOLAS | Assumes no other are changing prices</a:t>
            </a:r>
          </a:p>
        </p:txBody>
      </p:sp>
      <p:sp>
        <p:nvSpPr>
          <p:cNvPr id="4" name="Title1">
            <a:extLst>
              <a:ext uri="{FF2B5EF4-FFF2-40B4-BE49-F238E27FC236}">
                <a16:creationId xmlns:a16="http://schemas.microsoft.com/office/drawing/2014/main" id="{ED6F924C-17E0-9020-632C-4C551210E87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CB13AAA-9148-E88E-605B-DAF38C9DA8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C77926D-3DA4-6540-BAF5-1755364F7CA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07663D1-55C0-0287-806D-55D69AFD3A4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45914C4-C72D-66D7-0F4D-69555DC6FFE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9F0141D-16B0-8E78-079A-C3A8C2120D2D}"/>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1019205739"/>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6CA75-2050-D4E5-A2CD-3459B0E997B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5FDA80C-3199-7A41-5A86-7D65128D2B3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2F037FE-4218-7C04-5EAE-211A550699D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7E3AD56-F766-EC77-4C32-86688CD9933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x750ml | NICOLAS | Assuming no other products are changing prices</a:t>
            </a:r>
          </a:p>
        </p:txBody>
      </p:sp>
      <p:sp>
        <p:nvSpPr>
          <p:cNvPr id="10" name="Title 9">
            <a:extLst>
              <a:ext uri="{FF2B5EF4-FFF2-40B4-BE49-F238E27FC236}">
                <a16:creationId xmlns:a16="http://schemas.microsoft.com/office/drawing/2014/main" id="{B84FE45A-E7E6-3A9D-7472-EF2F712B9E4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0C7986F-0AE6-789B-F88F-3A3B581EECC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83FA4C2-9EBA-B2A8-D7CC-7B0AEB01530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93DF8C0-01CF-745E-0C58-D37D8EE76E3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C70AEE9-C9BF-2453-990C-BADE7DFF823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252A345-B798-5027-90E9-B3764BF91B44}"/>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F1EC8B7F-2EC7-67F8-A29E-7E01566D5AA7}"/>
              </a:ext>
            </a:extLst>
          </p:cNvPr>
          <p:cNvSpPr>
            <a:spLocks noGrp="1"/>
          </p:cNvSpPr>
          <p:nvPr>
            <p:ph type="sldNum" sz="quarter" idx="16"/>
          </p:nvPr>
        </p:nvSpPr>
        <p:spPr/>
        <p:txBody>
          <a:bodyPr/>
          <a:lstStyle/>
          <a:p>
            <a:fld id="{7B1F438D-4EAF-094E-9162-80CF3EF77236}" type="slidenum">
              <a:rPr lang="en-US" smtClean="0"/>
              <a:pPr/>
              <a:t>298</a:t>
            </a:fld>
            <a:endParaRPr lang="en-US"/>
          </a:p>
        </p:txBody>
      </p:sp>
      <p:sp>
        <p:nvSpPr>
          <p:cNvPr id="22" name="Rectangle 21">
            <a:extLst>
              <a:ext uri="{FF2B5EF4-FFF2-40B4-BE49-F238E27FC236}">
                <a16:creationId xmlns:a16="http://schemas.microsoft.com/office/drawing/2014/main" id="{408B61E1-781D-2404-26B8-1330E48E8035}"/>
              </a:ext>
            </a:extLst>
          </p:cNvPr>
          <p:cNvSpPr/>
          <p:nvPr/>
        </p:nvSpPr>
        <p:spPr>
          <a:xfrm>
            <a:off x="972000" y="1458000"/>
            <a:ext cx="3334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F93A0AC-C16A-6422-2DD2-66D3FB0CB863}"/>
              </a:ext>
            </a:extLst>
          </p:cNvPr>
          <p:cNvSpPr/>
          <p:nvPr/>
        </p:nvSpPr>
        <p:spPr>
          <a:xfrm>
            <a:off x="430668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AAD18FA-EA56-3395-E687-29644809A5CB}"/>
              </a:ext>
            </a:extLst>
          </p:cNvPr>
          <p:cNvSpPr/>
          <p:nvPr/>
        </p:nvSpPr>
        <p:spPr>
          <a:xfrm>
            <a:off x="515448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74D08AD4-E0EA-B410-C598-316DCC38D407}"/>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6957711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D5FF5-79D3-DA2B-69F6-7C3A7888253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D4728D8-6516-81A0-3253-8CFCC305C30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5533611-D423-1226-65B5-6D2759F9989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00968B-31A3-DE02-EF7C-96A3E22F6AF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DEE4D86-0195-CF53-EA39-6C878DAD431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CB1395C-EDB5-8E99-D1C5-D6500800484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x750ml (0.0%) | Up &amp; Down Pricing | NICOLAS | Assumes no other are changing prices</a:t>
            </a:r>
          </a:p>
        </p:txBody>
      </p:sp>
      <p:sp>
        <p:nvSpPr>
          <p:cNvPr id="4" name="Title1">
            <a:extLst>
              <a:ext uri="{FF2B5EF4-FFF2-40B4-BE49-F238E27FC236}">
                <a16:creationId xmlns:a16="http://schemas.microsoft.com/office/drawing/2014/main" id="{C5366A21-6171-26D4-FD4D-36183612537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4B9EF3B-C193-219E-EE4A-8DCE733DBB2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EDDA04E-27BA-EF8E-F877-44FA9C6D8E6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407D68A-DC14-FF0D-ED40-2498E6D5156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C4706EF-1A7D-8D70-5809-3E23F14089AD}"/>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8CEBF13E-C7EB-C7D4-D43D-1161E91B98E4}"/>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3249513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20867-2124-DEF9-63F4-FAD048D1EBFB}"/>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676889C7-91CF-B02D-F510-51EEC0E3EDF9}"/>
              </a:ext>
            </a:extLst>
          </p:cNvPr>
          <p:cNvSpPr/>
          <p:nvPr/>
        </p:nvSpPr>
        <p:spPr>
          <a:xfrm>
            <a:off x="3216214" y="3296306"/>
            <a:ext cx="5273581" cy="10348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F3B36454-C3E0-43E0-F344-E6D88830AE96}"/>
              </a:ext>
            </a:extLst>
          </p:cNvPr>
          <p:cNvSpPr/>
          <p:nvPr/>
        </p:nvSpPr>
        <p:spPr>
          <a:xfrm>
            <a:off x="1458354" y="3296306"/>
            <a:ext cx="1757860" cy="1034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BD177329-945E-DB42-6634-4DA166426296}"/>
              </a:ext>
            </a:extLst>
          </p:cNvPr>
          <p:cNvSpPr/>
          <p:nvPr/>
        </p:nvSpPr>
        <p:spPr>
          <a:xfrm>
            <a:off x="1458354" y="1226634"/>
            <a:ext cx="1757860" cy="2069672"/>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72F3BA53-A5B1-5961-0179-8266F8FF3413}"/>
              </a:ext>
            </a:extLst>
          </p:cNvPr>
          <p:cNvSpPr/>
          <p:nvPr/>
        </p:nvSpPr>
        <p:spPr>
          <a:xfrm>
            <a:off x="3216214" y="1226634"/>
            <a:ext cx="5273581" cy="2069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89879925-F556-DB69-9A8B-88DD1546420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0C561E5E-422C-443B-CD2E-41A9F90F313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E26D60D3-AA35-4FC5-81E3-922F3A194265}"/>
              </a:ext>
            </a:extLst>
          </p:cNvPr>
          <p:cNvSpPr>
            <a:spLocks noGrp="1"/>
          </p:cNvSpPr>
          <p:nvPr>
            <p:ph type="body" sz="quarter" idx="18"/>
          </p:nvPr>
        </p:nvSpPr>
        <p:spPr>
          <a:xfrm>
            <a:off x="503238" y="774000"/>
            <a:ext cx="8136762" cy="360000"/>
          </a:xfrm>
        </p:spPr>
        <p:txBody>
          <a:bodyPr/>
          <a:lstStyle/>
          <a:p>
            <a:pPr>
              <a:defRPr sz="1200"/>
            </a:pPr>
            <a:r>
              <a:t>Based on price change | by Brand | Mousseux | NICOLAS</a:t>
            </a:r>
          </a:p>
        </p:txBody>
      </p:sp>
      <p:sp>
        <p:nvSpPr>
          <p:cNvPr id="3" name="Title 2">
            <a:extLst>
              <a:ext uri="{FF2B5EF4-FFF2-40B4-BE49-F238E27FC236}">
                <a16:creationId xmlns:a16="http://schemas.microsoft.com/office/drawing/2014/main" id="{18EF4DF6-B2F9-4EB2-E693-8D0587AF7B1D}"/>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92D11633-4BC9-A72C-4D79-5724A0541683}"/>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4FE34449-8A95-594B-6E56-71A9C53CBE47}"/>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63E89092-3CB1-403A-0AEB-E4599DA6E66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DE71C782-88C1-6828-852E-00F82C26FBBB}"/>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06CCE804-07B1-31A5-067B-5EC75155CC1C}"/>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572140E1-E202-2BA3-8E0F-EFE8836D8710}"/>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2031F860-BB13-E0D2-CB8F-AE437ACBD762}"/>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2BB1A581-0C2A-60C9-57B6-ADCFE886ECCD}"/>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8C35465-E47B-E1E1-CFDB-059DB2CE0916}"/>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D57D3991-A3F4-B345-38D5-8037223A6F3F}"/>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76403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DF919-22FE-D3D0-24D0-95807C1B784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596616F-C533-6FE7-1788-68E44EB0212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F094BF2-63CD-56A6-DEDF-7E1675D3CBF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0BC5EF-4B92-7804-A08D-9E8B63D443E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085E019-A43F-E84D-951C-003FB80A633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DBE0B0B-8AD0-FD4B-6D66-9FFBEEA1209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s Grumes  (1.0%) | Up &amp; Down Pricing | NICOLAS | Assumes no other are changing prices</a:t>
            </a:r>
          </a:p>
        </p:txBody>
      </p:sp>
      <p:sp>
        <p:nvSpPr>
          <p:cNvPr id="4" name="Title1">
            <a:extLst>
              <a:ext uri="{FF2B5EF4-FFF2-40B4-BE49-F238E27FC236}">
                <a16:creationId xmlns:a16="http://schemas.microsoft.com/office/drawing/2014/main" id="{7F8EE821-3ACB-5CBD-24F3-2CE267F0A3C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730E5FD-1D17-399C-FD5D-F0656B797347}"/>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C75A45E-3497-1989-75E4-CBA63B3F015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04982A3C-7A70-CF40-0885-9D1194B5BD96}"/>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F86B804-7120-272C-879E-A2CE0F841587}"/>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01296045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A9EBD-FA43-6290-50CC-55D0957C3C2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B310EB-E5C0-9750-0781-1A8B5D3B3CF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2F1AF03-C54E-CFF4-C3F8-57D4F7906B5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14F6B096-4116-B246-4FE1-43F10D16513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3x750ml | NICOLAS | Assuming no other products are changing prices</a:t>
            </a:r>
          </a:p>
        </p:txBody>
      </p:sp>
      <p:sp>
        <p:nvSpPr>
          <p:cNvPr id="10" name="Title 9">
            <a:extLst>
              <a:ext uri="{FF2B5EF4-FFF2-40B4-BE49-F238E27FC236}">
                <a16:creationId xmlns:a16="http://schemas.microsoft.com/office/drawing/2014/main" id="{1217A2C1-4EB4-9759-FAB0-A6C12A301B7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649BBC0-01F5-9BD8-2894-B781A9665BE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E0F5940-29DE-CA46-B6B7-F765BFCA6FD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111159D-57B9-56FE-37BA-C491E73BD6A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2A58683-4132-209C-D029-AB0F75A7E0B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A25932B-691E-9D2E-06B5-CB199759106A}"/>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C6498158-18E8-07C1-E729-C81CD79C805E}"/>
              </a:ext>
            </a:extLst>
          </p:cNvPr>
          <p:cNvSpPr>
            <a:spLocks noGrp="1"/>
          </p:cNvSpPr>
          <p:nvPr>
            <p:ph type="sldNum" sz="quarter" idx="16"/>
          </p:nvPr>
        </p:nvSpPr>
        <p:spPr/>
        <p:txBody>
          <a:bodyPr/>
          <a:lstStyle/>
          <a:p>
            <a:fld id="{7B1F438D-4EAF-094E-9162-80CF3EF77236}" type="slidenum">
              <a:rPr lang="en-US" smtClean="0"/>
              <a:pPr/>
              <a:t>300</a:t>
            </a:fld>
            <a:endParaRPr lang="en-US"/>
          </a:p>
        </p:txBody>
      </p:sp>
      <p:sp>
        <p:nvSpPr>
          <p:cNvPr id="22" name="Rectangle 21">
            <a:extLst>
              <a:ext uri="{FF2B5EF4-FFF2-40B4-BE49-F238E27FC236}">
                <a16:creationId xmlns:a16="http://schemas.microsoft.com/office/drawing/2014/main" id="{E11A5081-8F8F-F04F-A6C4-57FBBB3D8D06}"/>
              </a:ext>
            </a:extLst>
          </p:cNvPr>
          <p:cNvSpPr/>
          <p:nvPr/>
        </p:nvSpPr>
        <p:spPr>
          <a:xfrm>
            <a:off x="972000" y="1458000"/>
            <a:ext cx="3447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6012E18-035C-9D08-DB13-0F360D45376A}"/>
              </a:ext>
            </a:extLst>
          </p:cNvPr>
          <p:cNvSpPr/>
          <p:nvPr/>
        </p:nvSpPr>
        <p:spPr>
          <a:xfrm>
            <a:off x="44197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1AEECCB-36E4-D125-5831-40B18358EB2F}"/>
              </a:ext>
            </a:extLst>
          </p:cNvPr>
          <p:cNvSpPr/>
          <p:nvPr/>
        </p:nvSpPr>
        <p:spPr>
          <a:xfrm>
            <a:off x="5776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95712378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1DD5B-376A-5AD1-1E9B-53C6BE74DAE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3E8604A-AC77-BD67-A869-E82E59261A0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BD7ED12-AC8E-C080-C764-C578A188AE1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4534611-F454-5BDC-537D-FA173879C7E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AAE5959-AB7A-8C3A-2201-F930816585C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0773E2B-D90C-1C98-F1DB-A56EEF2B5BD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3x750ml (0.0%) | Up &amp; Down Pricing | NICOLAS | Assumes no other are changing prices</a:t>
            </a:r>
          </a:p>
        </p:txBody>
      </p:sp>
      <p:sp>
        <p:nvSpPr>
          <p:cNvPr id="4" name="Title1">
            <a:extLst>
              <a:ext uri="{FF2B5EF4-FFF2-40B4-BE49-F238E27FC236}">
                <a16:creationId xmlns:a16="http://schemas.microsoft.com/office/drawing/2014/main" id="{096D6EFD-9AE8-04FA-896D-96825BF6E29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D187FCA-55D5-5C7E-E5CA-7221FB2E492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F4B7BEB-AE5A-48EE-8D83-88014A46C10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7686E7C-587C-92DE-8125-B63A5486AF3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0F9F94A-1CD1-964C-7AC5-9875A7C11F3F}"/>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88F0D58-D22B-6454-01C0-AC2E3A0139EF}"/>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362412423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3E2E3-6C95-8956-938D-6DE87646171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603D84-277F-1DE9-10D0-85C32B4173B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50ACF1C-5466-62C4-A2D4-5AFCE19C180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F1DF552-1EDF-1550-CEB3-B0190441919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x750ml | NICOLAS | Assuming no other products are changing prices</a:t>
            </a:r>
          </a:p>
        </p:txBody>
      </p:sp>
      <p:sp>
        <p:nvSpPr>
          <p:cNvPr id="10" name="Title 9">
            <a:extLst>
              <a:ext uri="{FF2B5EF4-FFF2-40B4-BE49-F238E27FC236}">
                <a16:creationId xmlns:a16="http://schemas.microsoft.com/office/drawing/2014/main" id="{E8AC7592-8C6E-6570-8258-FD751B12C84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6D7432A-5E00-422B-231A-C17E24A7183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767E932-E39C-E84A-21D5-D837A6FC321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5F5260B-1D5B-1644-A7F3-217BEC90E31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E67CD4D-18C4-BC26-1223-AE16FF8E584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A5EE8E6-6EB7-4E65-418E-6D8F4115304B}"/>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791F620-9371-1599-5508-8FF93FD1C246}"/>
              </a:ext>
            </a:extLst>
          </p:cNvPr>
          <p:cNvSpPr>
            <a:spLocks noGrp="1"/>
          </p:cNvSpPr>
          <p:nvPr>
            <p:ph type="sldNum" sz="quarter" idx="16"/>
          </p:nvPr>
        </p:nvSpPr>
        <p:spPr/>
        <p:txBody>
          <a:bodyPr/>
          <a:lstStyle/>
          <a:p>
            <a:fld id="{7B1F438D-4EAF-094E-9162-80CF3EF77236}" type="slidenum">
              <a:rPr lang="en-US" smtClean="0"/>
              <a:pPr/>
              <a:t>302</a:t>
            </a:fld>
            <a:endParaRPr lang="en-US"/>
          </a:p>
        </p:txBody>
      </p:sp>
      <p:sp>
        <p:nvSpPr>
          <p:cNvPr id="22" name="Rectangle 21">
            <a:extLst>
              <a:ext uri="{FF2B5EF4-FFF2-40B4-BE49-F238E27FC236}">
                <a16:creationId xmlns:a16="http://schemas.microsoft.com/office/drawing/2014/main" id="{675BE938-8E90-203E-63C5-35EC63D3A520}"/>
              </a:ext>
            </a:extLst>
          </p:cNvPr>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8ED33C20-EDDF-DC5C-DE79-810B0A817661}"/>
              </a:ext>
            </a:extLst>
          </p:cNvPr>
          <p:cNvSpPr/>
          <p:nvPr/>
        </p:nvSpPr>
        <p:spPr>
          <a:xfrm>
            <a:off x="3119760" y="1458000"/>
            <a:ext cx="56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6FEC23D-3AD9-419D-42E4-CB6AE73301C6}"/>
              </a:ext>
            </a:extLst>
          </p:cNvPr>
          <p:cNvSpPr/>
          <p:nvPr/>
        </p:nvSpPr>
        <p:spPr>
          <a:xfrm>
            <a:off x="3176280" y="1458000"/>
            <a:ext cx="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18CC3AD5-6C64-CB71-415A-8EE3D5ABD62B}"/>
              </a:ext>
            </a:extLst>
          </p:cNvPr>
          <p:cNvSpPr/>
          <p:nvPr/>
        </p:nvSpPr>
        <p:spPr>
          <a:xfrm>
            <a:off x="317628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AF6C961D-3E88-9A10-8D9D-6AB878F0AF16}"/>
              </a:ext>
            </a:extLst>
          </p:cNvPr>
          <p:cNvSpPr/>
          <p:nvPr/>
        </p:nvSpPr>
        <p:spPr>
          <a:xfrm>
            <a:off x="385452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5436F497-86E1-E717-4B13-CADFAF599790}"/>
              </a:ext>
            </a:extLst>
          </p:cNvPr>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2547977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EC930-FE51-1267-7347-FBC7C424FB7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8AF6271-9B57-A562-C2B7-E46D93AAD71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41C259-F293-EF66-5C74-956E58E69A6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E62A20E-B382-29E6-C83F-8C09520606A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57D3FF2-7CCA-4415-1400-19BD0500BED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6989C37-C2F7-8A9C-0041-CE68F81B207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x750ml (0.0%) | Up &amp; Down Pricing | NICOLAS | Assumes no other are changing prices</a:t>
            </a:r>
          </a:p>
        </p:txBody>
      </p:sp>
      <p:sp>
        <p:nvSpPr>
          <p:cNvPr id="4" name="Title1">
            <a:extLst>
              <a:ext uri="{FF2B5EF4-FFF2-40B4-BE49-F238E27FC236}">
                <a16:creationId xmlns:a16="http://schemas.microsoft.com/office/drawing/2014/main" id="{E3FEB72C-814C-2C90-7356-231359E13E4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6F93C46-7416-2563-E132-12E810D0309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E3711A4-C19F-CED7-EA40-358E1C5CEE7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DFA08BB-8499-77BE-3599-D53ABCCA99E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DCF11AE-D601-D73B-9E12-1DD85EA3608D}"/>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9FADE64-6555-CDC3-AEB3-DC8E18DFDDCE}"/>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11768965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21059-C0A1-9781-A36B-F85EE1CE77E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3ED6429-A551-6572-C4E8-ED9705D100CA}"/>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100A4ED-812B-88ED-8E89-5CB25CEABD0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67742A-6445-BF0E-F428-36B3BDD8D92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794AD2F-8D99-AE11-3EEA-E87609DE6C2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0EEAD96-5603-E169-585E-63E6854F158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uis Martin (0.5%) | Up &amp; Down Pricing | NICOLAS | Assumes no other are changing prices</a:t>
            </a:r>
          </a:p>
        </p:txBody>
      </p:sp>
      <p:sp>
        <p:nvSpPr>
          <p:cNvPr id="4" name="Title1">
            <a:extLst>
              <a:ext uri="{FF2B5EF4-FFF2-40B4-BE49-F238E27FC236}">
                <a16:creationId xmlns:a16="http://schemas.microsoft.com/office/drawing/2014/main" id="{7491E7BD-20CD-2C52-3EBF-6ABFFD583A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98CD0ED-CC13-BCE5-124D-58995C17143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5AD53A2-0A20-E8FA-07F8-A87A8074873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FC878BA-2E26-19C1-D23B-01B52F9A8923}"/>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0AC2EA99-02B6-9ED4-02FF-EAE46987BBD8}"/>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573465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85A8E0-8E0E-9615-B2A9-D75530240E4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4D0794B-7225-0EB2-DD9C-920BA9205D3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FDB02A9-284F-4D6E-03FD-C346D33CE026}"/>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0A1AA2B-84C8-EA8E-F9ED-6E96BBA9C3D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795FA53-A751-5F7F-2274-8066C317C91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D5B8640-83A7-118B-90F8-D5986150367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yre's (1.0%) | Up &amp; Down Pricing | NICOLAS | Assumes no other are changing prices</a:t>
            </a:r>
          </a:p>
        </p:txBody>
      </p:sp>
      <p:sp>
        <p:nvSpPr>
          <p:cNvPr id="4" name="Title1">
            <a:extLst>
              <a:ext uri="{FF2B5EF4-FFF2-40B4-BE49-F238E27FC236}">
                <a16:creationId xmlns:a16="http://schemas.microsoft.com/office/drawing/2014/main" id="{3B8E519A-4B4C-36F5-38E4-673C3BA6A20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01E5337-EC94-222C-F748-F3481C0B33F4}"/>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2F8FEB7-FF1B-A9BC-058B-77609CE0B63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ED1990CE-AC34-B185-7802-7FA73DA371D7}"/>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414CDB19-D346-B387-A5FE-A75660630B2E}"/>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521992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3DF38-3881-210E-BCA5-992D7FB65F9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35A243E-1625-243F-9500-DB32B58CA48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5D40B71-5369-49E6-58A5-4E5E8956662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7D2CD62-802F-F58A-18A1-F116045183B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A8B4938-61FE-5477-C749-8A5E83F8384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E170095-1263-3772-0847-2524C5F88F0F}"/>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alard (6.0%) | Up &amp; Down Pricing | NICOLAS | Assumes no other are changing prices</a:t>
            </a:r>
          </a:p>
        </p:txBody>
      </p:sp>
      <p:sp>
        <p:nvSpPr>
          <p:cNvPr id="4" name="Title1">
            <a:extLst>
              <a:ext uri="{FF2B5EF4-FFF2-40B4-BE49-F238E27FC236}">
                <a16:creationId xmlns:a16="http://schemas.microsoft.com/office/drawing/2014/main" id="{8EB85992-2CD6-6B7C-2547-9AE79BA43BD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D31CF4D-8324-9A5B-22F9-132491DE90D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0816310-5785-1A20-23EC-30D793B00FC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757F8BB-C760-8367-0E82-DDCB8E4E5E75}"/>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33386BD-977E-7AC0-8F38-FB54AE573DCA}"/>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9665850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1E6C8-AF39-6EA0-4411-AF1F5A48A04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022DF89-A8A0-053C-A811-E57CB890E042}"/>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A7B3A79-26C1-3DC0-D4AA-2605D52234B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84B7069-DEC7-3D35-B173-90AD38B9903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DB64639-DF66-A4C2-B6DE-C951333F616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F11AE91-DD3C-06DB-F935-7CF2282D42C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ionetto (0.0%) | Up &amp; Down Pricing | NICOLAS | Assumes no other are changing prices</a:t>
            </a:r>
          </a:p>
        </p:txBody>
      </p:sp>
      <p:sp>
        <p:nvSpPr>
          <p:cNvPr id="4" name="Title1">
            <a:extLst>
              <a:ext uri="{FF2B5EF4-FFF2-40B4-BE49-F238E27FC236}">
                <a16:creationId xmlns:a16="http://schemas.microsoft.com/office/drawing/2014/main" id="{4EDFFA4F-75D3-832D-C38E-1C16599DDE7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F94C902-A0BF-7877-AAE7-C33596A2D6F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DB1C78F-73B5-21DF-FC69-6AE5FA376CC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EB2D24E2-BE46-3444-11BC-1553D307AF30}"/>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F7F28FC-1132-3B1F-A740-9D9C47653AE7}"/>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0366539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55C22-8221-3547-0B26-00E7FCB8A5E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0444F1A-182A-CED1-64D7-E9DF42B4C0D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6982AAB-346A-650F-6303-E2818DD8A971}"/>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9305FC5-3106-399A-1383-90A583FA638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D21CD8A-DE8C-C6AC-4360-28B8A7689E7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A8A9990-B563-B1E7-D498-B3CFF62427C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oët &amp; Chandon (1.1%) | Up &amp; Down Pricing | NICOLAS | Assumes no other are changing prices</a:t>
            </a:r>
          </a:p>
        </p:txBody>
      </p:sp>
      <p:sp>
        <p:nvSpPr>
          <p:cNvPr id="4" name="Title1">
            <a:extLst>
              <a:ext uri="{FF2B5EF4-FFF2-40B4-BE49-F238E27FC236}">
                <a16:creationId xmlns:a16="http://schemas.microsoft.com/office/drawing/2014/main" id="{40353CAD-E8BF-02D8-229E-E9B63941BDF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09DCA4D-487A-C34D-CBE2-8B910DEEB70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5B6ABDE-6BFB-5936-8C0A-8A97AD65559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0B4D9FC3-7348-4ACE-6E5D-334470550CDE}"/>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870980DF-98B6-ED62-11FE-03C7280606AB}"/>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38756637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1F396-BA19-9A42-0C3C-4B5F4E393BF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EA4ADE8-2A57-982B-5DF9-7A8C9BC326F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E9C6AF4-39A9-3E96-F925-79BAE19DF1B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E2C290A-8A6B-E391-B61A-D3649C124DB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9C57717-1C78-3374-AFF8-F1710CD1106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90F25AD-D760-BC92-0DED-1AB0088A09ED}"/>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uré (1.3%) | Up &amp; Down Pricing | NICOLAS | Assumes no other are changing prices</a:t>
            </a:r>
          </a:p>
        </p:txBody>
      </p:sp>
      <p:sp>
        <p:nvSpPr>
          <p:cNvPr id="4" name="Title1">
            <a:extLst>
              <a:ext uri="{FF2B5EF4-FFF2-40B4-BE49-F238E27FC236}">
                <a16:creationId xmlns:a16="http://schemas.microsoft.com/office/drawing/2014/main" id="{BCDEF294-6FEB-A616-48EA-02D08B249BC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8C3BBC7-A030-4F85-A540-CBE05D938E51}"/>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5A21035-BFC4-7B21-CD7E-32FFCE741E6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D75915F-6331-7AE0-4407-0FC200586A9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5605A63D-3AF7-9B24-84C4-5B624DD4898F}"/>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2303399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D9990-84F9-6D0C-134D-82EB1CBD4AD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1022246-1ADE-2B39-82DD-EFB355B9B150}"/>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643711B-1DCF-BD47-B68B-348FF8BE4BC1}"/>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F4CC7AD-9468-3E51-C1E5-C9B734BA8D0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867C2F1-4240-3F7B-EE3A-6E38476D282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C218EA4-BA05-1A1B-1245-54154B97B29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Feuillatte (4.5%) | Up &amp; Down Pricing | NICOLAS | Assumes no other are changing prices</a:t>
            </a:r>
          </a:p>
        </p:txBody>
      </p:sp>
      <p:sp>
        <p:nvSpPr>
          <p:cNvPr id="4" name="Title1">
            <a:extLst>
              <a:ext uri="{FF2B5EF4-FFF2-40B4-BE49-F238E27FC236}">
                <a16:creationId xmlns:a16="http://schemas.microsoft.com/office/drawing/2014/main" id="{53AB1EE2-0B93-89CF-4D24-80F45587F77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68144F6-D0C4-A458-619B-17F389BE5BC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69C5C96-99FB-D81E-A04A-D2C421F85CEF}"/>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E0E11E9-4B06-5A27-4366-C5A1A888FB9F}"/>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7D315AF-EAD8-2305-03F8-03DA99EC744D}"/>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8883771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61639-7622-066B-0B3D-EABF730225B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5A7A30D-0C34-D3D0-1C28-4973C9C3735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2897E8B-FDF1-7FC0-ED2A-D368F086976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0D09DA4-313D-987B-F455-DDB0668ABA1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35D949E-990D-0C0F-797A-5321FC5A7BB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438E1BD-7EFC-FAF5-A49C-113A0604704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atriarche (2.6%) | Up &amp; Down Pricing | NICOLAS | Assumes no other are changing prices</a:t>
            </a:r>
          </a:p>
        </p:txBody>
      </p:sp>
      <p:sp>
        <p:nvSpPr>
          <p:cNvPr id="4" name="Title1">
            <a:extLst>
              <a:ext uri="{FF2B5EF4-FFF2-40B4-BE49-F238E27FC236}">
                <a16:creationId xmlns:a16="http://schemas.microsoft.com/office/drawing/2014/main" id="{C0EBB515-8E96-02BE-85F9-943EC86254B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D0EF1C4-1C95-9DF5-F016-39E7D59C8BE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625EF58-5F48-6960-4758-D19C4C5C7F8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6F8EABF-8336-0BEB-264C-0EBD35B1951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723DE64-8121-60AC-C15F-DA2F1E212FEF}"/>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2225074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C6900-1A87-10EF-E0FD-A7CCB4C3CD5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A895D0D-E74F-08AD-7AB1-C5BED1FCE6B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C146A77-6F97-8282-4B87-1BE14745AC2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C7D608B-02C8-E0B6-C4B7-7506F09A92F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CF6AAFD-8768-0EA5-9B1D-715A1DD6875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48D4EE5-6F8B-EAB2-C5BF-F360C1623FC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rrier-Jouët (0.9%) | Up &amp; Down Pricing | NICOLAS | Assumes no other are changing prices</a:t>
            </a:r>
          </a:p>
        </p:txBody>
      </p:sp>
      <p:sp>
        <p:nvSpPr>
          <p:cNvPr id="4" name="Title1">
            <a:extLst>
              <a:ext uri="{FF2B5EF4-FFF2-40B4-BE49-F238E27FC236}">
                <a16:creationId xmlns:a16="http://schemas.microsoft.com/office/drawing/2014/main" id="{E653DA81-8195-4AEB-DE57-96890EFFF4E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D1D947D-0585-7B2F-991E-862D595CCA0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9251278-B157-82F3-C353-226148C08F33}"/>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134F76B-E557-A7F7-0F19-19EAC6291F51}"/>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427419A-43FE-DBAE-DF64-D41EB5FB5B1F}"/>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319170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EBA2-D42A-D1A2-02E1-5538C62A096C}"/>
            </a:ext>
          </a:extLst>
        </p:cNvPr>
        <p:cNvGrpSpPr/>
        <p:nvPr/>
      </p:nvGrpSpPr>
      <p:grpSpPr>
        <a:xfrm>
          <a:off x="0" y="0"/>
          <a:ext cx="0" cy="0"/>
          <a:chOff x="0" y="0"/>
          <a:chExt cx="0" cy="0"/>
        </a:xfrm>
      </p:grpSpPr>
      <p:sp>
        <p:nvSpPr>
          <p:cNvPr id="18" name="high-high">
            <a:extLst>
              <a:ext uri="{FF2B5EF4-FFF2-40B4-BE49-F238E27FC236}">
                <a16:creationId xmlns:a16="http://schemas.microsoft.com/office/drawing/2014/main" id="{5AFCB204-E84C-CA44-E680-03E5F445487D}"/>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380C3F7-7EF2-5836-54FD-46EDDF971442}"/>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CD81568D-8D4A-CE79-2885-A0FF272D0BDF}"/>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59F3A791-B06E-9FF8-B380-E2633B4189AF}"/>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93CC03B5-5B7E-8096-6464-AB076DA9B227}"/>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8D5D0F52-45CF-AA8A-0E7F-30EA8DAC625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485057C3-CEF7-D6BA-D842-B5E242E52230}"/>
              </a:ext>
            </a:extLst>
          </p:cNvPr>
          <p:cNvSpPr>
            <a:spLocks noGrp="1"/>
          </p:cNvSpPr>
          <p:nvPr>
            <p:ph type="body" sz="quarter" idx="18"/>
          </p:nvPr>
        </p:nvSpPr>
        <p:spPr>
          <a:xfrm>
            <a:off x="503238" y="774000"/>
            <a:ext cx="8136762" cy="360000"/>
          </a:xfrm>
        </p:spPr>
        <p:txBody>
          <a:bodyPr/>
          <a:lstStyle/>
          <a:p>
            <a:pPr>
              <a:defRPr sz="1200"/>
            </a:pPr>
            <a:r>
              <a:t>Based on price change | by Brand | Effervescents Sans Alcool | NICOLAS</a:t>
            </a:r>
          </a:p>
        </p:txBody>
      </p:sp>
      <p:sp>
        <p:nvSpPr>
          <p:cNvPr id="3" name="Title 2">
            <a:extLst>
              <a:ext uri="{FF2B5EF4-FFF2-40B4-BE49-F238E27FC236}">
                <a16:creationId xmlns:a16="http://schemas.microsoft.com/office/drawing/2014/main" id="{B0AEA296-3D12-43BB-155B-AF1FF00297D4}"/>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69A8B7FC-E290-CFFC-5834-A967D65A255D}"/>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2F1BD40B-3E90-9596-53D5-76A61B16B7F1}"/>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4E7044DC-E427-B9B4-CDC7-2E0CD232046D}"/>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C55FE622-3CD9-276E-0938-5061D82A8420}"/>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A3FB1EA6-D5D4-AF3B-44C0-B314897EB97E}"/>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D9884CFF-FC8C-A7DF-86B5-3C614699B08C}"/>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AC9FD072-1787-496A-56AF-C1C091D3207F}"/>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947BC24B-A8A4-328D-A8BB-BF9EA59FC37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259DCF65-BF51-71AF-D529-79EB06028984}"/>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B5B7282D-6D88-63A3-C9E9-D6274135F15E}"/>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098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35E26-EE9A-3865-97A0-7BA059A4CD1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0B36390-DAFD-7DDB-ED0F-65BFB2EB804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2F39E6B-F15D-F0B2-A354-9FC86E500B27}"/>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7A0575D-361B-E7C6-167D-D2F340AE21D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5B6B00B-BCD1-4431-68E4-D607AC17DD8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AF234637-504A-A6E6-84C9-A98801B185D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tit Coteau (0.6%) | Up &amp; Down Pricing | NICOLAS | Assumes no other are changing prices</a:t>
            </a:r>
          </a:p>
        </p:txBody>
      </p:sp>
      <p:sp>
        <p:nvSpPr>
          <p:cNvPr id="4" name="Title1">
            <a:extLst>
              <a:ext uri="{FF2B5EF4-FFF2-40B4-BE49-F238E27FC236}">
                <a16:creationId xmlns:a16="http://schemas.microsoft.com/office/drawing/2014/main" id="{14CB7952-D20E-8E35-3D9F-F053B20C669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38841D8-0783-FF16-A57C-A9257F90C00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D36BE5B-CD34-FFF0-8E64-D6491A1E89E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376D076-B1DD-0F3C-EFDD-D729A2018C6B}"/>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B5DD5924-8F1A-1A27-4794-067953BC4E62}"/>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144069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0B7A3-9FEE-3BD2-685E-6B7B4E7CE66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A8E62B6-1D1F-B0EA-18CE-E4BDB472D6F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7F47843-0C3A-6904-3A4B-DB76F041B8B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7EEF5AA-CFB5-3855-BDE5-5F0195854D4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1B0F3EF-C906-3A19-7664-826240D542F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93D5D12-F9F3-6A67-9C45-F79B17612AF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camelot (0.0%) | Up &amp; Down Pricing | NICOLAS | Assumes no other are changing prices</a:t>
            </a:r>
          </a:p>
        </p:txBody>
      </p:sp>
      <p:sp>
        <p:nvSpPr>
          <p:cNvPr id="4" name="Title1">
            <a:extLst>
              <a:ext uri="{FF2B5EF4-FFF2-40B4-BE49-F238E27FC236}">
                <a16:creationId xmlns:a16="http://schemas.microsoft.com/office/drawing/2014/main" id="{E1EE7FFB-F0E5-D095-287F-7DA0052DE94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0590DEE-71DA-A9C6-75BB-4C11B96A793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93A0F14-7A1B-29DD-0B16-8F44DF20BC95}"/>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5C6EE2F-C520-0D41-2F62-803466A9665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8B273BD-0395-60D0-987E-D58C87BA9322}"/>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9822222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A6417-D94F-53C4-AFD7-71C4E5E2C67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4CABB49-2E57-0FC1-3EB3-99F1AB9B8B7B}"/>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B306D59-6A21-CEF3-BABD-AB3AC9A2D84F}"/>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1DBE7AC-E5CB-C76A-2C2C-39BB88D764C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9D2D023-0B16-53AD-CFC0-C4AEB8044B2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BB994A08-421D-A00E-FE91-79C6BDEE4A97}"/>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per-Heidsieck (0.4%) | Up &amp; Down Pricing | NICOLAS | Assumes no other are changing prices</a:t>
            </a:r>
          </a:p>
        </p:txBody>
      </p:sp>
      <p:sp>
        <p:nvSpPr>
          <p:cNvPr id="4" name="Title1">
            <a:extLst>
              <a:ext uri="{FF2B5EF4-FFF2-40B4-BE49-F238E27FC236}">
                <a16:creationId xmlns:a16="http://schemas.microsoft.com/office/drawing/2014/main" id="{6FA980F4-BC2A-8FCD-BA96-22CCBC2F6AC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E30B0D3-0631-06DD-4A60-0F0D14D0E72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7732A6D-7E5D-AA02-C005-49E841A448E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D751812-69D4-5078-DD66-962319F750E9}"/>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068C6E8-5EF7-955B-A3CA-8C683B6EF905}"/>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2532522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A9D87-AA62-D5AE-EE06-CFF5A60FECC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9DD6DD1-5E3F-85FD-0EF1-BC8473386A4A}"/>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07F1704-D7A3-C452-3E43-66D638B4831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5A819D9-91EB-03AC-51E6-B5F502677FA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EC549EB-D858-C9AA-8B29-57B79FEEA47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4D523CD-94B3-F19F-EE75-80D59BC4FE7F}"/>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l Roger (0.8%) | Up &amp; Down Pricing | NICOLAS | Assumes no other are changing prices</a:t>
            </a:r>
          </a:p>
        </p:txBody>
      </p:sp>
      <p:sp>
        <p:nvSpPr>
          <p:cNvPr id="4" name="Title1">
            <a:extLst>
              <a:ext uri="{FF2B5EF4-FFF2-40B4-BE49-F238E27FC236}">
                <a16:creationId xmlns:a16="http://schemas.microsoft.com/office/drawing/2014/main" id="{730D5CEA-15AF-1EC7-C81C-BF1D8B5BFF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D106FAC-E518-D362-8EF5-4C09DB831EC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7990AA0-B4D6-2582-2BC4-BDE08B0877F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106CEE5-7AFF-CAF7-BC44-C4471E4F3511}"/>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7FA5A42C-C3E1-3F8B-5A34-DB808E260C5B}"/>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45226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C7C22-7E79-C668-E497-2600FE4EC62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C9D3743-5743-E0D6-669A-E8C151BDE30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064CB27-67D2-06A9-A920-8E73640EF70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DF8F2E2-4EB2-CDA0-E56A-137E6F89BD1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A363D9D-6CC7-0EE1-D0F1-012C35B45F7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991A9B12-5FF2-6594-24D7-4E518979089F}"/>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mmery (0.8%) | Up &amp; Down Pricing | NICOLAS | Assumes no other are changing prices</a:t>
            </a:r>
          </a:p>
        </p:txBody>
      </p:sp>
      <p:sp>
        <p:nvSpPr>
          <p:cNvPr id="4" name="Title1">
            <a:extLst>
              <a:ext uri="{FF2B5EF4-FFF2-40B4-BE49-F238E27FC236}">
                <a16:creationId xmlns:a16="http://schemas.microsoft.com/office/drawing/2014/main" id="{B9288BF3-1CD7-07B3-BEA1-E3A5947EDB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2191BB7-2436-0523-9565-090EFDD2AC0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1E280BE-C7D9-6139-FBF6-65AFA73A95D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9FB30A8-BDB3-1ACA-73EB-85FE89B55F3D}"/>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D1B1EBCD-06CC-F150-14B2-FDB594C7AE7F}"/>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860094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26E06-E24B-E61B-8590-EFF89C4C970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C6EA71F-E908-8447-DF18-112345483BA7}"/>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2C43E6A-FA1F-55DC-00F2-20BE8BC191B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E68DB9F-3735-3EE5-5D85-3A56FD26015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8CC78FC-354F-C8F8-2552-7BA8588FB39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B9DF024-EF26-4BE0-00D0-9C4EE35D2F7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iccadonna (0.0%) | Up &amp; Down Pricing | NICOLAS | Assumes no other are changing prices</a:t>
            </a:r>
          </a:p>
        </p:txBody>
      </p:sp>
      <p:sp>
        <p:nvSpPr>
          <p:cNvPr id="4" name="Title1">
            <a:extLst>
              <a:ext uri="{FF2B5EF4-FFF2-40B4-BE49-F238E27FC236}">
                <a16:creationId xmlns:a16="http://schemas.microsoft.com/office/drawing/2014/main" id="{1748D89D-6F64-1F7A-88E9-A0037BBDE6A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464C96E-DF1B-AB1A-080F-034768D4EB1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A61BD71-5ACB-F2D0-F3E9-E33EE9EC6F2E}"/>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49C6C47-F52C-20CC-B35F-B9931A2C74EA}"/>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B105F787-CF1F-5082-3359-2CFB93B79ECF}"/>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7533969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549D4-FAAC-05F8-2073-C90B8AF50E8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2193817-BE6E-014A-E580-72A510C0416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D022FA6-0CBF-1CA5-1957-A511923012D7}"/>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C3CEFC0-1BD3-9EE7-4C29-F28F6B6BA9F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7300D68-5E0A-12B4-8D6A-B269B0D434F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9E8E20E-92E8-C4F7-7246-34750B5E61E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oederer (0.6%) | Up &amp; Down Pricing | NICOLAS | Assumes no other are changing prices</a:t>
            </a:r>
          </a:p>
        </p:txBody>
      </p:sp>
      <p:sp>
        <p:nvSpPr>
          <p:cNvPr id="4" name="Title1">
            <a:extLst>
              <a:ext uri="{FF2B5EF4-FFF2-40B4-BE49-F238E27FC236}">
                <a16:creationId xmlns:a16="http://schemas.microsoft.com/office/drawing/2014/main" id="{18D00ADE-2C31-2610-5013-6EC90640A67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95723DA-08F7-E67F-8CC1-1E88ABA81D1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D459783-E07C-6C50-080C-CEE54192E657}"/>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E935FFB-530C-D312-C55F-CF3FEE8E37C0}"/>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9E3A5EE-92A4-81E2-D30F-3AE5DFBA649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3149994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F2889-084E-B75C-866C-98A881FD597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A92877D-7B20-9661-884E-25675B95232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1AF409F-14ED-02C6-BA7D-0F9D645EE8B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1974D28-7928-835E-51EE-53D28094979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795CFFB-E389-9D3A-DE4D-71556DF2ED7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FE8AC68-8B3C-E107-DE7D-E30ACD8968E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uinart (12.8%) | Up &amp; Down Pricing | NICOLAS | Assumes no other are changing prices</a:t>
            </a:r>
          </a:p>
        </p:txBody>
      </p:sp>
      <p:sp>
        <p:nvSpPr>
          <p:cNvPr id="4" name="Title1">
            <a:extLst>
              <a:ext uri="{FF2B5EF4-FFF2-40B4-BE49-F238E27FC236}">
                <a16:creationId xmlns:a16="http://schemas.microsoft.com/office/drawing/2014/main" id="{A89122AD-1F50-410D-A2C7-9FFC5609B3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4270F1E-4AF5-1E71-4ADE-EAD8C10C398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1059761-1CC5-4BBA-08CA-ABC2651275E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F444748-F4EE-B2E9-1FA3-EBD8AA4934AB}"/>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4756D2C-449D-AF05-F2AB-2A4852388341}"/>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4693155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59B25-1BA1-C66C-5990-4E04824F046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36ED0B9-E787-D85F-819B-B095F59D9F5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5D72F0B-B9E8-ED89-81BA-C0F9139F0070}"/>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9CC05BA-AD9D-7304-2FF0-F92AA85010E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9680A09-D9B4-628D-7F6F-18D7412AA8C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67BCD29-05A8-2F37-8B7A-74F2D82506F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avian (2.1%) | Up &amp; Down Pricing | NICOLAS | Assumes no other are changing prices</a:t>
            </a:r>
          </a:p>
        </p:txBody>
      </p:sp>
      <p:sp>
        <p:nvSpPr>
          <p:cNvPr id="4" name="Title1">
            <a:extLst>
              <a:ext uri="{FF2B5EF4-FFF2-40B4-BE49-F238E27FC236}">
                <a16:creationId xmlns:a16="http://schemas.microsoft.com/office/drawing/2014/main" id="{84ED7E80-C5F1-D7F2-31D4-212734A0995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11E9087-6E5B-E850-763E-959B8F92654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15ECA8A-7034-1020-9CC8-2825FEE3860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9A284C3-40A5-82CD-177C-45733F42A2CB}"/>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99E95CC1-4FA3-78C9-99E6-B97661F9201B}"/>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5286235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E7B77-2A50-6E57-6B75-8E539A2E383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4EC8D3-103D-34C3-387A-28B75975830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68AC67F-89C5-C23E-4D0B-C359F6C22DF6}"/>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6B162A8-6593-B1B1-8465-E9711605184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2BD45EC-FD94-5156-7917-A1853700C66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572F736D-EF62-2E6E-B4CC-9D442B4A2E1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Taittinger (2.2%) | Up &amp; Down Pricing | NICOLAS | Assumes no other are changing prices</a:t>
            </a:r>
          </a:p>
        </p:txBody>
      </p:sp>
      <p:sp>
        <p:nvSpPr>
          <p:cNvPr id="4" name="Title1">
            <a:extLst>
              <a:ext uri="{FF2B5EF4-FFF2-40B4-BE49-F238E27FC236}">
                <a16:creationId xmlns:a16="http://schemas.microsoft.com/office/drawing/2014/main" id="{8DF87BDA-68A2-1041-7D37-40E5C5E4C30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7FC4C6A-6EB9-3FC8-F3F0-65FCB7997A8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660E04F-E8C1-0E02-4318-7F3F7761605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E9B3951-5F2D-9734-051C-16D189321BE9}"/>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FD19D513-0278-419B-A5DC-F23A1AB3DEEE}"/>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5265838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780BA-3EBD-840C-24C5-E896B30D6F0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F12B891-280B-7DAD-D913-A3B28088E11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4F67D72-B4A9-9510-60B4-0A0E3833255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0A8300D-7759-833E-63D3-6B355DDC2FF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11415E4-2626-D8F2-60EE-14FA1B53495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86CDEFD-E096-7E74-2A5C-CDD864BBBFE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14.4%) | Up &amp; Down Pricing | NICOLAS | Assumes no other are changing prices</a:t>
            </a:r>
          </a:p>
        </p:txBody>
      </p:sp>
      <p:sp>
        <p:nvSpPr>
          <p:cNvPr id="4" name="Title1">
            <a:extLst>
              <a:ext uri="{FF2B5EF4-FFF2-40B4-BE49-F238E27FC236}">
                <a16:creationId xmlns:a16="http://schemas.microsoft.com/office/drawing/2014/main" id="{7C721A21-7A0F-94EB-2246-3437018F619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F462A56-45DC-DA56-EC31-AC215127833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71056DB-6081-39A5-A2F1-0DBA194D884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6B82162-EDE4-0B7D-7705-3C210C8B23BE}"/>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0FE51547-B67A-71A4-ECFC-31A3263021FB}"/>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7389144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D7123-EA5C-6A6F-7AFC-28C01CD5E1D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C350D19-63E3-A56C-FC32-D280650EB8AD}"/>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58B747E-DF9E-3AA0-FD9B-C4038245611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F7F129F-BD36-B69F-58D5-5F9BF956A44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565F3D8-2D34-9BD7-7B84-AAEC2C4BD9D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1E7D1F4-375F-B06A-7B2F-971F6825C18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sselle (1.0%) | Up &amp; Down Pricing | NICOLAS | Assumes no other are changing prices</a:t>
            </a:r>
          </a:p>
        </p:txBody>
      </p:sp>
      <p:sp>
        <p:nvSpPr>
          <p:cNvPr id="4" name="Title1">
            <a:extLst>
              <a:ext uri="{FF2B5EF4-FFF2-40B4-BE49-F238E27FC236}">
                <a16:creationId xmlns:a16="http://schemas.microsoft.com/office/drawing/2014/main" id="{B11516E3-8AEC-2C0A-F32E-E61CF29605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BB3177E-C0C7-17A6-94C9-B05F65CA4D6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89A68C2-5A4F-BDD9-1A7D-26C5F404712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E4B913E-C66B-BBEB-534B-AC57ABA67BEB}"/>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E0EEB89C-0D01-5702-1FDE-173ED3892FBA}"/>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6430550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E4159-B353-9076-CECB-16633E5A267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D54704F-77EF-F8A2-2AAA-EB36DA1B3AEC}"/>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B58769F-65E9-8D42-8872-062AEAD729B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B76B26F-95B0-8E94-E57A-C4BA18699C0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5024B63-9EC7-3005-8F77-B422FA05D3E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9658BFF-5C57-D7FC-9880-41E9D454133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Clicquot (1.7%) | Up &amp; Down Pricing | NICOLAS | Assumes no other are changing prices</a:t>
            </a:r>
          </a:p>
        </p:txBody>
      </p:sp>
      <p:sp>
        <p:nvSpPr>
          <p:cNvPr id="4" name="Title1">
            <a:extLst>
              <a:ext uri="{FF2B5EF4-FFF2-40B4-BE49-F238E27FC236}">
                <a16:creationId xmlns:a16="http://schemas.microsoft.com/office/drawing/2014/main" id="{1C3C4576-A381-5A33-18B9-BCB21466F7F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2A4420D-8538-60D0-2680-A8418B57A744}"/>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6CB3555-2BA7-A86E-093F-92B9B19FFB0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23709AA-98EE-0973-C63D-2C42DD945041}"/>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3A17C92D-437D-66E5-4939-F90ACE160B87}"/>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1778044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5B3FB-8CE0-7A63-A2B7-C495CF042A9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BC89201-2895-2F89-ABDA-D2C3076C96BA}"/>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D7295EB-6EA4-9DBB-9885-EDF21F96F89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52E0FA6-86B6-AF06-A376-0CA0E9C34CA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AEC0908-D933-46D8-36E9-2365998D691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0930280-2CC6-DA9A-94CD-F13780486B1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du Vernay (0.7%) | Up &amp; Down Pricing | NICOLAS | Assumes no other are changing prices</a:t>
            </a:r>
          </a:p>
        </p:txBody>
      </p:sp>
      <p:sp>
        <p:nvSpPr>
          <p:cNvPr id="4" name="Title1">
            <a:extLst>
              <a:ext uri="{FF2B5EF4-FFF2-40B4-BE49-F238E27FC236}">
                <a16:creationId xmlns:a16="http://schemas.microsoft.com/office/drawing/2014/main" id="{C36E9DD6-1679-9698-B6FC-7CB66F92A24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AF8B6A3-DDD4-7C18-74AF-FE76D9DD488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0681096-BAA0-FAC2-BFFB-15778B3B5CD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447582B-95FE-FED1-954E-CD5C02F4E073}"/>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2C1CF532-711E-4835-5BB6-5B8DAF134C66}"/>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3568855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E7EA4-ED4B-D2C3-9A57-5D73DB64762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D04261B-D7DF-A12D-D01B-B9B735F23F3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953B85-9662-FFDD-8413-F5EB505627B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774742F-7BE7-786F-A56F-A9BB0CEA364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CE520CE-E9BA-652E-185E-4F41F91B3E1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827012C-ABCB-1F8D-59A7-82C01351242A}"/>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Wolfberger (0.0%) | Up &amp; Down Pricing | NICOLAS | Assumes no other are changing prices</a:t>
            </a:r>
          </a:p>
        </p:txBody>
      </p:sp>
      <p:sp>
        <p:nvSpPr>
          <p:cNvPr id="4" name="Title1">
            <a:extLst>
              <a:ext uri="{FF2B5EF4-FFF2-40B4-BE49-F238E27FC236}">
                <a16:creationId xmlns:a16="http://schemas.microsoft.com/office/drawing/2014/main" id="{15574A51-3A29-0942-CCD2-8EDAA42592B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1B9F0C5-398D-C330-ED8D-627579366E9C}"/>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3D4D021-857F-49A2-6D09-61ED691D08D5}"/>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51ACAF1-5FEF-18E9-DBF6-6B13455E0650}"/>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D05B98F7-961B-F296-02D4-F6B84686A75F}"/>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9198653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3262E-AF33-1380-A2F8-14E31093C35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A6362D-B5BF-9A13-5E16-B9C2A71383D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7D803D3-F26B-6CD5-2380-624805E1001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87237B73-784A-203A-B710-DDB79F22D73E}"/>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 Price Elasticity | NICOLAS | Assumes no other products are changing prices</a:t>
            </a:r>
          </a:p>
        </p:txBody>
      </p:sp>
      <p:sp>
        <p:nvSpPr>
          <p:cNvPr id="18" name="Title 17">
            <a:extLst>
              <a:ext uri="{FF2B5EF4-FFF2-40B4-BE49-F238E27FC236}">
                <a16:creationId xmlns:a16="http://schemas.microsoft.com/office/drawing/2014/main" id="{31BFA98E-9C59-E70C-92A7-C4668DDA8A6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1837758-BD55-7B8D-3D5A-48BB3732C6D0}"/>
              </a:ext>
            </a:extLst>
          </p:cNvPr>
          <p:cNvGraphicFramePr>
            <a:graphicFrameLocks/>
          </p:cNvGraphicFramePr>
          <p:nvPr/>
        </p:nvGraphicFramePr>
        <p:xfrm>
          <a:off x="4579258" y="1141495"/>
          <a:ext cx="4057904" cy="153641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1ère Cuvé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1èr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Nicolas Blanc de Blancs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AA11D9A-3930-E05E-5A0E-3F429186348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479BC2B-2DED-3509-CA62-46A22FC76E35}"/>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C416255B-B2CE-D3DA-DEF3-0414D2268185}"/>
              </a:ext>
            </a:extLst>
          </p:cNvPr>
          <p:cNvSpPr>
            <a:spLocks noGrp="1"/>
          </p:cNvSpPr>
          <p:nvPr>
            <p:ph type="sldNum" sz="quarter" idx="16"/>
          </p:nvPr>
        </p:nvSpPr>
        <p:spPr/>
        <p:txBody>
          <a:bodyPr/>
          <a:lstStyle/>
          <a:p>
            <a:fld id="{7B1F438D-4EAF-094E-9162-80CF3EF77236}" type="slidenum">
              <a:rPr lang="en-US" smtClean="0"/>
              <a:pPr/>
              <a:t>54</a:t>
            </a:fld>
            <a:endParaRPr lang="en-US"/>
          </a:p>
        </p:txBody>
      </p:sp>
      <p:sp>
        <p:nvSpPr>
          <p:cNvPr id="3" name="TextBox Y">
            <a:extLst>
              <a:ext uri="{FF2B5EF4-FFF2-40B4-BE49-F238E27FC236}">
                <a16:creationId xmlns:a16="http://schemas.microsoft.com/office/drawing/2014/main" id="{BB020E9F-78EC-EAD7-C795-9BD1A14B815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966387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28888-C7BD-3737-8CAA-409987BE065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F883CDB-9282-C096-98D9-73FF4450BCF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7F970EA-FE1F-434E-3521-C3136ADBE3D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E356B968-242D-BCBD-E4EE-DC300FBDEFB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375ml | NICOLAS | Assuming no other products are changing prices</a:t>
            </a:r>
          </a:p>
        </p:txBody>
      </p:sp>
      <p:sp>
        <p:nvSpPr>
          <p:cNvPr id="10" name="Title 9">
            <a:extLst>
              <a:ext uri="{FF2B5EF4-FFF2-40B4-BE49-F238E27FC236}">
                <a16:creationId xmlns:a16="http://schemas.microsoft.com/office/drawing/2014/main" id="{D05DF4BC-2D55-8554-BBB2-13BB73CC67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6F6EDFA-FDF3-4ED9-4CAD-0BFE77009B0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F7B1855-6B67-6E82-D4BA-31025864FBD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D28876-2342-2EDE-2932-945545C2941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9D0C734-7310-BEBE-9763-A98142E67BF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098C953-845D-2221-6590-13BC3A73B34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C549937A-19B9-8CFA-CCFA-29BD5E543C5D}"/>
              </a:ext>
            </a:extLst>
          </p:cNvPr>
          <p:cNvSpPr>
            <a:spLocks noGrp="1"/>
          </p:cNvSpPr>
          <p:nvPr>
            <p:ph type="sldNum" sz="quarter" idx="16"/>
          </p:nvPr>
        </p:nvSpPr>
        <p:spPr/>
        <p:txBody>
          <a:bodyPr/>
          <a:lstStyle/>
          <a:p>
            <a:fld id="{7B1F438D-4EAF-094E-9162-80CF3EF77236}" type="slidenum">
              <a:rPr lang="en-US" smtClean="0"/>
              <a:pPr/>
              <a:t>55</a:t>
            </a:fld>
            <a:endParaRPr lang="en-US"/>
          </a:p>
        </p:txBody>
      </p:sp>
      <p:sp>
        <p:nvSpPr>
          <p:cNvPr id="22" name="Rectangle 21">
            <a:extLst>
              <a:ext uri="{FF2B5EF4-FFF2-40B4-BE49-F238E27FC236}">
                <a16:creationId xmlns:a16="http://schemas.microsoft.com/office/drawing/2014/main" id="{5CE06719-CB5A-5DFC-1F00-FEA86D6015C7}"/>
              </a:ext>
            </a:extLst>
          </p:cNvPr>
          <p:cNvSpPr/>
          <p:nvPr/>
        </p:nvSpPr>
        <p:spPr>
          <a:xfrm>
            <a:off x="972000" y="1458000"/>
            <a:ext cx="4634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488986F-B036-CB28-DEEC-260A8F2A0C14}"/>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618110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D9AF3-CF4B-F767-1909-252D0CA286F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3FC39AE-371D-BE24-1D66-CD5BA748D13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F059305-0B98-FC1A-172C-5301016C89B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CB7E4AA-AFA4-5279-C1C8-2D4FBDEA1E3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1553EBC-D432-7AD7-24A5-DFB0EC5C672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89A4469-0067-DD96-E2F7-9193001BB1E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375ml (0.1%) | Up &amp; Down Pricing | NICOLAS | Assumes no other are changing prices</a:t>
            </a:r>
          </a:p>
        </p:txBody>
      </p:sp>
      <p:sp>
        <p:nvSpPr>
          <p:cNvPr id="4" name="Title1">
            <a:extLst>
              <a:ext uri="{FF2B5EF4-FFF2-40B4-BE49-F238E27FC236}">
                <a16:creationId xmlns:a16="http://schemas.microsoft.com/office/drawing/2014/main" id="{7DF26C41-93BB-5903-3D2D-9BE6A831A34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B5BAB8F-045C-6069-A239-272CACF064C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BC4E6DB-C653-E36E-416A-77932078F39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740E5A6-4544-22C8-9D9D-CB0DB28FEBF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AF79B1E-9D38-3BC9-F88F-D94A1EEB584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BD3EA30-4A85-866A-B7A8-D8CF5731510D}"/>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0743984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4304A-A6BB-E26F-17C6-06F97499303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9D1EA76-1DE0-F43E-5D34-B168225E736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FBD1A6D-055E-9282-7D75-F639F1BE3A8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BA9D9631-92C8-6B83-39D8-1567A4C4E81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750ml | NICOLAS | Assuming no other products are changing prices</a:t>
            </a:r>
          </a:p>
        </p:txBody>
      </p:sp>
      <p:sp>
        <p:nvSpPr>
          <p:cNvPr id="10" name="Title 9">
            <a:extLst>
              <a:ext uri="{FF2B5EF4-FFF2-40B4-BE49-F238E27FC236}">
                <a16:creationId xmlns:a16="http://schemas.microsoft.com/office/drawing/2014/main" id="{6E9D4C89-C332-C417-BF6D-D7405E519ED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5B719E4-5E84-A3DC-3DE1-A68F8C5AE57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762A894-6442-9ADB-939E-AE3B0206E6B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D0530D-843E-810E-A62D-28314CA9332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8F14E09-CE70-145D-DC15-DDC58DA32E6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32C11B3-ACFE-841E-0820-C5EB082F1EE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DC3AECE-4067-4E38-9A55-C2BE0E33EB52}"/>
              </a:ext>
            </a:extLst>
          </p:cNvPr>
          <p:cNvSpPr>
            <a:spLocks noGrp="1"/>
          </p:cNvSpPr>
          <p:nvPr>
            <p:ph type="sldNum" sz="quarter" idx="16"/>
          </p:nvPr>
        </p:nvSpPr>
        <p:spPr/>
        <p:txBody>
          <a:bodyPr/>
          <a:lstStyle/>
          <a:p>
            <a:fld id="{7B1F438D-4EAF-094E-9162-80CF3EF77236}" type="slidenum">
              <a:rPr lang="en-US" smtClean="0"/>
              <a:pPr/>
              <a:t>57</a:t>
            </a:fld>
            <a:endParaRPr lang="en-US"/>
          </a:p>
        </p:txBody>
      </p:sp>
      <p:sp>
        <p:nvSpPr>
          <p:cNvPr id="22" name="Rectangle 21">
            <a:extLst>
              <a:ext uri="{FF2B5EF4-FFF2-40B4-BE49-F238E27FC236}">
                <a16:creationId xmlns:a16="http://schemas.microsoft.com/office/drawing/2014/main" id="{2C535F9D-F8A0-177E-B214-AD3C236D0CA7}"/>
              </a:ext>
            </a:extLst>
          </p:cNvPr>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9F5FDC7-33BC-4112-0170-160D3E9EF6F5}"/>
              </a:ext>
            </a:extLst>
          </p:cNvPr>
          <p:cNvSpPr/>
          <p:nvPr/>
        </p:nvSpPr>
        <p:spPr>
          <a:xfrm>
            <a:off x="15372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C6326022-9EC2-456E-CACE-7A61C291903E}"/>
              </a:ext>
            </a:extLst>
          </p:cNvPr>
          <p:cNvSpPr/>
          <p:nvPr/>
        </p:nvSpPr>
        <p:spPr>
          <a:xfrm>
            <a:off x="40806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485F95AA-EC57-4691-D1E6-CC77C903388E}"/>
              </a:ext>
            </a:extLst>
          </p:cNvPr>
          <p:cNvSpPr/>
          <p:nvPr/>
        </p:nvSpPr>
        <p:spPr>
          <a:xfrm>
            <a:off x="430668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185343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D6C82-03D5-4473-1950-F3AE4E13E1E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4F05DB5-34D6-9FB5-325E-4D095B1EFCB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8FD5156-6619-A0BE-5B51-FF9E2C3E9A2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6D39F56-57B0-F9D5-40A1-CBC9A22EB0A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D63756B-FF1F-D6F4-9991-DD412EBDC1E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B4E70E36-0F28-623E-269E-2266BA15396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750ml (0.5%) | Up &amp; Down Pricing | NICOLAS | Assumes no other are changing prices</a:t>
            </a:r>
          </a:p>
        </p:txBody>
      </p:sp>
      <p:sp>
        <p:nvSpPr>
          <p:cNvPr id="4" name="Title1">
            <a:extLst>
              <a:ext uri="{FF2B5EF4-FFF2-40B4-BE49-F238E27FC236}">
                <a16:creationId xmlns:a16="http://schemas.microsoft.com/office/drawing/2014/main" id="{D09CCD8F-3AC4-33AA-A5ED-F4A582056F8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8847427-F928-DDB1-1389-EFA8E8912C5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B1B6ACF-624D-5E04-AD4E-D586FF2317F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60DA4CF-F723-9F93-1CAA-6564B5B1A04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BDB6FB1-D3DB-63D1-2105-A13C4516AFE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CA1FD39E-507F-4DA9-E464-900BC40EB988}"/>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894793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025113-1757-013D-A926-C2D4FB09B97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B1A0807-60FB-E7FB-25F2-B5EB45FDE2C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5E1EAB8-7E7B-9ED9-5CCF-DBF8E798A3D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9A2266C-D6DC-0C92-FC09-0DAB89E5ECE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375ml | NICOLAS | Assuming no other products are changing prices</a:t>
            </a:r>
          </a:p>
        </p:txBody>
      </p:sp>
      <p:sp>
        <p:nvSpPr>
          <p:cNvPr id="10" name="Title 9">
            <a:extLst>
              <a:ext uri="{FF2B5EF4-FFF2-40B4-BE49-F238E27FC236}">
                <a16:creationId xmlns:a16="http://schemas.microsoft.com/office/drawing/2014/main" id="{7BF7EBC2-52AC-ED3B-1CE8-01F346AA20F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6CCA315-BD9E-A86D-229B-E4F2155D4F8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AD50BCA-8E2F-493F-ECCF-2AC3EF26E4B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7252D76-3CF7-0841-6702-0685436AB15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2DC37C1-E90E-B8FB-DFAC-EC96338FEF3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C9C5612-DF0E-C506-16BF-2DF003F8AF1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D8EAD31-8F86-F21E-6F9A-067BAE4528E1}"/>
              </a:ext>
            </a:extLst>
          </p:cNvPr>
          <p:cNvSpPr>
            <a:spLocks noGrp="1"/>
          </p:cNvSpPr>
          <p:nvPr>
            <p:ph type="sldNum" sz="quarter" idx="16"/>
          </p:nvPr>
        </p:nvSpPr>
        <p:spPr/>
        <p:txBody>
          <a:bodyPr/>
          <a:lstStyle/>
          <a:p>
            <a:fld id="{7B1F438D-4EAF-094E-9162-80CF3EF77236}" type="slidenum">
              <a:rPr lang="en-US" smtClean="0"/>
              <a:pPr/>
              <a:t>59</a:t>
            </a:fld>
            <a:endParaRPr lang="en-US"/>
          </a:p>
        </p:txBody>
      </p:sp>
      <p:sp>
        <p:nvSpPr>
          <p:cNvPr id="22" name="Rectangle 21">
            <a:extLst>
              <a:ext uri="{FF2B5EF4-FFF2-40B4-BE49-F238E27FC236}">
                <a16:creationId xmlns:a16="http://schemas.microsoft.com/office/drawing/2014/main" id="{9C139EE6-E519-E76F-32CF-26F86A6954A0}"/>
              </a:ext>
            </a:extLst>
          </p:cNvPr>
          <p:cNvSpPr/>
          <p:nvPr/>
        </p:nvSpPr>
        <p:spPr>
          <a:xfrm>
            <a:off x="97200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F0FA80BB-1FCB-9C4F-54C6-04A3F557436D}"/>
              </a:ext>
            </a:extLst>
          </p:cNvPr>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11929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9A6DC-04C7-79A9-570B-16969046851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9AA41D9-90A1-8A16-6D7D-BA092262EE41}"/>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32AF876-420C-31AB-6911-B3419CBC8E2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6C7A205-1F5C-AA97-A370-3C8390A992F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431E7E6-90C9-CDB3-2A68-13D8591F513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5E03DDE-8EFA-A2E4-C48A-E65891070557}"/>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yala (1.7%) | Up &amp; Down Pricing | NICOLAS | Assumes no other are changing prices</a:t>
            </a:r>
          </a:p>
        </p:txBody>
      </p:sp>
      <p:sp>
        <p:nvSpPr>
          <p:cNvPr id="4" name="Title1">
            <a:extLst>
              <a:ext uri="{FF2B5EF4-FFF2-40B4-BE49-F238E27FC236}">
                <a16:creationId xmlns:a16="http://schemas.microsoft.com/office/drawing/2014/main" id="{4AEE05D7-A5B4-4AB1-C79A-475E62308A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304B6E1-BAF3-C724-9042-4B525B28341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4B3082C-0ABC-C6F4-6A36-AEA334999C4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91FB15D-2645-A1C5-7DB3-440DDB17699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1E0A872-5A41-870C-4D30-1FDD333B33C1}"/>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7522098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B226A-7680-C203-07B2-CB2A908C678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93DEF1B-1BD9-B264-30D6-05AF0488401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FB46BAE-F1F3-19D2-5EB1-AD0C5D38A8C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09FF71D-32F2-592C-D514-4811F69C9A1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D76B170-6CF6-A03E-B00B-9686D61EA80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FEF3A7A-70A5-3A8B-AF13-BE40DFE44FC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375ml (0.1%) | Up &amp; Down Pricing | NICOLAS | Assumes no other are changing prices</a:t>
            </a:r>
          </a:p>
        </p:txBody>
      </p:sp>
      <p:sp>
        <p:nvSpPr>
          <p:cNvPr id="4" name="Title1">
            <a:extLst>
              <a:ext uri="{FF2B5EF4-FFF2-40B4-BE49-F238E27FC236}">
                <a16:creationId xmlns:a16="http://schemas.microsoft.com/office/drawing/2014/main" id="{9E25B8F2-2DFF-AF8B-4476-88D64416307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C897D2E-5074-4991-3146-1CD298C1CE1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9E8DE42-66EB-6D19-206E-83243008DB4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5E451F6-C52F-102F-5993-CB59E785E35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C897B24-30BB-001E-CAAC-DD93671DB3BA}"/>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600B29B8-785B-AF78-78E4-3F8DC449B9D9}"/>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1456909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1F10D-B026-5AB2-5912-88416B11CED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0469880-37EF-3DEA-F92A-9E5CE293948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426774F-7A8C-8A26-FAC1-AC458C620BD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8F91119-B14A-5759-0CBF-02B5AF7AA54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750ml | NICOLAS | Assuming no other products are changing prices</a:t>
            </a:r>
          </a:p>
        </p:txBody>
      </p:sp>
      <p:sp>
        <p:nvSpPr>
          <p:cNvPr id="10" name="Title 9">
            <a:extLst>
              <a:ext uri="{FF2B5EF4-FFF2-40B4-BE49-F238E27FC236}">
                <a16:creationId xmlns:a16="http://schemas.microsoft.com/office/drawing/2014/main" id="{EF1EA164-9F4A-E928-F1A1-31884032BEB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BAEF940-5DB2-1DB8-BBAD-421D9CC8705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63508C9-6BCA-4FBB-026D-E03157856E6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08B34E9-801D-0FC7-4CB2-2C8D007298D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5D0EA3D-BA3A-53A6-D292-E634EE020D3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E4AAF68-1A38-D192-4A2C-F90FB9F6390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743FF469-CD07-602B-CD87-58A1356565BF}"/>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22" name="Rectangle 21">
            <a:extLst>
              <a:ext uri="{FF2B5EF4-FFF2-40B4-BE49-F238E27FC236}">
                <a16:creationId xmlns:a16="http://schemas.microsoft.com/office/drawing/2014/main" id="{15C3D64A-872C-4A1E-EBF0-6DFA1AFB943E}"/>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FBFE877-4BBA-3D77-9DF3-68EFA24E0685}"/>
              </a:ext>
            </a:extLst>
          </p:cNvPr>
          <p:cNvSpPr/>
          <p:nvPr/>
        </p:nvSpPr>
        <p:spPr>
          <a:xfrm>
            <a:off x="204588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18C73BFA-FF8D-2C8C-EDD4-6DCB7059DDC1}"/>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605950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400616-AE94-AB03-C147-50E50CC3367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F8FCDA0-67C3-615F-FAC2-0D974C35A7D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3EB0707-7171-3A6C-5BBD-E376082E2D3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B11ED5C-DA83-DF5C-85BC-98FA3915EFD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B520115-972B-4B3E-118E-BA0E69F61B6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CE62CE2-167E-99AE-EB7B-FF693E8F1E2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750ml (0.8%) | Up &amp; Down Pricing | NICOLAS | Assumes no other are changing prices</a:t>
            </a:r>
          </a:p>
        </p:txBody>
      </p:sp>
      <p:sp>
        <p:nvSpPr>
          <p:cNvPr id="4" name="Title1">
            <a:extLst>
              <a:ext uri="{FF2B5EF4-FFF2-40B4-BE49-F238E27FC236}">
                <a16:creationId xmlns:a16="http://schemas.microsoft.com/office/drawing/2014/main" id="{BBCA908A-0C5F-77A1-D972-778F1996B05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64798D2-CC59-C57A-FC47-DB30DBE9462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56C4E88-099C-770D-7A6D-D64BE338400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67316CE-DAC2-1AF1-301E-D7C0005DAE5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15931C6-8DC8-0179-CC98-B749FDD284FF}"/>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06E573B-1239-DE8A-4922-F18C990F773A}"/>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9143219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30E6C-299B-33DE-3533-738FE122700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EA4B005-8B9A-1297-3D38-4B98A6342B7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D1043D-6E81-C093-0D9F-19148B42874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CD16C08D-C655-3231-A8C1-510FD801624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1500ml | NICOLAS | Assuming no other products are changing prices</a:t>
            </a:r>
          </a:p>
        </p:txBody>
      </p:sp>
      <p:sp>
        <p:nvSpPr>
          <p:cNvPr id="10" name="Title 9">
            <a:extLst>
              <a:ext uri="{FF2B5EF4-FFF2-40B4-BE49-F238E27FC236}">
                <a16:creationId xmlns:a16="http://schemas.microsoft.com/office/drawing/2014/main" id="{216A5E47-71FF-5257-594F-5522F3E853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414AF65-4FBF-9592-6868-5109CE487BE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0D1E280-2F9B-F763-8559-F9F2B04CB98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5827E2F-2932-9C90-ADBF-F42ADA41D6F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BD583F3-72C3-49BC-AD67-F0655E54034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5F75AF0-235A-F412-AA36-8B2FE841F6CB}"/>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0E9322C5-2CCB-8144-B9CD-64942D39CAF9}"/>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22" name="Rectangle 21">
            <a:extLst>
              <a:ext uri="{FF2B5EF4-FFF2-40B4-BE49-F238E27FC236}">
                <a16:creationId xmlns:a16="http://schemas.microsoft.com/office/drawing/2014/main" id="{60F1FE29-6BE9-E1DD-13EC-7C4E8C63E8A5}"/>
              </a:ext>
            </a:extLst>
          </p:cNvPr>
          <p:cNvSpPr/>
          <p:nvPr/>
        </p:nvSpPr>
        <p:spPr>
          <a:xfrm>
            <a:off x="9720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361DF9D-8951-49E2-2915-F814EF7067A8}"/>
              </a:ext>
            </a:extLst>
          </p:cNvPr>
          <p:cNvSpPr/>
          <p:nvPr/>
        </p:nvSpPr>
        <p:spPr>
          <a:xfrm>
            <a:off x="21024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ABB43630-2EE5-AA08-0F5D-245C1B84CFFD}"/>
              </a:ext>
            </a:extLst>
          </p:cNvPr>
          <p:cNvSpPr/>
          <p:nvPr/>
        </p:nvSpPr>
        <p:spPr>
          <a:xfrm>
            <a:off x="475884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025121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99AC2-B4DC-4579-C0F6-F5E7F4D6E29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23D82BA-3CDA-C3EC-4F5C-2CF8763975A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682B46-1868-B459-18EB-91EEFA1784C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5185E06-17C5-5B81-5C51-FB49EF49795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A03A7F1-6DC9-730B-2681-1196BDA6685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670ACB0B-126D-63F6-2475-2AEE7AC79DC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1500ml (0.1%) | Up &amp; Down Pricing | NICOLAS | Assumes no other are changing prices</a:t>
            </a:r>
          </a:p>
        </p:txBody>
      </p:sp>
      <p:sp>
        <p:nvSpPr>
          <p:cNvPr id="4" name="Title1">
            <a:extLst>
              <a:ext uri="{FF2B5EF4-FFF2-40B4-BE49-F238E27FC236}">
                <a16:creationId xmlns:a16="http://schemas.microsoft.com/office/drawing/2014/main" id="{211DDDFF-0CAE-0ACB-2E27-45EE9B9209F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091DD45-D880-B414-C665-893A34AE2B7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B54EDEE-10A8-4A74-967E-BACA62F2659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2628828-0C50-743F-FAC8-142F2CF71A5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DB90117-A669-E71F-AB0C-F4C70DF00715}"/>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0CD08DE0-DC6D-A39D-561D-4682A80A1C0A}"/>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629428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E8058-219E-FE13-BACD-CB3C6AA21D8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1499078-A3CD-BCBC-915C-E6C7F8C2626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DFE1FBF-6875-7694-C20E-C156214E347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1A3CE9CE-D544-B8D6-0454-BAF4C6BAE616}"/>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Inno | Price Elasticity | NICOLAS | Assumes no other products are changing prices</a:t>
            </a:r>
          </a:p>
        </p:txBody>
      </p:sp>
      <p:sp>
        <p:nvSpPr>
          <p:cNvPr id="18" name="Title 17">
            <a:extLst>
              <a:ext uri="{FF2B5EF4-FFF2-40B4-BE49-F238E27FC236}">
                <a16:creationId xmlns:a16="http://schemas.microsoft.com/office/drawing/2014/main" id="{87DE5BCC-4D93-323E-0363-CD60C871650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30D75E2-2C49-29EB-D727-858021F28990}"/>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Bulles Blanc de Blancs désalcooli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9770413-D485-0F44-F9A1-48B51A7F692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399BAED-A46B-63CA-FB91-658EFD98DDCE}"/>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398114D-8E40-9508-645F-D75C859351D7}"/>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3FA09EDE-1403-CE27-DACA-FEC8818218F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156053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384B8-2609-3A5F-7925-2DB09CB1425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BA20CF0-B083-4ED5-E96A-09E91C80F33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293A307-BF38-00E0-BB57-A0DB06035CF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51F3ADF-1B3C-0587-029E-7392DA68B5D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ulles Blanc de Blancs désalcoolisé 750ml | NICOLAS | Assuming no other products are changing prices</a:t>
            </a:r>
          </a:p>
        </p:txBody>
      </p:sp>
      <p:sp>
        <p:nvSpPr>
          <p:cNvPr id="10" name="Title 9">
            <a:extLst>
              <a:ext uri="{FF2B5EF4-FFF2-40B4-BE49-F238E27FC236}">
                <a16:creationId xmlns:a16="http://schemas.microsoft.com/office/drawing/2014/main" id="{1C1B5947-DBF4-378C-B05B-575F34C7D86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04C0A0D-E49B-1E1E-7CFD-839F04FF173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82A82AC-4CA1-8829-CEF9-D14B2FA5997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63B78E4-91DA-3D1D-9556-FF67CC06B79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52ACB90-EF51-631D-C231-31B9C4BA3A0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38BB294-D40E-4622-7781-23FB583C225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14F7D6ED-20D7-363D-7140-F2A9AA68B2B0}"/>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22" name="Rectangle 21">
            <a:extLst>
              <a:ext uri="{FF2B5EF4-FFF2-40B4-BE49-F238E27FC236}">
                <a16:creationId xmlns:a16="http://schemas.microsoft.com/office/drawing/2014/main" id="{9F02D57A-775D-0787-2F98-CA1953078F5F}"/>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9059783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9668F-D5EE-D907-EC7A-029CBBAA105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DD58963-52D3-EFF7-3A51-EA28097AC21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E8EE1E9-C79E-2138-167E-A6A0C8E611B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B5B56BB-2072-29E1-45F4-0A1751C6A86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8C8B102-E6FE-2C55-CA68-DC4FE9C1CE3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DEB0447A-A1AA-6988-00D3-26E41D181CB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ulles Blanc de Blancs désalcoolisé 750ml (0.0%) | Up &amp; Down Pricing | NICOLAS | Assumes no other are changing prices</a:t>
            </a:r>
          </a:p>
        </p:txBody>
      </p:sp>
      <p:sp>
        <p:nvSpPr>
          <p:cNvPr id="4" name="Title1">
            <a:extLst>
              <a:ext uri="{FF2B5EF4-FFF2-40B4-BE49-F238E27FC236}">
                <a16:creationId xmlns:a16="http://schemas.microsoft.com/office/drawing/2014/main" id="{908C1326-9450-7C85-3EE9-BDA13707DBD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E607075-1AC6-39EE-5C2A-A957021CB4A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184597F-667B-A96D-07B5-3E826D6EF51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1A13E43-CA41-1E90-960D-C4AABD57671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6E1527E-10DD-039E-9E6B-B1F3284B6AB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51C6F632-42CA-0E67-3895-6FC8E83D1CD6}"/>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5022926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00AABA-D497-DAED-AA10-4D430CD25FB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D636F64-07DA-861F-12FA-267AEF00B2C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68C9927-DFB1-A6FF-04F8-75D896F5E58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E108817C-650E-A93A-6A91-250BE82E178C}"/>
              </a:ext>
            </a:extLst>
          </p:cNvPr>
          <p:cNvSpPr>
            <a:spLocks noGrp="1"/>
          </p:cNvSpPr>
          <p:nvPr>
            <p:ph type="body" sz="quarter" idx="18"/>
          </p:nvPr>
        </p:nvSpPr>
        <p:spPr>
          <a:xfrm>
            <a:off x="503238" y="774000"/>
            <a:ext cx="8136762" cy="360000"/>
          </a:xfrm>
        </p:spPr>
        <p:txBody>
          <a:bodyPr/>
          <a:lstStyle/>
          <a:p>
            <a:pPr>
              <a:defRPr sz="1200">
                <a:latin typeface="Nexa Bold (Headings)"/>
              </a:defRPr>
            </a:pPr>
            <a:r>
              <a:t>E.Nicolas | Price Elasticity | NICOLAS | Assumes no other products are changing prices</a:t>
            </a:r>
          </a:p>
        </p:txBody>
      </p:sp>
      <p:sp>
        <p:nvSpPr>
          <p:cNvPr id="18" name="Title 17">
            <a:extLst>
              <a:ext uri="{FF2B5EF4-FFF2-40B4-BE49-F238E27FC236}">
                <a16:creationId xmlns:a16="http://schemas.microsoft.com/office/drawing/2014/main" id="{50A54EEF-B391-4AFE-B31F-A1DD6678AE0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1E96032-849A-299C-945D-598AF239B185}"/>
              </a:ext>
            </a:extLst>
          </p:cNvPr>
          <p:cNvGraphicFramePr>
            <a:graphicFrameLocks/>
          </p:cNvGraphicFramePr>
          <p:nvPr/>
        </p:nvGraphicFramePr>
        <p:xfrm>
          <a:off x="4579258" y="1141495"/>
          <a:ext cx="4057904" cy="927537"/>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E.Nicolas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E.Nicolas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2005BBA-123E-3411-554D-D8086413B20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66BB4C1-E033-019C-FBB6-0B35845CDB14}"/>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B7B248B7-5DA8-08EB-6635-568D118DF654}"/>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5C6733FB-20B0-FD79-43D2-CD8B2455E2A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33384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5E689-28B7-4BAA-AF9B-391A78D566B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1F81EB4-3397-097F-519C-68DE4A7F271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D872581-DF29-0C18-7B8A-126FD485AF1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E0232B1-BF32-DDFC-7D20-91D0405E93B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750ml | NICOLAS | Assuming no other products are changing prices</a:t>
            </a:r>
          </a:p>
        </p:txBody>
      </p:sp>
      <p:sp>
        <p:nvSpPr>
          <p:cNvPr id="10" name="Title 9">
            <a:extLst>
              <a:ext uri="{FF2B5EF4-FFF2-40B4-BE49-F238E27FC236}">
                <a16:creationId xmlns:a16="http://schemas.microsoft.com/office/drawing/2014/main" id="{CF315F69-AC6A-25F2-DAE9-182D144491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60A4A15-FB3D-0D7A-4FF1-54028923A3F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FF7D71E-037B-D9C9-D932-01EA6C1C152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75C7DBF-1089-4E22-29D0-105B9F70B34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D410D09-B113-7581-7766-164E36F8C14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CF60EB6-F495-3383-A4E1-47FAD5C0174B}"/>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B6748C8-4B9C-9997-FE89-559289E71E88}"/>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22" name="Rectangle 21">
            <a:extLst>
              <a:ext uri="{FF2B5EF4-FFF2-40B4-BE49-F238E27FC236}">
                <a16:creationId xmlns:a16="http://schemas.microsoft.com/office/drawing/2014/main" id="{30D331D0-76F0-471F-3506-63CA025FFA3D}"/>
              </a:ext>
            </a:extLst>
          </p:cNvPr>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B7F3C4E-AE6C-0D0C-00E9-DED5FD248263}"/>
              </a:ext>
            </a:extLst>
          </p:cNvPr>
          <p:cNvSpPr/>
          <p:nvPr/>
        </p:nvSpPr>
        <p:spPr>
          <a:xfrm>
            <a:off x="379800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C59AC8E-3D07-A682-AB48-ADDF957ECE2B}"/>
              </a:ext>
            </a:extLst>
          </p:cNvPr>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616537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9BD7B2-876C-B000-E3E5-A5786F4DB08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EA392DB-D19F-8E41-9EB2-7452BA203E03}"/>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2692E97-8097-B9B2-46D3-7559EB7E1D49}"/>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8485CA2-5483-283C-603A-0AF217D7E3E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87822AF-004A-A02A-2BDF-495C2DB3CF5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46651A6-0FC7-3C48-D3BD-62C0D6599C1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sserat De Bellefon (2.0%) | Up &amp; Down Pricing | NICOLAS | Assumes no other are changing prices</a:t>
            </a:r>
          </a:p>
        </p:txBody>
      </p:sp>
      <p:sp>
        <p:nvSpPr>
          <p:cNvPr id="4" name="Title1">
            <a:extLst>
              <a:ext uri="{FF2B5EF4-FFF2-40B4-BE49-F238E27FC236}">
                <a16:creationId xmlns:a16="http://schemas.microsoft.com/office/drawing/2014/main" id="{0911CBF3-3F21-077C-FF1F-D7DFAB9497A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ABA3803-3D9F-C045-E3B0-9A745738A69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6251F46-3797-FACA-5F42-82BD341DE26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44864DE-4904-A824-151D-2610CF6AE2B9}"/>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BD259FC3-80FC-923A-FF89-7D99EFCC1ABD}"/>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3206869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84C18-B9BB-4A1C-ACF0-B739575471C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4207D5E-0634-7893-5437-36B5F051B80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9644051-9BEC-2394-A25D-9B9BDD73DF8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167ADA7-C2A3-B319-E0B6-544D688AAE1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9F9E0B7-7997-6BF5-3466-3ED661D534A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B036BA1-69C7-C12C-799C-62809004078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750ml (11.6%) | Up &amp; Down Pricing | NICOLAS | Assumes no other are changing prices</a:t>
            </a:r>
          </a:p>
        </p:txBody>
      </p:sp>
      <p:sp>
        <p:nvSpPr>
          <p:cNvPr id="4" name="Title1">
            <a:extLst>
              <a:ext uri="{FF2B5EF4-FFF2-40B4-BE49-F238E27FC236}">
                <a16:creationId xmlns:a16="http://schemas.microsoft.com/office/drawing/2014/main" id="{1323894B-05D5-DBFE-53C7-43A738DE701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2473334-0FFB-2227-3F32-EC574661007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5E63FD5-13B3-4898-5496-DD1C923E7C1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0EA2A58-F479-327D-2A19-265B677E179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531532C-FAC3-7C94-A2EE-26A1348B508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C55D0C04-B22D-8FDF-3C9E-A7EEB621B7B4}"/>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12948499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DC2EF-2F7D-4A7F-4042-ED5DDA2B376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E1D0ED6-90A8-B47D-D417-E57B4DC31EC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EAE697B-AC34-AC8E-0168-00AE4BBA0DE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996601B-0320-8968-FDB3-403A6618677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1500ml | NICOLAS | Assuming no other products are changing prices</a:t>
            </a:r>
          </a:p>
        </p:txBody>
      </p:sp>
      <p:sp>
        <p:nvSpPr>
          <p:cNvPr id="10" name="Title 9">
            <a:extLst>
              <a:ext uri="{FF2B5EF4-FFF2-40B4-BE49-F238E27FC236}">
                <a16:creationId xmlns:a16="http://schemas.microsoft.com/office/drawing/2014/main" id="{77147826-4D45-2313-554C-E6587FD15E2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55A5C34-F6DA-F0D1-8306-F6147EE7AE3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F78A6A9-17D3-E590-0486-5792EF4FEBC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F704667-7FBB-CE25-89FE-0BD91D8EBE7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564C426-1B97-BF3F-F946-9153786FFCF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CA24CC1-C2DD-7A3A-F72B-1C8826771352}"/>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353E693-9BAE-FD4F-AFFF-1F0AAE2CE43C}"/>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22" name="Rectangle 21">
            <a:extLst>
              <a:ext uri="{FF2B5EF4-FFF2-40B4-BE49-F238E27FC236}">
                <a16:creationId xmlns:a16="http://schemas.microsoft.com/office/drawing/2014/main" id="{23F0AA72-F9A2-9126-CE47-E104ECE9F64B}"/>
              </a:ext>
            </a:extLst>
          </p:cNvPr>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44E5124-7ED9-BFA4-F558-7D61F1D31972}"/>
              </a:ext>
            </a:extLst>
          </p:cNvPr>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716383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108A5-8F2A-11F9-55B9-96CF683C667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6567E85-53A0-985A-057E-FD9735A0435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25DFA9E-8717-E16E-1C6A-C2ECE61C7CE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6BCDB28-C0A5-A954-A0EA-C71C1CA700F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AC96092-21F6-82BF-ABB8-66AA1F8E8A7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22A1D95-95BE-25EB-390E-3734F70855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1500ml (0.3%) | Up &amp; Down Pricing | NICOLAS | Assumes no other are changing prices</a:t>
            </a:r>
          </a:p>
        </p:txBody>
      </p:sp>
      <p:sp>
        <p:nvSpPr>
          <p:cNvPr id="4" name="Title1">
            <a:extLst>
              <a:ext uri="{FF2B5EF4-FFF2-40B4-BE49-F238E27FC236}">
                <a16:creationId xmlns:a16="http://schemas.microsoft.com/office/drawing/2014/main" id="{74880344-9766-13EE-DEA6-51CFC58CA7B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296C140-D051-FFF3-AA42-1971FAE3C9A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953AF1D-5DC9-0067-8041-745545DDE64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8D878C6-BE0D-A976-E894-75C8565E5EE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0BF744E-BE30-F7D7-6EA8-785A9E938C7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94DF6F88-C3C6-BBFF-A3FB-BA8B2AA0321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8112541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EE39D-954A-120D-B86E-618966AC9F0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2042DFE-4055-D066-A231-286894AC804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8654F58-548C-9AD9-5730-BC48CEDB3655}"/>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CB0FCA37-7892-0369-42F0-2E73F780AC0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Rosé 750ml | NICOLAS | Assuming no other products are changing prices</a:t>
            </a:r>
          </a:p>
        </p:txBody>
      </p:sp>
      <p:sp>
        <p:nvSpPr>
          <p:cNvPr id="10" name="Title 9">
            <a:extLst>
              <a:ext uri="{FF2B5EF4-FFF2-40B4-BE49-F238E27FC236}">
                <a16:creationId xmlns:a16="http://schemas.microsoft.com/office/drawing/2014/main" id="{632942CB-976B-1149-4A0D-281BE734712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3A99AA5-5523-D085-5FA3-4F9785FDEAD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B10FA0E-6094-CF50-061D-6DD7AE6C9DE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77574D6-41B9-9DE5-378F-EE435A3695A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366069D-F581-5B48-CE7D-89236F14457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369761B-E451-2D32-0FBD-57C1117ACF38}"/>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CBA2C83B-ACD7-BC3F-BFD8-D3FCE0DD428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22" name="Rectangle 21">
            <a:extLst>
              <a:ext uri="{FF2B5EF4-FFF2-40B4-BE49-F238E27FC236}">
                <a16:creationId xmlns:a16="http://schemas.microsoft.com/office/drawing/2014/main" id="{1B44E569-72CE-8E11-6674-F1F19290BFEA}"/>
              </a:ext>
            </a:extLst>
          </p:cNvPr>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9CF67B5-DE13-8232-4020-F9F6F585A4F1}"/>
              </a:ext>
            </a:extLst>
          </p:cNvPr>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470391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6BA22-6226-AD3B-E010-D75D79D909E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56132C-9121-AEA3-6493-51F7D00700C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FBCA0CD-0D36-8EA2-6256-9CD96074030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91508DC-70C3-D108-736A-7924D9B3B58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9EFA819-441B-3A07-0654-0253B7BEF0A2}"/>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7471896B-6361-B8F4-2866-5BC6F41E4B6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Rosé 750ml (0.9%) | Up &amp; Down Pricing | NICOLAS | Assumes no other are changing prices</a:t>
            </a:r>
          </a:p>
        </p:txBody>
      </p:sp>
      <p:sp>
        <p:nvSpPr>
          <p:cNvPr id="4" name="Title1">
            <a:extLst>
              <a:ext uri="{FF2B5EF4-FFF2-40B4-BE49-F238E27FC236}">
                <a16:creationId xmlns:a16="http://schemas.microsoft.com/office/drawing/2014/main" id="{CE366264-A461-E712-F139-418DA472E19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CD45C01-0DFE-442A-5278-EC1A89CC8F6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2F962BD-F4A3-3A8C-B15A-F3FEEE91C1D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7A9A4CB-5E31-BA86-95B9-D1751AD25F8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32626EA-DD42-C9A5-A61A-82BFA9E92D84}"/>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F730B67-D559-C0D4-C643-DB20D27C30FF}"/>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26779328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161D4-87F7-3E67-6A22-5C0B6A09233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F69BDB9-24D3-0470-43A2-4E480EF29CE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118961D-9281-2E37-E9C6-2DBD4A39C74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433D242F-0867-D726-0FFF-8154C38BC427}"/>
              </a:ext>
            </a:extLst>
          </p:cNvPr>
          <p:cNvSpPr>
            <a:spLocks noGrp="1"/>
          </p:cNvSpPr>
          <p:nvPr>
            <p:ph type="body" sz="quarter" idx="18"/>
          </p:nvPr>
        </p:nvSpPr>
        <p:spPr>
          <a:xfrm>
            <a:off x="503238" y="774000"/>
            <a:ext cx="8136762" cy="360000"/>
          </a:xfrm>
        </p:spPr>
        <p:txBody>
          <a:bodyPr/>
          <a:lstStyle/>
          <a:p>
            <a:pPr>
              <a:defRPr sz="1200">
                <a:latin typeface="Nexa Bold (Headings)"/>
              </a:defRPr>
            </a:pPr>
            <a:r>
              <a:t>Brut &amp; Rosé bundle | Price Elasticity | NICOLAS | Assumes no other products are changing prices</a:t>
            </a:r>
          </a:p>
        </p:txBody>
      </p:sp>
      <p:sp>
        <p:nvSpPr>
          <p:cNvPr id="18" name="Title 17">
            <a:extLst>
              <a:ext uri="{FF2B5EF4-FFF2-40B4-BE49-F238E27FC236}">
                <a16:creationId xmlns:a16="http://schemas.microsoft.com/office/drawing/2014/main" id="{74BED25F-36A0-53F0-2A3D-B798248E254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FE90840-BBA4-5B69-A26B-2D7EBD49B136}"/>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171AB81-2211-28F1-3B86-BE739F59DBE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2D4795E-1351-3854-BDBB-DC7696EEBC3A}"/>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22CA8656-D9E0-6F12-DF8C-31F61DD8A3A1}"/>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C75BF825-1DFF-D5BB-E1F8-BA5A0CB3BE0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623369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3B2EA-29E2-EB6D-2E31-EC726DC6CED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309D82-5B7E-C3EE-F2BE-912B6BEF400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CB9DA79-6ADD-72F3-2417-33F9269BF2B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33173C8-EA04-92ED-C3D8-B5FCF50A134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et Rosé 2x750ml | NICOLAS | Assuming no other products are changing prices</a:t>
            </a:r>
          </a:p>
        </p:txBody>
      </p:sp>
      <p:sp>
        <p:nvSpPr>
          <p:cNvPr id="10" name="Title 9">
            <a:extLst>
              <a:ext uri="{FF2B5EF4-FFF2-40B4-BE49-F238E27FC236}">
                <a16:creationId xmlns:a16="http://schemas.microsoft.com/office/drawing/2014/main" id="{58CAECDB-7564-9C7A-5F97-89D8C0B1635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31F2E40-0698-C67E-96BC-DD1DB19D3F3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449CD4C-ED30-7C3D-5488-0E3674304C5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FCFB58B-B724-FEC9-BBD2-0EF20C328DC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7A20210-0AA3-49C0-D5B1-70C722A5CF8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4F68CC5-3810-749C-709A-728D471641AE}"/>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5C35AE07-E848-516D-E60C-D590A5A0BF21}"/>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22" name="Rectangle 21">
            <a:extLst>
              <a:ext uri="{FF2B5EF4-FFF2-40B4-BE49-F238E27FC236}">
                <a16:creationId xmlns:a16="http://schemas.microsoft.com/office/drawing/2014/main" id="{88A1DAC0-E67E-808B-64C7-9A9D815BCADA}"/>
              </a:ext>
            </a:extLst>
          </p:cNvPr>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0EE97C7-62B0-164C-232B-843702FE2804}"/>
              </a:ext>
            </a:extLst>
          </p:cNvPr>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9619A167-168F-06BD-55CA-CBDE940E5D8C}"/>
              </a:ext>
            </a:extLst>
          </p:cNvPr>
          <p:cNvSpPr/>
          <p:nvPr/>
        </p:nvSpPr>
        <p:spPr>
          <a:xfrm>
            <a:off x="357192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041403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B6C78-3894-D672-D180-10A5F37B01C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6696B33-18C3-2FF1-9F70-3534CE1EDDA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3CD48D4-D3B8-C771-1B1E-F8790E0AEAF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366335A-4990-B388-63B2-E3763D43534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E84B6E4-2280-3ABE-6DD7-12F97805FF9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0A48D9C2-458F-7888-0D3C-9A7A5F49C63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et Rosé 2x750ml (0.0%) | Up &amp; Down Pricing | NICOLAS | Assumes no other are changing prices</a:t>
            </a:r>
          </a:p>
        </p:txBody>
      </p:sp>
      <p:sp>
        <p:nvSpPr>
          <p:cNvPr id="4" name="Title1">
            <a:extLst>
              <a:ext uri="{FF2B5EF4-FFF2-40B4-BE49-F238E27FC236}">
                <a16:creationId xmlns:a16="http://schemas.microsoft.com/office/drawing/2014/main" id="{46176C55-6691-384B-97A6-4BDB50AE16D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D0751E6-F2B2-9747-E804-10A66ABECE6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3307F26-CFFF-DCB5-78AF-0B9471224F3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C3A68E1-05FF-573D-F5E0-F3E8D4BB722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E2E7B7F-9C20-345D-E193-41BD3877891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45E0D92C-76A8-F584-CBA8-4E1F1075271D}"/>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7300771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DBB9D-111D-F9F0-7061-7863B960E43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6B82153-C840-C1AF-D734-96FB9FADC19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92DE94E-1F15-7788-4F84-3F4A61F1E3D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EEDD32A-1403-E871-B573-12FF1A95FD5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et Rosé 2x750ml | NICOLAS | Assuming no other products are changing prices</a:t>
            </a:r>
          </a:p>
        </p:txBody>
      </p:sp>
      <p:sp>
        <p:nvSpPr>
          <p:cNvPr id="10" name="Title 9">
            <a:extLst>
              <a:ext uri="{FF2B5EF4-FFF2-40B4-BE49-F238E27FC236}">
                <a16:creationId xmlns:a16="http://schemas.microsoft.com/office/drawing/2014/main" id="{B5EF4DDA-1F43-8E48-5124-2B79B03295C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2400B72-A15F-EE67-9579-D54126B265D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A2EC905-DD70-31FA-9461-139A9177D9E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531C32F-ABF4-EF54-FD33-C3E972BD987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CA58F16-64B4-8149-56D8-13EBC9D0817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101423E-BFC1-F7A2-5D8C-45EDA2D21EF3}"/>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59197E0-FFDD-7CA0-C0C5-22EE48BCBECD}"/>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22" name="Rectangle 21">
            <a:extLst>
              <a:ext uri="{FF2B5EF4-FFF2-40B4-BE49-F238E27FC236}">
                <a16:creationId xmlns:a16="http://schemas.microsoft.com/office/drawing/2014/main" id="{61BD73FB-45A7-63E6-F282-C18FE8C91AA8}"/>
              </a:ext>
            </a:extLst>
          </p:cNvPr>
          <p:cNvSpPr/>
          <p:nvPr/>
        </p:nvSpPr>
        <p:spPr>
          <a:xfrm>
            <a:off x="972000" y="1458000"/>
            <a:ext cx="2769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92FC2AA-AACF-27FD-E1F7-17E8B2B1AEE7}"/>
              </a:ext>
            </a:extLst>
          </p:cNvPr>
          <p:cNvSpPr/>
          <p:nvPr/>
        </p:nvSpPr>
        <p:spPr>
          <a:xfrm>
            <a:off x="3741480" y="1458000"/>
            <a:ext cx="113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6DD12BBF-46A1-9901-47F6-0DF4D7828E5F}"/>
              </a:ext>
            </a:extLst>
          </p:cNvPr>
          <p:cNvSpPr/>
          <p:nvPr/>
        </p:nvSpPr>
        <p:spPr>
          <a:xfrm>
            <a:off x="38545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61161E27-B989-BAD6-28B9-982DBA2C662F}"/>
              </a:ext>
            </a:extLst>
          </p:cNvPr>
          <p:cNvSpPr/>
          <p:nvPr/>
        </p:nvSpPr>
        <p:spPr>
          <a:xfrm>
            <a:off x="402408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7C93392-1A63-4BC7-7B14-D299EFCBF70E}"/>
              </a:ext>
            </a:extLst>
          </p:cNvPr>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406460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AB35B-D338-FFE3-FD39-0E73004858F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304E718-D721-08F7-23B3-8BC72C83AE1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2DF9C73-195F-E47B-81BC-AF1A514034F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B25F151-4072-3613-D1C4-4B7312592E7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D568DEE-E134-9A97-862A-B5EB4AC22CC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41782753-0B28-8BD5-FE0A-D860E80999A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et Rosé 2x750ml (0.0%) | Up &amp; Down Pricing | NICOLAS | Assumes no other are changing prices</a:t>
            </a:r>
          </a:p>
        </p:txBody>
      </p:sp>
      <p:sp>
        <p:nvSpPr>
          <p:cNvPr id="4" name="Title1">
            <a:extLst>
              <a:ext uri="{FF2B5EF4-FFF2-40B4-BE49-F238E27FC236}">
                <a16:creationId xmlns:a16="http://schemas.microsoft.com/office/drawing/2014/main" id="{FACB50F9-C3BA-5C41-ED25-8F19E75282C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2E4F871-8B95-5287-8BBB-E780CDE1C12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7D864C4-A2D6-E844-6D9F-88D0A9320EE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BF74562-1AAA-9536-6B61-AC0AAE27BC9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EB4E25D-40D4-A38C-8F17-F532059243D1}"/>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8859C8FC-DBBB-3536-112D-950662E7C9F2}"/>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3235144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C8E75-90FF-3243-0F53-0719E775797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F9E4A7E-2D75-8681-C1D2-38DEF39C5DB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778C63D-FBB4-D8CD-C7D6-6DFD1529125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70DDCBE-B649-1295-172D-ED42834C65A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4A6D2D7-25A5-BAB7-1127-1322B7B4AD8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964CFF0-6D93-5BFF-34B9-79A70ABC939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llinger (1.3%) | Up &amp; Down Pricing | NICOLAS | Assumes no other are changing prices</a:t>
            </a:r>
          </a:p>
        </p:txBody>
      </p:sp>
      <p:sp>
        <p:nvSpPr>
          <p:cNvPr id="4" name="Title1">
            <a:extLst>
              <a:ext uri="{FF2B5EF4-FFF2-40B4-BE49-F238E27FC236}">
                <a16:creationId xmlns:a16="http://schemas.microsoft.com/office/drawing/2014/main" id="{5F76E386-7C76-CBE0-C4CD-3B348E40641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4DDE396-8457-B343-2C73-80D949E64D0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D601ABF-81F1-3669-0EFF-1F084171E45A}"/>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0B2E740-08F8-69CC-95E4-430CB9245507}"/>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925BFC2D-6C34-417B-E49E-927A88A17F49}"/>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70699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89440-F78F-1BCE-55F4-8423AD20B4F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84E1C81-3F94-B635-FF23-332AE451D05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58C9DBC-514C-30D8-A48C-6F97A1585973}"/>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53A42B2E-291F-107A-D6F8-E0F94F7A7AA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et Rosé 2x750ml | NICOLAS | Assuming no other products are changing prices</a:t>
            </a:r>
          </a:p>
        </p:txBody>
      </p:sp>
      <p:sp>
        <p:nvSpPr>
          <p:cNvPr id="10" name="Title 9">
            <a:extLst>
              <a:ext uri="{FF2B5EF4-FFF2-40B4-BE49-F238E27FC236}">
                <a16:creationId xmlns:a16="http://schemas.microsoft.com/office/drawing/2014/main" id="{127C397D-A546-6284-3C70-E92F8BF8AF7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16B9C2E-3E76-C4C9-A957-C53DF86975F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68C8FB3-877A-2009-6E5E-57D437020F0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A5F6FA7-67BD-7648-1DDF-1EECDA7CBFC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58B4CFF-874E-4C53-163E-4D695635DA9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65E122B-E5A6-458C-23AC-4E557B37CCE1}"/>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B3FBAA9-BA08-5B13-DDEA-D4E375250C6F}"/>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22" name="Rectangle 21">
            <a:extLst>
              <a:ext uri="{FF2B5EF4-FFF2-40B4-BE49-F238E27FC236}">
                <a16:creationId xmlns:a16="http://schemas.microsoft.com/office/drawing/2014/main" id="{5DEADCDA-7DBB-2074-1213-61E6D8A95CF8}"/>
              </a:ext>
            </a:extLst>
          </p:cNvPr>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677F9CA2-1631-C63D-6834-014789FCF38F}"/>
              </a:ext>
            </a:extLst>
          </p:cNvPr>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19285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65B5B-F6BC-0181-C74D-3A731D02617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AD118AD-AB0E-694A-BC6D-7FB12892C53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0083A94-CB61-564F-2373-1D4AF03543F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932D8F7-CF71-71D7-4EB9-766A32D82B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C9B9F82-C108-0437-52B3-7DA1DFD78AF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1B3B9130-A4E8-9A98-C7C1-F5275E435E0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et Rosé 2x750ml (0.0%) | Up &amp; Down Pricing | NICOLAS | Assumes no other are changing prices</a:t>
            </a:r>
          </a:p>
        </p:txBody>
      </p:sp>
      <p:sp>
        <p:nvSpPr>
          <p:cNvPr id="4" name="Title1">
            <a:extLst>
              <a:ext uri="{FF2B5EF4-FFF2-40B4-BE49-F238E27FC236}">
                <a16:creationId xmlns:a16="http://schemas.microsoft.com/office/drawing/2014/main" id="{168DA071-D8AC-A9FF-83D0-A8CB147B8F3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A72EBED-54F0-9C0D-2051-18FD6F2A46C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E15707A-3F1F-0B4B-15E1-6B0ECB57528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4278FDC-4877-472B-98DA-1C2FC198718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5E67141-2AE1-FDB5-42F5-4E782A6E563D}"/>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BBCED9F-AF76-B355-7CBD-12C9980A221A}"/>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4859454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A543B-8C4A-6C7E-1DAC-778F3AD484D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43270DD-2EAA-2EB0-4AA4-4500722E55B6}"/>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C2AAB07-A30E-2AD3-6A8D-2BF866B65D5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0E03CF1C-F954-2BB2-CF6A-ED957FA54619}"/>
              </a:ext>
            </a:extLst>
          </p:cNvPr>
          <p:cNvSpPr>
            <a:spLocks noGrp="1"/>
          </p:cNvSpPr>
          <p:nvPr>
            <p:ph type="body" sz="quarter" idx="18"/>
          </p:nvPr>
        </p:nvSpPr>
        <p:spPr>
          <a:xfrm>
            <a:off x="503238" y="774000"/>
            <a:ext cx="8136762" cy="360000"/>
          </a:xfrm>
        </p:spPr>
        <p:txBody>
          <a:bodyPr/>
          <a:lstStyle/>
          <a:p>
            <a:pPr>
              <a:defRPr sz="1200">
                <a:latin typeface="Nexa Bold (Headings)"/>
              </a:defRPr>
            </a:pPr>
            <a:r>
              <a:t>Besserat de Bellefon | Price Elasticity | NICOLAS | Assumes no other products are changing prices</a:t>
            </a:r>
          </a:p>
        </p:txBody>
      </p:sp>
      <p:sp>
        <p:nvSpPr>
          <p:cNvPr id="18" name="Title 17">
            <a:extLst>
              <a:ext uri="{FF2B5EF4-FFF2-40B4-BE49-F238E27FC236}">
                <a16:creationId xmlns:a16="http://schemas.microsoft.com/office/drawing/2014/main" id="{2C805B49-4BD0-1B45-BCE3-E981560D397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6ACBD1C-E7D8-3ABF-1A2F-033223351AA7}"/>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esserat de Bellefon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esserat de Bellef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313DBB8-9E4A-2E8A-C9F1-1411C2C5018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AB305ED-9A99-191B-C57A-6772D4AE7F0A}"/>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97ADC039-0065-838C-A2EB-15B45A4BE681}"/>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BF7DB45-0656-20C6-9C61-FB42B64E6FE6}"/>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0308015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4D8D9-89DF-64C1-EF12-919DF3C94C7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A8986A3-ED89-0591-07D4-7AC3E1CFCB5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8C18AC7-EDCB-048A-D03F-10A2F9373DF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6E0EA78A-A3F0-CC78-BE9A-B1910C94E75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anc de Blancs 750ml | NICOLAS | Assuming no other products are changing prices</a:t>
            </a:r>
          </a:p>
        </p:txBody>
      </p:sp>
      <p:sp>
        <p:nvSpPr>
          <p:cNvPr id="10" name="Title 9">
            <a:extLst>
              <a:ext uri="{FF2B5EF4-FFF2-40B4-BE49-F238E27FC236}">
                <a16:creationId xmlns:a16="http://schemas.microsoft.com/office/drawing/2014/main" id="{F68379F7-3D4D-3F62-84BF-0C12C92CAD0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48405B3-F8EC-C5E9-2654-36321833732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D4BA7CD-1FF1-9EA0-FFB8-54CC3449EA5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777F1F5-9963-0AE1-E377-0D1B487A90D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4D19C40-9C12-12B4-79D4-E4138B53442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958878C-9176-4D78-E12C-EA3BC63F3BC7}"/>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A165DFE6-2D98-F01A-2A2C-2EA4B13DA65D}"/>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a:extLst>
              <a:ext uri="{FF2B5EF4-FFF2-40B4-BE49-F238E27FC236}">
                <a16:creationId xmlns:a16="http://schemas.microsoft.com/office/drawing/2014/main" id="{326577B6-0827-AC5A-60A0-200D320590A2}"/>
              </a:ext>
            </a:extLst>
          </p:cNvPr>
          <p:cNvSpPr/>
          <p:nvPr/>
        </p:nvSpPr>
        <p:spPr>
          <a:xfrm>
            <a:off x="972000" y="1458000"/>
            <a:ext cx="4578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0BDC267-1591-21C2-5608-2E55CAA82D7B}"/>
              </a:ext>
            </a:extLst>
          </p:cNvPr>
          <p:cNvSpPr/>
          <p:nvPr/>
        </p:nvSpPr>
        <p:spPr>
          <a:xfrm>
            <a:off x="555012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230883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B5AAC-4B37-9F70-C6F3-2A57BA3F44C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C099E84-FE45-5A71-366C-53C35DC7B29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451A399-6B6D-C53B-3A1A-26A448CC68F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CAAB3AD-9EF9-AEEA-89CB-2C0190B385C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788146B-03C1-27B9-4053-038DBB4BF47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A68F951-08D1-6A1A-9AF4-208FD8B6EFE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anc de Blancs 750ml (0.3%) | Up &amp; Down Pricing | NICOLAS | Assumes no other are changing prices</a:t>
            </a:r>
          </a:p>
        </p:txBody>
      </p:sp>
      <p:sp>
        <p:nvSpPr>
          <p:cNvPr id="4" name="Title1">
            <a:extLst>
              <a:ext uri="{FF2B5EF4-FFF2-40B4-BE49-F238E27FC236}">
                <a16:creationId xmlns:a16="http://schemas.microsoft.com/office/drawing/2014/main" id="{91A2DB56-333B-AD14-5EB1-5DCBE7F1211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27F89FF-22F3-CA3E-7F87-26F85A4CB7A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9077D04-D4F9-802B-857B-D43C6080B2B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17990E8-3637-7A16-5650-2B9A0D5DD43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37848DA-259B-A18A-1472-9E1045F5B53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A094130-8B1E-92DF-FB7B-9902C0EF6D6C}"/>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4493474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D66EC-6B80-2058-F33C-C3E3C3355BC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C6B9466-3ACB-EAC4-3236-0830A7817EE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38D4968-0616-AB54-1392-31B9458DB89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B58DE41-DE5A-D9F3-90CD-562A6CFDDB6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eu Brut 750ml | NICOLAS | Assuming no other products are changing prices</a:t>
            </a:r>
          </a:p>
        </p:txBody>
      </p:sp>
      <p:sp>
        <p:nvSpPr>
          <p:cNvPr id="10" name="Title 9">
            <a:extLst>
              <a:ext uri="{FF2B5EF4-FFF2-40B4-BE49-F238E27FC236}">
                <a16:creationId xmlns:a16="http://schemas.microsoft.com/office/drawing/2014/main" id="{AC2618AC-B00C-0CB6-A0CB-97DD13C1A0D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FEF67FF-4B0A-4A46-7158-31AA76B19C7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2093B6F-95BF-42D6-AA00-B8C0A05FE15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52B9D5B-9EDF-5123-E998-D81BD566192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BF8E99-455F-B729-E420-344BDC1F763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F22C339-CE3C-69FB-1A30-1E9FF0A4E275}"/>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328BF213-5637-8198-F440-2B5A52F7BC80}"/>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a:extLst>
              <a:ext uri="{FF2B5EF4-FFF2-40B4-BE49-F238E27FC236}">
                <a16:creationId xmlns:a16="http://schemas.microsoft.com/office/drawing/2014/main" id="{51634465-2377-289D-E39F-F8F7488E4D34}"/>
              </a:ext>
            </a:extLst>
          </p:cNvPr>
          <p:cNvSpPr/>
          <p:nvPr/>
        </p:nvSpPr>
        <p:spPr>
          <a:xfrm>
            <a:off x="97200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D930BD1-7CEC-C528-A6B7-FA5E5C499F41}"/>
              </a:ext>
            </a:extLst>
          </p:cNvPr>
          <p:cNvSpPr/>
          <p:nvPr/>
        </p:nvSpPr>
        <p:spPr>
          <a:xfrm>
            <a:off x="31762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85EE5E3-B82A-1D28-E267-9FF95C485B0D}"/>
              </a:ext>
            </a:extLst>
          </p:cNvPr>
          <p:cNvSpPr/>
          <p:nvPr/>
        </p:nvSpPr>
        <p:spPr>
          <a:xfrm>
            <a:off x="3345840" y="1458000"/>
            <a:ext cx="3278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874453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CE4B0-584B-DB92-9404-228F5F945D3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02E1DD0-9960-8700-47A0-3D8F1DF8944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8BA6EA5-3FBD-C921-F411-37748099CD3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4BC715A-49D5-A8DE-40DA-A8090550697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8E62DC8-EDE9-2512-223B-D36F4C0B5500}"/>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691B6F6-6464-567D-5487-6912A8E1573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eu Brut 750ml (1.7%) | Up &amp; Down Pricing | NICOLAS | Assumes no other are changing prices</a:t>
            </a:r>
          </a:p>
        </p:txBody>
      </p:sp>
      <p:sp>
        <p:nvSpPr>
          <p:cNvPr id="4" name="Title1">
            <a:extLst>
              <a:ext uri="{FF2B5EF4-FFF2-40B4-BE49-F238E27FC236}">
                <a16:creationId xmlns:a16="http://schemas.microsoft.com/office/drawing/2014/main" id="{D41FDC8C-1972-D2BF-CE87-06FD6F1033A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131F9D8-2C21-2B47-800E-B47965CABFC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D647A4E-E56F-8DB8-CDDC-5C6483B4A14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483F14E-C35C-CB8D-0D4B-15A11CBF6A8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E2BC6BE-3245-6FF1-3F7F-8D35AB822DA9}"/>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DC8F72E0-EDA9-7989-E065-9A3272CBB19E}"/>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1860954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3A106-B425-5315-1274-423791DC67B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4A867BD-A7F8-9FB8-BE39-16B45C6ADE2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57A4DF0-5E5F-898C-05F8-BC258166DA54}"/>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2E210401-37A2-4B31-FC9C-B0B19D18C853}"/>
              </a:ext>
            </a:extLst>
          </p:cNvPr>
          <p:cNvSpPr>
            <a:spLocks noGrp="1"/>
          </p:cNvSpPr>
          <p:nvPr>
            <p:ph type="body" sz="quarter" idx="18"/>
          </p:nvPr>
        </p:nvSpPr>
        <p:spPr>
          <a:xfrm>
            <a:off x="503238" y="774000"/>
            <a:ext cx="8136762" cy="360000"/>
          </a:xfrm>
        </p:spPr>
        <p:txBody>
          <a:bodyPr/>
          <a:lstStyle/>
          <a:p>
            <a:pPr>
              <a:defRPr sz="1200">
                <a:latin typeface="Nexa Bold (Headings)"/>
              </a:defRPr>
            </a:pPr>
            <a:r>
              <a:t>Ayala | Price Elasticity | NICOLAS | Assumes no other products are changing prices</a:t>
            </a:r>
          </a:p>
        </p:txBody>
      </p:sp>
      <p:sp>
        <p:nvSpPr>
          <p:cNvPr id="18" name="Title 17">
            <a:extLst>
              <a:ext uri="{FF2B5EF4-FFF2-40B4-BE49-F238E27FC236}">
                <a16:creationId xmlns:a16="http://schemas.microsoft.com/office/drawing/2014/main" id="{210E914B-933D-A543-A09B-A63581553B5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193D68E4-AC75-834A-C182-D6A1701F2BFE}"/>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Ayala Brut Majeu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2B20060-960A-B7D6-427E-57D462F681C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AEE8125-ACF4-0E6F-C538-22C1B7E899E7}"/>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C6A5590-2492-E4C9-73D5-52054E9F01C5}"/>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884DA6AB-758E-8C14-A7B1-4C02A32567F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506123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A50E9-CA50-D4E7-ACCC-208FAF4FD16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BAACFCD-BF95-431E-84BE-C246E1D6821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E93AA7E-708E-5115-5DE4-C06632C7140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2A699FA7-AFC3-C9F3-23CF-325A02EE196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Ayala Brut Majeur 750ml | NICOLAS | Assuming no other products are changing prices</a:t>
            </a:r>
          </a:p>
        </p:txBody>
      </p:sp>
      <p:sp>
        <p:nvSpPr>
          <p:cNvPr id="10" name="Title 9">
            <a:extLst>
              <a:ext uri="{FF2B5EF4-FFF2-40B4-BE49-F238E27FC236}">
                <a16:creationId xmlns:a16="http://schemas.microsoft.com/office/drawing/2014/main" id="{1FA974BF-3325-7B59-A8C9-84A0B2085C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CB1E632-A310-C7A5-3661-7FE7E818191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044FF31-5894-DD67-B215-D9F418116B0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6EF187F-D824-89AD-E93A-5A324FEB74B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45E7445-1748-2C91-7A0C-69DCF706145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B76106B-6320-D7AB-B813-5FBBB05AC1D4}"/>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D3D8E2E0-98A0-3E58-AF52-3EA39C69378F}"/>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a:extLst>
              <a:ext uri="{FF2B5EF4-FFF2-40B4-BE49-F238E27FC236}">
                <a16:creationId xmlns:a16="http://schemas.microsoft.com/office/drawing/2014/main" id="{3D96F64D-C2A1-8C25-7A55-D4C9956BF82E}"/>
              </a:ext>
            </a:extLst>
          </p:cNvPr>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EF08183-9E5C-1E31-8968-223721644A5C}"/>
              </a:ext>
            </a:extLst>
          </p:cNvPr>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C8842BBA-EF27-1E5A-07CA-09C27433B8D6}"/>
              </a:ext>
            </a:extLst>
          </p:cNvPr>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039825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29B2E-98A1-E38B-0894-BD7485F47F0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2E5017F-C0F7-08DD-FE33-241378100A8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E908E21-F4D9-AD03-4F7F-8ED6FB38886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AD5D2D4-9388-2F47-B7F5-A74D7BB42F1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CD7609A-4C54-5A51-902B-F80A7ECEC12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26522541-06C0-CF85-EC81-DCB5D543854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Ayala Brut Majeur 750ml (1.7%) | Up &amp; Down Pricing | NICOLAS | Assumes no other are changing prices</a:t>
            </a:r>
          </a:p>
        </p:txBody>
      </p:sp>
      <p:sp>
        <p:nvSpPr>
          <p:cNvPr id="4" name="Title1">
            <a:extLst>
              <a:ext uri="{FF2B5EF4-FFF2-40B4-BE49-F238E27FC236}">
                <a16:creationId xmlns:a16="http://schemas.microsoft.com/office/drawing/2014/main" id="{D95455C8-EE4F-0DAD-94E6-F67117597E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0DA7B75-2836-30E8-D186-C5C611F44D1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9082C8-7F26-F145-1BCA-60CE912DDDF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00FCEDE-AEC7-EDD9-F716-453842985B3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6B35F93-152B-C33B-4B97-790CCB9BAB8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7081D02-F016-EB37-9DA3-DE109B8F4356}"/>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352882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6329B-B617-D094-1512-E2BF76FEACA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9228608-15CE-B4AB-F73D-443D6F667F57}"/>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E8FF6F5-D89F-F38A-4BBB-CF84FD46EE9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A22F6E0-170E-30E3-D5B9-ADE2879C176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BE9FD4D-C633-9F90-2C7E-C88D006C13C1}"/>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EAAEEF74-5A21-4205-2825-F9AC178A8AC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ttega (3.7%) | Up &amp; Down Pricing | NICOLAS | Assumes no other are changing prices</a:t>
            </a:r>
          </a:p>
        </p:txBody>
      </p:sp>
      <p:sp>
        <p:nvSpPr>
          <p:cNvPr id="4" name="Title1">
            <a:extLst>
              <a:ext uri="{FF2B5EF4-FFF2-40B4-BE49-F238E27FC236}">
                <a16:creationId xmlns:a16="http://schemas.microsoft.com/office/drawing/2014/main" id="{CD305F3A-86BF-DBEB-9DF7-41828D6859D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151285C-4ABB-62C2-A583-8EF57661483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AE419E8-B036-E657-41D4-5D420705B8A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0CAE473-B6E3-16E3-A27B-F7EA7993D380}"/>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A2D3AB6C-8AB3-0518-FFDA-62D6AED6074E}"/>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41639993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23BE8-5B5E-8BBB-DA7F-A0CF1A180BA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7BA14C7-1F65-842D-3DCB-3EB871C49D2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2D4BFB0-C21C-BAD3-85EB-6D0F390D888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E4B75526-BE75-955E-7BE1-6158D1FA9D6B}"/>
              </a:ext>
            </a:extLst>
          </p:cNvPr>
          <p:cNvSpPr>
            <a:spLocks noGrp="1"/>
          </p:cNvSpPr>
          <p:nvPr>
            <p:ph type="body" sz="quarter" idx="18"/>
          </p:nvPr>
        </p:nvSpPr>
        <p:spPr>
          <a:xfrm>
            <a:off x="503238" y="774000"/>
            <a:ext cx="8136762" cy="360000"/>
          </a:xfrm>
        </p:spPr>
        <p:txBody>
          <a:bodyPr/>
          <a:lstStyle/>
          <a:p>
            <a:pPr>
              <a:defRPr sz="1200">
                <a:latin typeface="Nexa Bold (Headings)"/>
              </a:defRPr>
            </a:pPr>
            <a:r>
              <a:t>Bollinger | Price Elasticity | NICOLAS | Assumes no other products are changing prices</a:t>
            </a:r>
          </a:p>
        </p:txBody>
      </p:sp>
      <p:sp>
        <p:nvSpPr>
          <p:cNvPr id="18" name="Title 17">
            <a:extLst>
              <a:ext uri="{FF2B5EF4-FFF2-40B4-BE49-F238E27FC236}">
                <a16:creationId xmlns:a16="http://schemas.microsoft.com/office/drawing/2014/main" id="{F4F2F5B3-226B-CE58-499C-0E1613BF08C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164CE7A-1F4A-562A-AB69-706F7766783B}"/>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ollinger Special Cuvé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ollinger 1846 Special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D239E3B2-EE49-54BF-FB37-08EE9143596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3EF05E4-098B-2946-5301-7258B5E119AB}"/>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5D6FC05-DC47-C4F9-3755-2ACD93289760}"/>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678BB08A-5242-0381-FAE5-83CB67CEE84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129276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D0793-2178-AEC7-7BA7-E7F55400B98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8C35863-C960-D521-D9A7-29122B7A7C6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BDD9662-8FA5-BA6B-31E3-16B9AAA15BA9}"/>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979619A6-6111-5B1F-3AAE-A626C530332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Special Cuvée Brut 750ml | NICOLAS | Assuming no other products are changing prices</a:t>
            </a:r>
          </a:p>
        </p:txBody>
      </p:sp>
      <p:sp>
        <p:nvSpPr>
          <p:cNvPr id="10" name="Title 9">
            <a:extLst>
              <a:ext uri="{FF2B5EF4-FFF2-40B4-BE49-F238E27FC236}">
                <a16:creationId xmlns:a16="http://schemas.microsoft.com/office/drawing/2014/main" id="{6A110CC9-7804-567F-2437-12001A91EB8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F7B0538-3DFF-0FED-2B68-5A6665FC2F7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85074CD-3DDA-8EC3-2023-931B7F8C9DD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10EE0FE-EE18-8EEB-4B2B-86B41CF3DEC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D32BFB2-099B-012B-4C06-8FC1413C4C9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80D38DA-C4BE-6153-0197-4CBEFFA3303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878A4DE-CDC8-FED0-39D3-C38D77702D3B}"/>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22" name="Rectangle 21">
            <a:extLst>
              <a:ext uri="{FF2B5EF4-FFF2-40B4-BE49-F238E27FC236}">
                <a16:creationId xmlns:a16="http://schemas.microsoft.com/office/drawing/2014/main" id="{DE6751F0-505D-A50E-4BE7-05E8309824FE}"/>
              </a:ext>
            </a:extLst>
          </p:cNvPr>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3F5CD533-DD49-3D62-0F42-39562BE94CF0}"/>
              </a:ext>
            </a:extLst>
          </p:cNvPr>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406F8A7D-37E2-2652-FF4D-089FD61D7DB3}"/>
              </a:ext>
            </a:extLst>
          </p:cNvPr>
          <p:cNvSpPr/>
          <p:nvPr/>
        </p:nvSpPr>
        <p:spPr>
          <a:xfrm>
            <a:off x="278064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05F509E4-9BA4-E5CE-A201-79487C4B9809}"/>
              </a:ext>
            </a:extLst>
          </p:cNvPr>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8395201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ECCAD-2906-A05C-2468-C5B9E5C0A19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E05960C-DDE4-1FCE-0B86-A69F41C4248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7194000-E62A-8946-47AF-DAF1CC90117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C6D4A74-A546-103C-C9AA-D94E471F807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5B7331D-93FE-31E5-EF95-EC499B0C53D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3016C5EB-6E13-9A4B-BFAF-7F62C851C5B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Special Cuvée Brut 750ml (1.2%) | Up &amp; Down Pricing | NICOLAS | Assumes no other are changing prices</a:t>
            </a:r>
          </a:p>
        </p:txBody>
      </p:sp>
      <p:sp>
        <p:nvSpPr>
          <p:cNvPr id="4" name="Title1">
            <a:extLst>
              <a:ext uri="{FF2B5EF4-FFF2-40B4-BE49-F238E27FC236}">
                <a16:creationId xmlns:a16="http://schemas.microsoft.com/office/drawing/2014/main" id="{7718F8FB-5BB8-7F6D-7E91-ED04BF64496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0795D8C-1CA9-FE6D-3BDF-EAC20802744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BD6AC23-614C-4F43-F17D-672219299D5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8CAE2D4-0A93-D758-086B-DE0C14212A7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470B101-B117-F0D8-D425-591E11D211A7}"/>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3A44641A-8F1F-0807-FDDF-D88D6477ACA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367355763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EB419-0AF6-8D9A-92B2-75FB78B3D5E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065D25A-1CCF-A1FF-0D59-E13C5F18105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9171C90-B6DD-0182-582C-A1092CA6ED6A}"/>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D50360F-92F4-766F-ABC5-0103A7CF44B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1846 Special Cuvée 1500ml | NICOLAS | Assuming no other products are changing prices</a:t>
            </a:r>
          </a:p>
        </p:txBody>
      </p:sp>
      <p:sp>
        <p:nvSpPr>
          <p:cNvPr id="10" name="Title 9">
            <a:extLst>
              <a:ext uri="{FF2B5EF4-FFF2-40B4-BE49-F238E27FC236}">
                <a16:creationId xmlns:a16="http://schemas.microsoft.com/office/drawing/2014/main" id="{C3DA1D10-075E-F4D1-31EF-7823D304DA2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73BD9BC-8C0F-FE65-8ADE-E251B589FD6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3D90B2F-7F62-AE91-0E09-C4EE4BC7C6A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3120023-45D3-777C-4228-31CD705EBCF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D0DA812-AEA3-76F8-8EBB-ED893CCF8D1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8624918-C4CC-7401-EB92-743D3FEC8779}"/>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8FE3C847-7707-681A-360D-B577BFD6E93F}"/>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a:extLst>
              <a:ext uri="{FF2B5EF4-FFF2-40B4-BE49-F238E27FC236}">
                <a16:creationId xmlns:a16="http://schemas.microsoft.com/office/drawing/2014/main" id="{D244D64B-789F-FC65-5495-3790216417ED}"/>
              </a:ext>
            </a:extLst>
          </p:cNvPr>
          <p:cNvSpPr/>
          <p:nvPr/>
        </p:nvSpPr>
        <p:spPr>
          <a:xfrm>
            <a:off x="97200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F1E20428-D308-9B3A-0F6F-63C191B41982}"/>
              </a:ext>
            </a:extLst>
          </p:cNvPr>
          <p:cNvSpPr/>
          <p:nvPr/>
        </p:nvSpPr>
        <p:spPr>
          <a:xfrm>
            <a:off x="244152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385ABD6-0657-34C3-36B9-6174097296DB}"/>
              </a:ext>
            </a:extLst>
          </p:cNvPr>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60F71CCE-5F95-3BA2-3BA1-025BA15AB14F}"/>
              </a:ext>
            </a:extLst>
          </p:cNvPr>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5772243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D811C-9B91-29CD-8023-15A08187F30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1A5710B-C37E-CE28-2380-95D37150B1D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8FAD675-3670-C37A-0A4A-6D125CE78A4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EA43ECD-3BCE-DBE3-71BA-E7A48071215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4180BA6-EA78-0EFD-602D-BED819D15E9B}"/>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F06CC7BE-6D0B-7E52-C65A-EB5146D81C0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1846 Special Cuvée 1500ml (0.2%) | Up &amp; Down Pricing | NICOLAS | Assumes no other are changing prices</a:t>
            </a:r>
          </a:p>
        </p:txBody>
      </p:sp>
      <p:sp>
        <p:nvSpPr>
          <p:cNvPr id="4" name="Title1">
            <a:extLst>
              <a:ext uri="{FF2B5EF4-FFF2-40B4-BE49-F238E27FC236}">
                <a16:creationId xmlns:a16="http://schemas.microsoft.com/office/drawing/2014/main" id="{9A75D831-47BD-C49A-65EE-B93E179B469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F44C176-4D25-6F24-5D51-0178B856C89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AD307F1-5E77-DAD5-C6FD-5C3EC9FFD0A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4729FBD-C23E-F097-7ACE-4BFB5CA416C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F9892ED-A30C-666A-42E1-4CF0A3BDF823}"/>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E462F1F-776E-BB2A-AFBB-0ECBB44A84F2}"/>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14183943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7B64E-B174-F5AF-EE58-7DE7DB93999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CE3C442-8947-67F4-AA6F-DA1D0E9EFB9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1C7681D-6A7E-3451-23BF-4DDE9207FEF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C3EA8BC9-61BB-53DE-B3C0-EFD7E3E04C05}"/>
              </a:ext>
            </a:extLst>
          </p:cNvPr>
          <p:cNvSpPr>
            <a:spLocks noGrp="1"/>
          </p:cNvSpPr>
          <p:nvPr>
            <p:ph type="body" sz="quarter" idx="18"/>
          </p:nvPr>
        </p:nvSpPr>
        <p:spPr>
          <a:xfrm>
            <a:off x="503238" y="774000"/>
            <a:ext cx="8136762" cy="360000"/>
          </a:xfrm>
        </p:spPr>
        <p:txBody>
          <a:bodyPr/>
          <a:lstStyle/>
          <a:p>
            <a:pPr>
              <a:defRPr sz="1200">
                <a:latin typeface="Nexa Bold (Headings)"/>
              </a:defRPr>
            </a:pPr>
            <a:r>
              <a:t>Canard-Duchêne | Price Elasticity | NICOLAS | Assumes no other products are changing prices</a:t>
            </a:r>
          </a:p>
        </p:txBody>
      </p:sp>
      <p:sp>
        <p:nvSpPr>
          <p:cNvPr id="18" name="Title 17">
            <a:extLst>
              <a:ext uri="{FF2B5EF4-FFF2-40B4-BE49-F238E27FC236}">
                <a16:creationId xmlns:a16="http://schemas.microsoft.com/office/drawing/2014/main" id="{E43E55CA-37C0-7961-D658-4D786B9FEB0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867A182-B5D4-F4AD-A9B5-7190B7E5FBD5}"/>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anard-Duchêne Blanc Cuvée Léonie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Canard-Duchêne Blanc Cuvée Léoni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98AAFB5-AAD9-90C9-3BE0-9ACEC92ECE2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812AF3B-E5C9-6FF8-FE22-6885ECEFCCB2}"/>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5B3F38D8-0606-1D6E-3D82-D30AEA91BE4A}"/>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3" name="TextBox Y">
            <a:extLst>
              <a:ext uri="{FF2B5EF4-FFF2-40B4-BE49-F238E27FC236}">
                <a16:creationId xmlns:a16="http://schemas.microsoft.com/office/drawing/2014/main" id="{182C964A-44D9-2F6B-7FCA-FF0B779FE9C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61462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7FA59-23F1-8D25-C434-7487FD63D28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C785770-F433-5A82-1CE5-C3F189D4E5C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B10B51C-C9CF-9729-31E0-1EEC24BD33AE}"/>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F3199431-3EA2-5273-452B-F5ADA114EB5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75ml | NICOLAS | Assuming no other products are changing prices</a:t>
            </a:r>
          </a:p>
        </p:txBody>
      </p:sp>
      <p:sp>
        <p:nvSpPr>
          <p:cNvPr id="10" name="Title 9">
            <a:extLst>
              <a:ext uri="{FF2B5EF4-FFF2-40B4-BE49-F238E27FC236}">
                <a16:creationId xmlns:a16="http://schemas.microsoft.com/office/drawing/2014/main" id="{84098F33-3987-04F7-190F-C6BB35A5F7F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6C38ED6-E2A3-948E-F9B9-098A228BA0D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97035A3-0C68-F191-91FC-D5C4AD0E52B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1130BFE-D4AF-BC81-F094-CA13BDC5CF7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DC51D99-B971-2121-AA1F-AD371CA697F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A6E1307-EC3D-33FF-515E-B06DCE9113BC}"/>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25774936-1BB1-347D-82B6-7A22CB8F29DE}"/>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a:extLst>
              <a:ext uri="{FF2B5EF4-FFF2-40B4-BE49-F238E27FC236}">
                <a16:creationId xmlns:a16="http://schemas.microsoft.com/office/drawing/2014/main" id="{F206BFEB-D88A-C029-8407-BDCB2FB66E54}"/>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4201826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706D6-064C-9B07-7F68-2DC02E983CF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DAFFBED-7B70-13A3-6323-5BA3DE4F591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00ACD82-9AD4-556A-BE9F-1EF82BCEB99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1970A7F-97F6-C34A-506F-8F60557FBFF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95884C6-5EE4-2B77-31ED-23602C75B60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30DC80F-E692-3030-CA43-012736AF415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75ml (0.3%) | Up &amp; Down Pricing | NICOLAS | Assumes no other are changing prices</a:t>
            </a:r>
          </a:p>
        </p:txBody>
      </p:sp>
      <p:sp>
        <p:nvSpPr>
          <p:cNvPr id="4" name="Title1">
            <a:extLst>
              <a:ext uri="{FF2B5EF4-FFF2-40B4-BE49-F238E27FC236}">
                <a16:creationId xmlns:a16="http://schemas.microsoft.com/office/drawing/2014/main" id="{FEDF7750-6CC7-6737-C79A-CA3366F0A0D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499A6B4-E3F3-EF19-5C2D-A8508D324E3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9AE2A45-0FBF-6D1F-563C-39E51CE2ABB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109B1CE-B55B-C9CB-AB50-AF19B7A2DB3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DC711C-55E8-6E68-5555-D918FC6A49AC}"/>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ECCA7462-49D7-705E-0906-78BFF7040BAF}"/>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8082311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62018E-1BB3-AFD6-BDA0-9E6F874C979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C27C6A-1041-406B-E2F9-A7961646F1D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0C2200-5D9C-A8D9-666B-FB9C1B06431D}"/>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D0B2A259-9C03-E53B-F327-5B00D589E18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750ml | NICOLAS | Assuming no other products are changing prices</a:t>
            </a:r>
          </a:p>
        </p:txBody>
      </p:sp>
      <p:sp>
        <p:nvSpPr>
          <p:cNvPr id="10" name="Title 9">
            <a:extLst>
              <a:ext uri="{FF2B5EF4-FFF2-40B4-BE49-F238E27FC236}">
                <a16:creationId xmlns:a16="http://schemas.microsoft.com/office/drawing/2014/main" id="{A0ED9231-8A44-6D99-C662-424725FB530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20711D-F36C-723C-6C36-3CFF482A561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A0E0A65-6B61-4737-28AE-A7CF2A36496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63C3A83-C80B-CC6C-A76C-CB527723F90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745643F-14B0-E8F1-7A8B-85D232F6CA6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BCBE759-7316-7BA2-F256-2B9308997DBC}"/>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691952E2-7573-1CDC-5360-B467F5283AC9}"/>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a:extLst>
              <a:ext uri="{FF2B5EF4-FFF2-40B4-BE49-F238E27FC236}">
                <a16:creationId xmlns:a16="http://schemas.microsoft.com/office/drawing/2014/main" id="{D361701F-F817-C6E8-00C5-D1F71710222A}"/>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DAA38BE-BD18-A097-459B-4529564B34D2}"/>
              </a:ext>
            </a:extLst>
          </p:cNvPr>
          <p:cNvSpPr/>
          <p:nvPr/>
        </p:nvSpPr>
        <p:spPr>
          <a:xfrm>
            <a:off x="176328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DD6715F5-BF05-3281-F4D0-17E03AA9BDE9}"/>
              </a:ext>
            </a:extLst>
          </p:cNvPr>
          <p:cNvSpPr/>
          <p:nvPr/>
        </p:nvSpPr>
        <p:spPr>
          <a:xfrm>
            <a:off x="391104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06944DE9-DE08-31C4-B22B-922C29CCDDF5}"/>
              </a:ext>
            </a:extLst>
          </p:cNvPr>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220161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BB14A-9B70-402A-356D-8C7584E95AC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B05CFBB-92A3-F5F4-9491-CA48D716B94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2B14683-0EC9-68AF-BCC1-90DE5D91EDF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1D380BB-3324-7CBF-FFF0-47C496BE4B7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578AB1A-E166-33F2-4E83-D3683FF80BBF}"/>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88C1F1AF-B319-F298-8B85-3CE68F0BA97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750ml (2.6%) | Up &amp; Down Pricing | NICOLAS | Assumes no other are changing prices</a:t>
            </a:r>
          </a:p>
        </p:txBody>
      </p:sp>
      <p:sp>
        <p:nvSpPr>
          <p:cNvPr id="4" name="Title1">
            <a:extLst>
              <a:ext uri="{FF2B5EF4-FFF2-40B4-BE49-F238E27FC236}">
                <a16:creationId xmlns:a16="http://schemas.microsoft.com/office/drawing/2014/main" id="{2188DB87-4730-2CB1-4F57-F1C44FE6891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7DBC31B-F2F6-E024-0E05-697E9F89F77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F215FCB-DB5E-72D1-0162-CCDB6C2EB1A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07D3919-9A39-46ED-BA89-A5AC9BB9C26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4EE1577-B838-73C3-B611-6F284A5EA250}"/>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EBBF0F3-4B78-AA98-DEBE-88A004EE9425}"/>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861496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7762</Words>
  <Application>Microsoft Office PowerPoint</Application>
  <PresentationFormat>On-screen Show (16:9)</PresentationFormat>
  <Paragraphs>10956</Paragraphs>
  <Slides>30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3</vt:i4>
      </vt:variant>
    </vt:vector>
  </HeadingPairs>
  <TitlesOfParts>
    <vt:vector size="313"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25</cp:revision>
  <dcterms:created xsi:type="dcterms:W3CDTF">2024-07-08T12:09:12Z</dcterms:created>
  <dcterms:modified xsi:type="dcterms:W3CDTF">2025-09-25T18: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